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tiff" ContentType="image/tiff"/>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8.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9.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6.xml" ContentType="application/vnd.openxmlformats-officedocument.presentationml.notesSlide+xml"/>
  <Override PartName="/ppt/tags/tag44.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45.xml" ContentType="application/vnd.openxmlformats-officedocument.presentationml.tags+xml"/>
  <Override PartName="/ppt/notesSlides/notesSlide9.xml" ContentType="application/vnd.openxmlformats-officedocument.presentationml.notesSlide+xml"/>
  <Override PartName="/ppt/tags/tag4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trictFirstAndLastChars="0" embedTrueTypeFonts="1" saveSubsetFonts="1">
  <p:sldMasterIdLst>
    <p:sldMasterId id="2147483649" r:id="rId1"/>
    <p:sldMasterId id="2147483648" r:id="rId2"/>
    <p:sldMasterId id="2147483663" r:id="rId3"/>
    <p:sldMasterId id="2147483676" r:id="rId4"/>
    <p:sldMasterId id="2147483706" r:id="rId5"/>
    <p:sldMasterId id="2147483714" r:id="rId6"/>
    <p:sldMasterId id="2147483738" r:id="rId7"/>
    <p:sldMasterId id="2147483750" r:id="rId8"/>
    <p:sldMasterId id="2147483763" r:id="rId9"/>
    <p:sldMasterId id="2147483776" r:id="rId10"/>
  </p:sldMasterIdLst>
  <p:notesMasterIdLst>
    <p:notesMasterId r:id="rId51"/>
  </p:notesMasterIdLst>
  <p:handoutMasterIdLst>
    <p:handoutMasterId r:id="rId52"/>
  </p:handoutMasterIdLst>
  <p:sldIdLst>
    <p:sldId id="256" r:id="rId11"/>
    <p:sldId id="258" r:id="rId12"/>
    <p:sldId id="602" r:id="rId13"/>
    <p:sldId id="1118" r:id="rId14"/>
    <p:sldId id="1098" r:id="rId15"/>
    <p:sldId id="444" r:id="rId16"/>
    <p:sldId id="1080" r:id="rId17"/>
    <p:sldId id="1055" r:id="rId18"/>
    <p:sldId id="524" r:id="rId19"/>
    <p:sldId id="1088" r:id="rId20"/>
    <p:sldId id="1069" r:id="rId21"/>
    <p:sldId id="1083" r:id="rId22"/>
    <p:sldId id="279" r:id="rId23"/>
    <p:sldId id="1079" r:id="rId24"/>
    <p:sldId id="1107" r:id="rId25"/>
    <p:sldId id="1109" r:id="rId26"/>
    <p:sldId id="1084" r:id="rId27"/>
    <p:sldId id="1094" r:id="rId28"/>
    <p:sldId id="1110" r:id="rId29"/>
    <p:sldId id="1119" r:id="rId30"/>
    <p:sldId id="525" r:id="rId31"/>
    <p:sldId id="1120" r:id="rId32"/>
    <p:sldId id="605" r:id="rId33"/>
    <p:sldId id="526" r:id="rId34"/>
    <p:sldId id="1085" r:id="rId35"/>
    <p:sldId id="1121" r:id="rId36"/>
    <p:sldId id="521" r:id="rId37"/>
    <p:sldId id="1117" r:id="rId38"/>
    <p:sldId id="523" r:id="rId39"/>
    <p:sldId id="1125" r:id="rId40"/>
    <p:sldId id="1124" r:id="rId41"/>
    <p:sldId id="355" r:id="rId42"/>
    <p:sldId id="537" r:id="rId43"/>
    <p:sldId id="403" r:id="rId44"/>
    <p:sldId id="1122" r:id="rId45"/>
    <p:sldId id="539" r:id="rId46"/>
    <p:sldId id="1116" r:id="rId47"/>
    <p:sldId id="271" r:id="rId48"/>
    <p:sldId id="647" r:id="rId49"/>
    <p:sldId id="648" r:id="rId50"/>
  </p:sldIdLst>
  <p:sldSz cx="9144000" cy="6858000" type="screen4x3"/>
  <p:notesSz cx="7099300" cy="10234613"/>
  <p:embeddedFontLst>
    <p:embeddedFont>
      <p:font typeface="Calibri" panose="020F0502020204030204" pitchFamily="34" charset="0"/>
      <p:regular r:id="rId53"/>
      <p:bold r:id="rId54"/>
      <p:italic r:id="rId55"/>
      <p:boldItalic r:id="rId56"/>
    </p:embeddedFont>
    <p:embeddedFont>
      <p:font typeface="Gill Sans MT" panose="020B0502020104020203" pitchFamily="34" charset="0"/>
      <p:regular r:id="rId57"/>
      <p:bold r:id="rId58"/>
      <p:italic r:id="rId59"/>
      <p:boldItalic r:id="rId60"/>
    </p:embeddedFont>
    <p:embeddedFont>
      <p:font typeface="Gill Sans MT Light" panose="020B0302020104020203" pitchFamily="34" charset="0"/>
      <p:regular r:id="rId61"/>
      <p:bold r:id="rId62"/>
      <p:italic r:id="rId63"/>
      <p:boldItalic r:id="rId64"/>
    </p:embeddedFont>
    <p:embeddedFont>
      <p:font typeface="Verdana" panose="020B0604030504040204" pitchFamily="34" charset="0"/>
      <p:regular r:id="rId65"/>
      <p:bold r:id="rId66"/>
      <p:italic r:id="rId67"/>
      <p:boldItalic r:id="rId68"/>
    </p:embeddedFont>
  </p:embeddedFontLst>
  <p:defaultTextStyle>
    <a:defPPr>
      <a:defRPr lang="de-DE"/>
    </a:defPPr>
    <a:lvl1pPr algn="l" rtl="0" eaLnBrk="0" fontAlgn="base" hangingPunct="0">
      <a:spcBef>
        <a:spcPct val="0"/>
      </a:spcBef>
      <a:spcAft>
        <a:spcPct val="0"/>
      </a:spcAft>
      <a:defRPr sz="1200" kern="1200">
        <a:solidFill>
          <a:schemeClr val="tx1"/>
        </a:solidFill>
        <a:latin typeface="Gill Sans MT Light" pitchFamily="34" charset="0"/>
        <a:ea typeface="+mn-ea"/>
        <a:cs typeface="+mn-cs"/>
      </a:defRPr>
    </a:lvl1pPr>
    <a:lvl2pPr marL="457115" algn="l" rtl="0" eaLnBrk="0" fontAlgn="base" hangingPunct="0">
      <a:spcBef>
        <a:spcPct val="0"/>
      </a:spcBef>
      <a:spcAft>
        <a:spcPct val="0"/>
      </a:spcAft>
      <a:defRPr sz="1200" kern="1200">
        <a:solidFill>
          <a:schemeClr val="tx1"/>
        </a:solidFill>
        <a:latin typeface="Gill Sans MT Light" pitchFamily="34" charset="0"/>
        <a:ea typeface="+mn-ea"/>
        <a:cs typeface="+mn-cs"/>
      </a:defRPr>
    </a:lvl2pPr>
    <a:lvl3pPr marL="914226" algn="l" rtl="0" eaLnBrk="0" fontAlgn="base" hangingPunct="0">
      <a:spcBef>
        <a:spcPct val="0"/>
      </a:spcBef>
      <a:spcAft>
        <a:spcPct val="0"/>
      </a:spcAft>
      <a:defRPr sz="1200" kern="1200">
        <a:solidFill>
          <a:schemeClr val="tx1"/>
        </a:solidFill>
        <a:latin typeface="Gill Sans MT Light" pitchFamily="34" charset="0"/>
        <a:ea typeface="+mn-ea"/>
        <a:cs typeface="+mn-cs"/>
      </a:defRPr>
    </a:lvl3pPr>
    <a:lvl4pPr marL="1371341" algn="l" rtl="0" eaLnBrk="0" fontAlgn="base" hangingPunct="0">
      <a:spcBef>
        <a:spcPct val="0"/>
      </a:spcBef>
      <a:spcAft>
        <a:spcPct val="0"/>
      </a:spcAft>
      <a:defRPr sz="1200" kern="1200">
        <a:solidFill>
          <a:schemeClr val="tx1"/>
        </a:solidFill>
        <a:latin typeface="Gill Sans MT Light" pitchFamily="34" charset="0"/>
        <a:ea typeface="+mn-ea"/>
        <a:cs typeface="+mn-cs"/>
      </a:defRPr>
    </a:lvl4pPr>
    <a:lvl5pPr marL="1828454" algn="l" rtl="0" eaLnBrk="0" fontAlgn="base" hangingPunct="0">
      <a:spcBef>
        <a:spcPct val="0"/>
      </a:spcBef>
      <a:spcAft>
        <a:spcPct val="0"/>
      </a:spcAft>
      <a:defRPr sz="1200" kern="1200">
        <a:solidFill>
          <a:schemeClr val="tx1"/>
        </a:solidFill>
        <a:latin typeface="Gill Sans MT Light" pitchFamily="34" charset="0"/>
        <a:ea typeface="+mn-ea"/>
        <a:cs typeface="+mn-cs"/>
      </a:defRPr>
    </a:lvl5pPr>
    <a:lvl6pPr marL="2285566" algn="l" defTabSz="914226" rtl="0" eaLnBrk="1" latinLnBrk="0" hangingPunct="1">
      <a:defRPr sz="1200" kern="1200">
        <a:solidFill>
          <a:schemeClr val="tx1"/>
        </a:solidFill>
        <a:latin typeface="Gill Sans MT Light" pitchFamily="34" charset="0"/>
        <a:ea typeface="+mn-ea"/>
        <a:cs typeface="+mn-cs"/>
      </a:defRPr>
    </a:lvl6pPr>
    <a:lvl7pPr marL="2742681" algn="l" defTabSz="914226" rtl="0" eaLnBrk="1" latinLnBrk="0" hangingPunct="1">
      <a:defRPr sz="1200" kern="1200">
        <a:solidFill>
          <a:schemeClr val="tx1"/>
        </a:solidFill>
        <a:latin typeface="Gill Sans MT Light" pitchFamily="34" charset="0"/>
        <a:ea typeface="+mn-ea"/>
        <a:cs typeface="+mn-cs"/>
      </a:defRPr>
    </a:lvl7pPr>
    <a:lvl8pPr marL="3199795" algn="l" defTabSz="914226" rtl="0" eaLnBrk="1" latinLnBrk="0" hangingPunct="1">
      <a:defRPr sz="1200" kern="1200">
        <a:solidFill>
          <a:schemeClr val="tx1"/>
        </a:solidFill>
        <a:latin typeface="Gill Sans MT Light" pitchFamily="34" charset="0"/>
        <a:ea typeface="+mn-ea"/>
        <a:cs typeface="+mn-cs"/>
      </a:defRPr>
    </a:lvl8pPr>
    <a:lvl9pPr marL="3656908" algn="l" defTabSz="914226" rtl="0" eaLnBrk="1" latinLnBrk="0" hangingPunct="1">
      <a:defRPr sz="1200" kern="1200">
        <a:solidFill>
          <a:schemeClr val="tx1"/>
        </a:solidFill>
        <a:latin typeface="Gill Sans MT Light" pitchFamily="34" charset="0"/>
        <a:ea typeface="+mn-ea"/>
        <a:cs typeface="+mn-cs"/>
      </a:defRPr>
    </a:lvl9pPr>
  </p:defaultTextStyle>
  <p:extLst>
    <p:ext uri="{EFAFB233-063F-42B5-8137-9DF3F51BA10A}">
      <p15:sldGuideLst xmlns:p15="http://schemas.microsoft.com/office/powerpoint/2012/main">
        <p15:guide id="1" orient="horz" pos="891">
          <p15:clr>
            <a:srgbClr val="A4A3A4"/>
          </p15:clr>
        </p15:guide>
        <p15:guide id="2" pos="230">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or" initials="A" lastIdx="9"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70C0"/>
    <a:srgbClr val="8A9DAB"/>
    <a:srgbClr val="E7EBEE"/>
    <a:srgbClr val="969696"/>
    <a:srgbClr val="005B99"/>
    <a:srgbClr val="C5A181"/>
    <a:srgbClr val="7D1919"/>
    <a:srgbClr val="000070"/>
    <a:srgbClr val="23201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9333" autoAdjust="0"/>
    <p:restoredTop sz="96807" autoAdjust="0"/>
  </p:normalViewPr>
  <p:slideViewPr>
    <p:cSldViewPr snapToGrid="0">
      <p:cViewPr varScale="1">
        <p:scale>
          <a:sx n="126" d="100"/>
          <a:sy n="126" d="100"/>
        </p:scale>
        <p:origin x="714" y="132"/>
      </p:cViewPr>
      <p:guideLst>
        <p:guide orient="horz" pos="891"/>
        <p:guide pos="230"/>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Lst>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71" d="100"/>
          <a:sy n="71" d="100"/>
        </p:scale>
        <p:origin x="-2172" y="-108"/>
      </p:cViewPr>
      <p:guideLst>
        <p:guide orient="horz" pos="3224"/>
        <p:guide pos="2237"/>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font" Target="fonts/font3.fntdata"/><Relationship Id="rId63" Type="http://schemas.openxmlformats.org/officeDocument/2006/relationships/font" Target="fonts/font11.fntdata"/><Relationship Id="rId68" Type="http://schemas.openxmlformats.org/officeDocument/2006/relationships/font" Target="fonts/font16.fntdata"/><Relationship Id="rId7" Type="http://schemas.openxmlformats.org/officeDocument/2006/relationships/slideMaster" Target="slideMasters/slideMaster7.xml"/><Relationship Id="rId71"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font" Target="fonts/font1.fntdata"/><Relationship Id="rId58" Type="http://schemas.openxmlformats.org/officeDocument/2006/relationships/font" Target="fonts/font6.fntdata"/><Relationship Id="rId66" Type="http://schemas.openxmlformats.org/officeDocument/2006/relationships/font" Target="fonts/font14.fntdata"/><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font" Target="fonts/font5.fntdata"/><Relationship Id="rId61" Type="http://schemas.openxmlformats.org/officeDocument/2006/relationships/font" Target="fonts/font9.fntdata"/><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handoutMaster" Target="handoutMasters/handoutMaster1.xml"/><Relationship Id="rId60" Type="http://schemas.openxmlformats.org/officeDocument/2006/relationships/font" Target="fonts/font8.fntdata"/><Relationship Id="rId65" Type="http://schemas.openxmlformats.org/officeDocument/2006/relationships/font" Target="fonts/font13.fntdata"/><Relationship Id="rId7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font" Target="fonts/font4.fntdata"/><Relationship Id="rId64" Type="http://schemas.openxmlformats.org/officeDocument/2006/relationships/font" Target="fonts/font12.fntdata"/><Relationship Id="rId69"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notesMaster" Target="notesMasters/notesMaster1.xml"/><Relationship Id="rId7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font" Target="fonts/font7.fntdata"/><Relationship Id="rId67" Type="http://schemas.openxmlformats.org/officeDocument/2006/relationships/font" Target="fonts/font15.fntdata"/><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font" Target="fonts/font2.fntdata"/><Relationship Id="rId62" Type="http://schemas.openxmlformats.org/officeDocument/2006/relationships/font" Target="fonts/font10.fntdata"/><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_rels/viewProps.xml.rels><?xml version="1.0" encoding="UTF-8" standalone="yes"?>
<Relationships xmlns="http://schemas.openxmlformats.org/package/2006/relationships"><Relationship Id="rId8" Type="http://schemas.openxmlformats.org/officeDocument/2006/relationships/slide" Target="slides/slide34.xml"/><Relationship Id="rId3" Type="http://schemas.openxmlformats.org/officeDocument/2006/relationships/slide" Target="slides/slide20.xml"/><Relationship Id="rId7" Type="http://schemas.openxmlformats.org/officeDocument/2006/relationships/slide" Target="slides/slide32.xml"/><Relationship Id="rId2" Type="http://schemas.openxmlformats.org/officeDocument/2006/relationships/slide" Target="slides/slide4.xml"/><Relationship Id="rId1" Type="http://schemas.openxmlformats.org/officeDocument/2006/relationships/slide" Target="slides/slide2.xml"/><Relationship Id="rId6" Type="http://schemas.openxmlformats.org/officeDocument/2006/relationships/slide" Target="slides/slide31.xml"/><Relationship Id="rId5" Type="http://schemas.openxmlformats.org/officeDocument/2006/relationships/slide" Target="slides/slide26.xml"/><Relationship Id="rId4" Type="http://schemas.openxmlformats.org/officeDocument/2006/relationships/slide" Target="slides/slide22.xml"/><Relationship Id="rId9" Type="http://schemas.openxmlformats.org/officeDocument/2006/relationships/slide" Target="slides/slide3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image" Target="../media/image6.jpg"/><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3" Type="http://schemas.openxmlformats.org/officeDocument/2006/relationships/image" Target="../media/image6.jpg"/><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2"/>
              <c:tx>
                <c:rich>
                  <a:bodyPr/>
                  <a:lstStyle/>
                  <a:p>
                    <a:r>
                      <a:rPr lang="en-US"/>
                      <a:t>~</a:t>
                    </a:r>
                    <a:fld id="{DA203CE9-1AF1-8444-89A1-986EC18C5224}" type="VALUE">
                      <a:rPr lang="en-US" smtClean="0"/>
                      <a:pPr/>
                      <a:t>[WERT]</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926F-5146-8C38-67B90F43D42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4</c:v>
                </c:pt>
                <c:pt idx="1">
                  <c:v>2019</c:v>
                </c:pt>
                <c:pt idx="2">
                  <c:v>2030</c:v>
                </c:pt>
              </c:numCache>
            </c:numRef>
          </c:cat>
          <c:val>
            <c:numRef>
              <c:f>Sheet1!$B$2:$B$4</c:f>
              <c:numCache>
                <c:formatCode>General</c:formatCode>
                <c:ptCount val="3"/>
                <c:pt idx="0">
                  <c:v>16</c:v>
                </c:pt>
                <c:pt idx="1">
                  <c:v>133</c:v>
                </c:pt>
                <c:pt idx="2">
                  <c:v>200</c:v>
                </c:pt>
              </c:numCache>
            </c:numRef>
          </c:val>
          <c:extLst>
            <c:ext xmlns:c16="http://schemas.microsoft.com/office/drawing/2014/chart" uri="{C3380CC4-5D6E-409C-BE32-E72D297353CC}">
              <c16:uniqueId val="{00000000-926F-5146-8C38-67B90F43D429}"/>
            </c:ext>
          </c:extLst>
        </c:ser>
        <c:dLbls>
          <c:showLegendKey val="0"/>
          <c:showVal val="0"/>
          <c:showCatName val="0"/>
          <c:showSerName val="0"/>
          <c:showPercent val="0"/>
          <c:showBubbleSize val="0"/>
        </c:dLbls>
        <c:gapWidth val="45"/>
        <c:overlap val="-27"/>
        <c:axId val="2147154063"/>
        <c:axId val="34380352"/>
      </c:barChart>
      <c:catAx>
        <c:axId val="21471540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de-DE"/>
          </a:p>
        </c:txPr>
        <c:crossAx val="34380352"/>
        <c:crosses val="autoZero"/>
        <c:auto val="1"/>
        <c:lblAlgn val="ctr"/>
        <c:lblOffset val="100"/>
        <c:noMultiLvlLbl val="0"/>
      </c:catAx>
      <c:valAx>
        <c:axId val="34380352"/>
        <c:scaling>
          <c:orientation val="minMax"/>
        </c:scaling>
        <c:delete val="1"/>
        <c:axPos val="l"/>
        <c:numFmt formatCode="General" sourceLinked="1"/>
        <c:majorTickMark val="none"/>
        <c:minorTickMark val="none"/>
        <c:tickLblPos val="nextTo"/>
        <c:crossAx val="214715406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1"/>
          <c:order val="1"/>
          <c:tx>
            <c:strRef>
              <c:f>Wind!$G$2</c:f>
              <c:strCache>
                <c:ptCount val="1"/>
                <c:pt idx="0">
                  <c:v>CSI 300 daily returns</c:v>
                </c:pt>
              </c:strCache>
            </c:strRef>
          </c:tx>
          <c:spPr>
            <a:solidFill>
              <a:srgbClr val="ED7D31"/>
            </a:solidFill>
            <a:ln w="25400">
              <a:noFill/>
            </a:ln>
          </c:spPr>
          <c:invertIfNegative val="0"/>
          <c:cat>
            <c:numRef>
              <c:f>Wind!$E$3:$E$3070</c:f>
              <c:numCache>
                <c:formatCode>yyyy\-mm\-dd</c:formatCode>
                <c:ptCount val="3068"/>
                <c:pt idx="0" formatCode="m/d/yyyy">
                  <c:v>39419</c:v>
                </c:pt>
                <c:pt idx="1">
                  <c:v>39420</c:v>
                </c:pt>
                <c:pt idx="2">
                  <c:v>39421</c:v>
                </c:pt>
                <c:pt idx="3">
                  <c:v>39422</c:v>
                </c:pt>
                <c:pt idx="4">
                  <c:v>39423</c:v>
                </c:pt>
                <c:pt idx="5">
                  <c:v>39426</c:v>
                </c:pt>
                <c:pt idx="6">
                  <c:v>39427</c:v>
                </c:pt>
                <c:pt idx="7">
                  <c:v>39428</c:v>
                </c:pt>
                <c:pt idx="8">
                  <c:v>39429</c:v>
                </c:pt>
                <c:pt idx="9">
                  <c:v>39430</c:v>
                </c:pt>
                <c:pt idx="10">
                  <c:v>39433</c:v>
                </c:pt>
                <c:pt idx="11">
                  <c:v>39434</c:v>
                </c:pt>
                <c:pt idx="12">
                  <c:v>39435</c:v>
                </c:pt>
                <c:pt idx="13">
                  <c:v>39436</c:v>
                </c:pt>
                <c:pt idx="14">
                  <c:v>39437</c:v>
                </c:pt>
                <c:pt idx="15">
                  <c:v>39440</c:v>
                </c:pt>
                <c:pt idx="16">
                  <c:v>39441</c:v>
                </c:pt>
                <c:pt idx="17">
                  <c:v>39442</c:v>
                </c:pt>
                <c:pt idx="18">
                  <c:v>39443</c:v>
                </c:pt>
                <c:pt idx="19">
                  <c:v>39444</c:v>
                </c:pt>
                <c:pt idx="20">
                  <c:v>39449</c:v>
                </c:pt>
                <c:pt idx="21">
                  <c:v>39450</c:v>
                </c:pt>
                <c:pt idx="22">
                  <c:v>39451</c:v>
                </c:pt>
                <c:pt idx="23">
                  <c:v>39454</c:v>
                </c:pt>
                <c:pt idx="24">
                  <c:v>39455</c:v>
                </c:pt>
                <c:pt idx="25">
                  <c:v>39456</c:v>
                </c:pt>
                <c:pt idx="26">
                  <c:v>39457</c:v>
                </c:pt>
                <c:pt idx="27">
                  <c:v>39458</c:v>
                </c:pt>
                <c:pt idx="28">
                  <c:v>39461</c:v>
                </c:pt>
                <c:pt idx="29">
                  <c:v>39462</c:v>
                </c:pt>
                <c:pt idx="30">
                  <c:v>39463</c:v>
                </c:pt>
                <c:pt idx="31">
                  <c:v>39464</c:v>
                </c:pt>
                <c:pt idx="32">
                  <c:v>39465</c:v>
                </c:pt>
                <c:pt idx="33">
                  <c:v>39468</c:v>
                </c:pt>
                <c:pt idx="34">
                  <c:v>39469</c:v>
                </c:pt>
                <c:pt idx="35">
                  <c:v>39470</c:v>
                </c:pt>
                <c:pt idx="36">
                  <c:v>39471</c:v>
                </c:pt>
                <c:pt idx="37">
                  <c:v>39472</c:v>
                </c:pt>
                <c:pt idx="38">
                  <c:v>39475</c:v>
                </c:pt>
                <c:pt idx="39">
                  <c:v>39476</c:v>
                </c:pt>
                <c:pt idx="40">
                  <c:v>39477</c:v>
                </c:pt>
                <c:pt idx="41">
                  <c:v>39478</c:v>
                </c:pt>
                <c:pt idx="42">
                  <c:v>39479</c:v>
                </c:pt>
                <c:pt idx="43">
                  <c:v>39482</c:v>
                </c:pt>
                <c:pt idx="44">
                  <c:v>39483</c:v>
                </c:pt>
                <c:pt idx="45">
                  <c:v>39491</c:v>
                </c:pt>
                <c:pt idx="46">
                  <c:v>39492</c:v>
                </c:pt>
                <c:pt idx="47">
                  <c:v>39493</c:v>
                </c:pt>
                <c:pt idx="48">
                  <c:v>39496</c:v>
                </c:pt>
                <c:pt idx="49">
                  <c:v>39497</c:v>
                </c:pt>
                <c:pt idx="50">
                  <c:v>39498</c:v>
                </c:pt>
                <c:pt idx="51">
                  <c:v>39499</c:v>
                </c:pt>
                <c:pt idx="52">
                  <c:v>39500</c:v>
                </c:pt>
                <c:pt idx="53">
                  <c:v>39503</c:v>
                </c:pt>
                <c:pt idx="54">
                  <c:v>39504</c:v>
                </c:pt>
                <c:pt idx="55">
                  <c:v>39505</c:v>
                </c:pt>
                <c:pt idx="56">
                  <c:v>39506</c:v>
                </c:pt>
                <c:pt idx="57">
                  <c:v>39507</c:v>
                </c:pt>
                <c:pt idx="58">
                  <c:v>39510</c:v>
                </c:pt>
                <c:pt idx="59">
                  <c:v>39511</c:v>
                </c:pt>
                <c:pt idx="60">
                  <c:v>39512</c:v>
                </c:pt>
                <c:pt idx="61">
                  <c:v>39513</c:v>
                </c:pt>
                <c:pt idx="62">
                  <c:v>39514</c:v>
                </c:pt>
                <c:pt idx="63">
                  <c:v>39517</c:v>
                </c:pt>
                <c:pt idx="64">
                  <c:v>39518</c:v>
                </c:pt>
                <c:pt idx="65">
                  <c:v>39519</c:v>
                </c:pt>
                <c:pt idx="66">
                  <c:v>39520</c:v>
                </c:pt>
                <c:pt idx="67">
                  <c:v>39521</c:v>
                </c:pt>
                <c:pt idx="68">
                  <c:v>39524</c:v>
                </c:pt>
                <c:pt idx="69">
                  <c:v>39525</c:v>
                </c:pt>
                <c:pt idx="70">
                  <c:v>39526</c:v>
                </c:pt>
                <c:pt idx="71">
                  <c:v>39527</c:v>
                </c:pt>
                <c:pt idx="72">
                  <c:v>39528</c:v>
                </c:pt>
                <c:pt idx="73">
                  <c:v>39531</c:v>
                </c:pt>
                <c:pt idx="74">
                  <c:v>39532</c:v>
                </c:pt>
                <c:pt idx="75">
                  <c:v>39533</c:v>
                </c:pt>
                <c:pt idx="76">
                  <c:v>39534</c:v>
                </c:pt>
                <c:pt idx="77">
                  <c:v>39535</c:v>
                </c:pt>
                <c:pt idx="78">
                  <c:v>39538</c:v>
                </c:pt>
                <c:pt idx="79">
                  <c:v>39539</c:v>
                </c:pt>
                <c:pt idx="80">
                  <c:v>39540</c:v>
                </c:pt>
                <c:pt idx="81">
                  <c:v>39541</c:v>
                </c:pt>
                <c:pt idx="82">
                  <c:v>39545</c:v>
                </c:pt>
                <c:pt idx="83">
                  <c:v>39546</c:v>
                </c:pt>
                <c:pt idx="84">
                  <c:v>39547</c:v>
                </c:pt>
                <c:pt idx="85">
                  <c:v>39548</c:v>
                </c:pt>
                <c:pt idx="86">
                  <c:v>39549</c:v>
                </c:pt>
                <c:pt idx="87">
                  <c:v>39552</c:v>
                </c:pt>
                <c:pt idx="88">
                  <c:v>39553</c:v>
                </c:pt>
                <c:pt idx="89">
                  <c:v>39554</c:v>
                </c:pt>
                <c:pt idx="90">
                  <c:v>39555</c:v>
                </c:pt>
                <c:pt idx="91">
                  <c:v>39556</c:v>
                </c:pt>
                <c:pt idx="92">
                  <c:v>39559</c:v>
                </c:pt>
                <c:pt idx="93">
                  <c:v>39560</c:v>
                </c:pt>
                <c:pt idx="94">
                  <c:v>39561</c:v>
                </c:pt>
                <c:pt idx="95">
                  <c:v>39562</c:v>
                </c:pt>
                <c:pt idx="96">
                  <c:v>39563</c:v>
                </c:pt>
                <c:pt idx="97">
                  <c:v>39566</c:v>
                </c:pt>
                <c:pt idx="98">
                  <c:v>39567</c:v>
                </c:pt>
                <c:pt idx="99">
                  <c:v>39568</c:v>
                </c:pt>
                <c:pt idx="100">
                  <c:v>39573</c:v>
                </c:pt>
                <c:pt idx="101">
                  <c:v>39574</c:v>
                </c:pt>
                <c:pt idx="102">
                  <c:v>39575</c:v>
                </c:pt>
                <c:pt idx="103">
                  <c:v>39576</c:v>
                </c:pt>
                <c:pt idx="104">
                  <c:v>39577</c:v>
                </c:pt>
                <c:pt idx="105">
                  <c:v>39580</c:v>
                </c:pt>
                <c:pt idx="106">
                  <c:v>39581</c:v>
                </c:pt>
                <c:pt idx="107">
                  <c:v>39582</c:v>
                </c:pt>
                <c:pt idx="108">
                  <c:v>39583</c:v>
                </c:pt>
                <c:pt idx="109">
                  <c:v>39584</c:v>
                </c:pt>
                <c:pt idx="110">
                  <c:v>39587</c:v>
                </c:pt>
                <c:pt idx="111">
                  <c:v>39588</c:v>
                </c:pt>
                <c:pt idx="112">
                  <c:v>39589</c:v>
                </c:pt>
                <c:pt idx="113">
                  <c:v>39590</c:v>
                </c:pt>
                <c:pt idx="114">
                  <c:v>39591</c:v>
                </c:pt>
                <c:pt idx="115">
                  <c:v>39594</c:v>
                </c:pt>
                <c:pt idx="116">
                  <c:v>39595</c:v>
                </c:pt>
                <c:pt idx="117">
                  <c:v>39596</c:v>
                </c:pt>
                <c:pt idx="118">
                  <c:v>39597</c:v>
                </c:pt>
                <c:pt idx="119">
                  <c:v>39598</c:v>
                </c:pt>
                <c:pt idx="120">
                  <c:v>39601</c:v>
                </c:pt>
                <c:pt idx="121">
                  <c:v>39602</c:v>
                </c:pt>
                <c:pt idx="122">
                  <c:v>39603</c:v>
                </c:pt>
                <c:pt idx="123">
                  <c:v>39604</c:v>
                </c:pt>
                <c:pt idx="124">
                  <c:v>39605</c:v>
                </c:pt>
                <c:pt idx="125">
                  <c:v>39609</c:v>
                </c:pt>
                <c:pt idx="126">
                  <c:v>39610</c:v>
                </c:pt>
                <c:pt idx="127">
                  <c:v>39611</c:v>
                </c:pt>
                <c:pt idx="128">
                  <c:v>39612</c:v>
                </c:pt>
                <c:pt idx="129">
                  <c:v>39615</c:v>
                </c:pt>
                <c:pt idx="130">
                  <c:v>39616</c:v>
                </c:pt>
                <c:pt idx="131">
                  <c:v>39617</c:v>
                </c:pt>
                <c:pt idx="132">
                  <c:v>39618</c:v>
                </c:pt>
                <c:pt idx="133">
                  <c:v>39619</c:v>
                </c:pt>
                <c:pt idx="134">
                  <c:v>39622</c:v>
                </c:pt>
                <c:pt idx="135">
                  <c:v>39623</c:v>
                </c:pt>
                <c:pt idx="136">
                  <c:v>39624</c:v>
                </c:pt>
                <c:pt idx="137">
                  <c:v>39625</c:v>
                </c:pt>
                <c:pt idx="138">
                  <c:v>39626</c:v>
                </c:pt>
                <c:pt idx="139">
                  <c:v>39629</c:v>
                </c:pt>
                <c:pt idx="140">
                  <c:v>39630</c:v>
                </c:pt>
                <c:pt idx="141">
                  <c:v>39631</c:v>
                </c:pt>
                <c:pt idx="142">
                  <c:v>39632</c:v>
                </c:pt>
                <c:pt idx="143">
                  <c:v>39633</c:v>
                </c:pt>
                <c:pt idx="144">
                  <c:v>39636</c:v>
                </c:pt>
                <c:pt idx="145">
                  <c:v>39637</c:v>
                </c:pt>
                <c:pt idx="146">
                  <c:v>39638</c:v>
                </c:pt>
                <c:pt idx="147">
                  <c:v>39639</c:v>
                </c:pt>
                <c:pt idx="148">
                  <c:v>39640</c:v>
                </c:pt>
                <c:pt idx="149">
                  <c:v>39643</c:v>
                </c:pt>
                <c:pt idx="150">
                  <c:v>39644</c:v>
                </c:pt>
                <c:pt idx="151">
                  <c:v>39645</c:v>
                </c:pt>
                <c:pt idx="152">
                  <c:v>39646</c:v>
                </c:pt>
                <c:pt idx="153">
                  <c:v>39647</c:v>
                </c:pt>
                <c:pt idx="154">
                  <c:v>39650</c:v>
                </c:pt>
                <c:pt idx="155">
                  <c:v>39651</c:v>
                </c:pt>
                <c:pt idx="156">
                  <c:v>39652</c:v>
                </c:pt>
                <c:pt idx="157">
                  <c:v>39653</c:v>
                </c:pt>
                <c:pt idx="158">
                  <c:v>39654</c:v>
                </c:pt>
                <c:pt idx="159">
                  <c:v>39657</c:v>
                </c:pt>
                <c:pt idx="160">
                  <c:v>39658</c:v>
                </c:pt>
                <c:pt idx="161">
                  <c:v>39659</c:v>
                </c:pt>
                <c:pt idx="162">
                  <c:v>39660</c:v>
                </c:pt>
                <c:pt idx="163">
                  <c:v>39661</c:v>
                </c:pt>
                <c:pt idx="164">
                  <c:v>39664</c:v>
                </c:pt>
                <c:pt idx="165">
                  <c:v>39665</c:v>
                </c:pt>
                <c:pt idx="166">
                  <c:v>39666</c:v>
                </c:pt>
                <c:pt idx="167">
                  <c:v>39667</c:v>
                </c:pt>
                <c:pt idx="168">
                  <c:v>39668</c:v>
                </c:pt>
                <c:pt idx="169">
                  <c:v>39671</c:v>
                </c:pt>
                <c:pt idx="170">
                  <c:v>39672</c:v>
                </c:pt>
                <c:pt idx="171">
                  <c:v>39673</c:v>
                </c:pt>
                <c:pt idx="172">
                  <c:v>39674</c:v>
                </c:pt>
                <c:pt idx="173">
                  <c:v>39675</c:v>
                </c:pt>
                <c:pt idx="174">
                  <c:v>39678</c:v>
                </c:pt>
                <c:pt idx="175">
                  <c:v>39679</c:v>
                </c:pt>
                <c:pt idx="176">
                  <c:v>39680</c:v>
                </c:pt>
                <c:pt idx="177">
                  <c:v>39681</c:v>
                </c:pt>
                <c:pt idx="178">
                  <c:v>39682</c:v>
                </c:pt>
                <c:pt idx="179">
                  <c:v>39685</c:v>
                </c:pt>
                <c:pt idx="180">
                  <c:v>39686</c:v>
                </c:pt>
                <c:pt idx="181">
                  <c:v>39687</c:v>
                </c:pt>
                <c:pt idx="182">
                  <c:v>39688</c:v>
                </c:pt>
                <c:pt idx="183">
                  <c:v>39689</c:v>
                </c:pt>
                <c:pt idx="184">
                  <c:v>39692</c:v>
                </c:pt>
                <c:pt idx="185">
                  <c:v>39693</c:v>
                </c:pt>
                <c:pt idx="186">
                  <c:v>39694</c:v>
                </c:pt>
                <c:pt idx="187">
                  <c:v>39695</c:v>
                </c:pt>
                <c:pt idx="188">
                  <c:v>39696</c:v>
                </c:pt>
                <c:pt idx="189">
                  <c:v>39699</c:v>
                </c:pt>
                <c:pt idx="190">
                  <c:v>39700</c:v>
                </c:pt>
                <c:pt idx="191">
                  <c:v>39701</c:v>
                </c:pt>
                <c:pt idx="192">
                  <c:v>39702</c:v>
                </c:pt>
                <c:pt idx="193">
                  <c:v>39703</c:v>
                </c:pt>
                <c:pt idx="194">
                  <c:v>39707</c:v>
                </c:pt>
                <c:pt idx="195">
                  <c:v>39708</c:v>
                </c:pt>
                <c:pt idx="196">
                  <c:v>39709</c:v>
                </c:pt>
                <c:pt idx="197">
                  <c:v>39710</c:v>
                </c:pt>
                <c:pt idx="198">
                  <c:v>39713</c:v>
                </c:pt>
                <c:pt idx="199">
                  <c:v>39714</c:v>
                </c:pt>
                <c:pt idx="200">
                  <c:v>39715</c:v>
                </c:pt>
                <c:pt idx="201">
                  <c:v>39716</c:v>
                </c:pt>
                <c:pt idx="202">
                  <c:v>39717</c:v>
                </c:pt>
                <c:pt idx="203">
                  <c:v>39727</c:v>
                </c:pt>
                <c:pt idx="204">
                  <c:v>39728</c:v>
                </c:pt>
                <c:pt idx="205">
                  <c:v>39729</c:v>
                </c:pt>
                <c:pt idx="206">
                  <c:v>39730</c:v>
                </c:pt>
                <c:pt idx="207">
                  <c:v>39731</c:v>
                </c:pt>
                <c:pt idx="208">
                  <c:v>39734</c:v>
                </c:pt>
                <c:pt idx="209">
                  <c:v>39735</c:v>
                </c:pt>
                <c:pt idx="210">
                  <c:v>39736</c:v>
                </c:pt>
                <c:pt idx="211">
                  <c:v>39737</c:v>
                </c:pt>
                <c:pt idx="212">
                  <c:v>39738</c:v>
                </c:pt>
                <c:pt idx="213">
                  <c:v>39741</c:v>
                </c:pt>
                <c:pt idx="214">
                  <c:v>39742</c:v>
                </c:pt>
                <c:pt idx="215">
                  <c:v>39743</c:v>
                </c:pt>
                <c:pt idx="216">
                  <c:v>39744</c:v>
                </c:pt>
                <c:pt idx="217">
                  <c:v>39745</c:v>
                </c:pt>
                <c:pt idx="218">
                  <c:v>39748</c:v>
                </c:pt>
                <c:pt idx="219">
                  <c:v>39749</c:v>
                </c:pt>
                <c:pt idx="220">
                  <c:v>39750</c:v>
                </c:pt>
                <c:pt idx="221">
                  <c:v>39751</c:v>
                </c:pt>
                <c:pt idx="222">
                  <c:v>39752</c:v>
                </c:pt>
                <c:pt idx="223">
                  <c:v>39755</c:v>
                </c:pt>
                <c:pt idx="224">
                  <c:v>39756</c:v>
                </c:pt>
                <c:pt idx="225">
                  <c:v>39757</c:v>
                </c:pt>
                <c:pt idx="226">
                  <c:v>39758</c:v>
                </c:pt>
                <c:pt idx="227">
                  <c:v>39759</c:v>
                </c:pt>
                <c:pt idx="228">
                  <c:v>39762</c:v>
                </c:pt>
                <c:pt idx="229">
                  <c:v>39763</c:v>
                </c:pt>
                <c:pt idx="230">
                  <c:v>39764</c:v>
                </c:pt>
                <c:pt idx="231">
                  <c:v>39765</c:v>
                </c:pt>
                <c:pt idx="232">
                  <c:v>39766</c:v>
                </c:pt>
                <c:pt idx="233">
                  <c:v>39769</c:v>
                </c:pt>
                <c:pt idx="234">
                  <c:v>39770</c:v>
                </c:pt>
                <c:pt idx="235">
                  <c:v>39771</c:v>
                </c:pt>
                <c:pt idx="236">
                  <c:v>39772</c:v>
                </c:pt>
                <c:pt idx="237">
                  <c:v>39773</c:v>
                </c:pt>
                <c:pt idx="238">
                  <c:v>39776</c:v>
                </c:pt>
                <c:pt idx="239">
                  <c:v>39777</c:v>
                </c:pt>
                <c:pt idx="240">
                  <c:v>39778</c:v>
                </c:pt>
                <c:pt idx="241">
                  <c:v>39779</c:v>
                </c:pt>
                <c:pt idx="242">
                  <c:v>39780</c:v>
                </c:pt>
                <c:pt idx="243">
                  <c:v>39783</c:v>
                </c:pt>
                <c:pt idx="244">
                  <c:v>39784</c:v>
                </c:pt>
                <c:pt idx="245">
                  <c:v>39785</c:v>
                </c:pt>
                <c:pt idx="246">
                  <c:v>39786</c:v>
                </c:pt>
                <c:pt idx="247">
                  <c:v>39787</c:v>
                </c:pt>
                <c:pt idx="248">
                  <c:v>39790</c:v>
                </c:pt>
                <c:pt idx="249">
                  <c:v>39791</c:v>
                </c:pt>
                <c:pt idx="250">
                  <c:v>39792</c:v>
                </c:pt>
                <c:pt idx="251">
                  <c:v>39793</c:v>
                </c:pt>
                <c:pt idx="252">
                  <c:v>39794</c:v>
                </c:pt>
                <c:pt idx="253">
                  <c:v>39797</c:v>
                </c:pt>
                <c:pt idx="254">
                  <c:v>39798</c:v>
                </c:pt>
                <c:pt idx="255">
                  <c:v>39799</c:v>
                </c:pt>
                <c:pt idx="256">
                  <c:v>39800</c:v>
                </c:pt>
                <c:pt idx="257">
                  <c:v>39801</c:v>
                </c:pt>
                <c:pt idx="258">
                  <c:v>39804</c:v>
                </c:pt>
                <c:pt idx="259">
                  <c:v>39805</c:v>
                </c:pt>
                <c:pt idx="260">
                  <c:v>39806</c:v>
                </c:pt>
                <c:pt idx="261">
                  <c:v>39807</c:v>
                </c:pt>
                <c:pt idx="262">
                  <c:v>39808</c:v>
                </c:pt>
                <c:pt idx="263">
                  <c:v>39811</c:v>
                </c:pt>
                <c:pt idx="264">
                  <c:v>39812</c:v>
                </c:pt>
                <c:pt idx="265">
                  <c:v>39813</c:v>
                </c:pt>
                <c:pt idx="266">
                  <c:v>39818</c:v>
                </c:pt>
                <c:pt idx="267">
                  <c:v>39819</c:v>
                </c:pt>
                <c:pt idx="268">
                  <c:v>39820</c:v>
                </c:pt>
                <c:pt idx="269">
                  <c:v>39821</c:v>
                </c:pt>
                <c:pt idx="270">
                  <c:v>39822</c:v>
                </c:pt>
                <c:pt idx="271">
                  <c:v>39825</c:v>
                </c:pt>
                <c:pt idx="272">
                  <c:v>39826</c:v>
                </c:pt>
                <c:pt idx="273">
                  <c:v>39827</c:v>
                </c:pt>
                <c:pt idx="274">
                  <c:v>39828</c:v>
                </c:pt>
                <c:pt idx="275">
                  <c:v>39829</c:v>
                </c:pt>
                <c:pt idx="276">
                  <c:v>39832</c:v>
                </c:pt>
                <c:pt idx="277">
                  <c:v>39833</c:v>
                </c:pt>
                <c:pt idx="278">
                  <c:v>39834</c:v>
                </c:pt>
                <c:pt idx="279">
                  <c:v>39835</c:v>
                </c:pt>
                <c:pt idx="280">
                  <c:v>39836</c:v>
                </c:pt>
                <c:pt idx="281">
                  <c:v>39846</c:v>
                </c:pt>
                <c:pt idx="282">
                  <c:v>39847</c:v>
                </c:pt>
                <c:pt idx="283">
                  <c:v>39848</c:v>
                </c:pt>
                <c:pt idx="284">
                  <c:v>39849</c:v>
                </c:pt>
                <c:pt idx="285">
                  <c:v>39850</c:v>
                </c:pt>
                <c:pt idx="286">
                  <c:v>39853</c:v>
                </c:pt>
                <c:pt idx="287">
                  <c:v>39854</c:v>
                </c:pt>
                <c:pt idx="288">
                  <c:v>39855</c:v>
                </c:pt>
                <c:pt idx="289">
                  <c:v>39856</c:v>
                </c:pt>
                <c:pt idx="290">
                  <c:v>39857</c:v>
                </c:pt>
                <c:pt idx="291">
                  <c:v>39860</c:v>
                </c:pt>
                <c:pt idx="292">
                  <c:v>39861</c:v>
                </c:pt>
                <c:pt idx="293">
                  <c:v>39862</c:v>
                </c:pt>
                <c:pt idx="294">
                  <c:v>39863</c:v>
                </c:pt>
                <c:pt idx="295">
                  <c:v>39864</c:v>
                </c:pt>
                <c:pt idx="296">
                  <c:v>39867</c:v>
                </c:pt>
                <c:pt idx="297">
                  <c:v>39868</c:v>
                </c:pt>
                <c:pt idx="298">
                  <c:v>39869</c:v>
                </c:pt>
                <c:pt idx="299">
                  <c:v>39870</c:v>
                </c:pt>
                <c:pt idx="300">
                  <c:v>39871</c:v>
                </c:pt>
                <c:pt idx="301">
                  <c:v>39874</c:v>
                </c:pt>
                <c:pt idx="302">
                  <c:v>39875</c:v>
                </c:pt>
                <c:pt idx="303">
                  <c:v>39876</c:v>
                </c:pt>
                <c:pt idx="304">
                  <c:v>39877</c:v>
                </c:pt>
                <c:pt idx="305">
                  <c:v>39878</c:v>
                </c:pt>
                <c:pt idx="306">
                  <c:v>39881</c:v>
                </c:pt>
                <c:pt idx="307">
                  <c:v>39882</c:v>
                </c:pt>
                <c:pt idx="308">
                  <c:v>39883</c:v>
                </c:pt>
                <c:pt idx="309">
                  <c:v>39884</c:v>
                </c:pt>
                <c:pt idx="310">
                  <c:v>39885</c:v>
                </c:pt>
                <c:pt idx="311">
                  <c:v>39888</c:v>
                </c:pt>
                <c:pt idx="312">
                  <c:v>39889</c:v>
                </c:pt>
                <c:pt idx="313">
                  <c:v>39890</c:v>
                </c:pt>
                <c:pt idx="314">
                  <c:v>39891</c:v>
                </c:pt>
                <c:pt idx="315">
                  <c:v>39892</c:v>
                </c:pt>
                <c:pt idx="316">
                  <c:v>39895</c:v>
                </c:pt>
                <c:pt idx="317">
                  <c:v>39896</c:v>
                </c:pt>
                <c:pt idx="318">
                  <c:v>39897</c:v>
                </c:pt>
                <c:pt idx="319">
                  <c:v>39898</c:v>
                </c:pt>
                <c:pt idx="320">
                  <c:v>39899</c:v>
                </c:pt>
                <c:pt idx="321">
                  <c:v>39902</c:v>
                </c:pt>
                <c:pt idx="322">
                  <c:v>39903</c:v>
                </c:pt>
                <c:pt idx="323">
                  <c:v>39904</c:v>
                </c:pt>
                <c:pt idx="324">
                  <c:v>39905</c:v>
                </c:pt>
                <c:pt idx="325">
                  <c:v>39906</c:v>
                </c:pt>
                <c:pt idx="326">
                  <c:v>39910</c:v>
                </c:pt>
                <c:pt idx="327">
                  <c:v>39911</c:v>
                </c:pt>
                <c:pt idx="328">
                  <c:v>39912</c:v>
                </c:pt>
                <c:pt idx="329">
                  <c:v>39913</c:v>
                </c:pt>
                <c:pt idx="330">
                  <c:v>39916</c:v>
                </c:pt>
                <c:pt idx="331">
                  <c:v>39917</c:v>
                </c:pt>
                <c:pt idx="332">
                  <c:v>39918</c:v>
                </c:pt>
                <c:pt idx="333">
                  <c:v>39919</c:v>
                </c:pt>
                <c:pt idx="334">
                  <c:v>39920</c:v>
                </c:pt>
                <c:pt idx="335">
                  <c:v>39923</c:v>
                </c:pt>
                <c:pt idx="336">
                  <c:v>39924</c:v>
                </c:pt>
                <c:pt idx="337">
                  <c:v>39925</c:v>
                </c:pt>
                <c:pt idx="338">
                  <c:v>39926</c:v>
                </c:pt>
                <c:pt idx="339">
                  <c:v>39927</c:v>
                </c:pt>
                <c:pt idx="340">
                  <c:v>39930</c:v>
                </c:pt>
                <c:pt idx="341">
                  <c:v>39931</c:v>
                </c:pt>
                <c:pt idx="342">
                  <c:v>39932</c:v>
                </c:pt>
                <c:pt idx="343">
                  <c:v>39933</c:v>
                </c:pt>
                <c:pt idx="344">
                  <c:v>39937</c:v>
                </c:pt>
                <c:pt idx="345">
                  <c:v>39938</c:v>
                </c:pt>
                <c:pt idx="346">
                  <c:v>39939</c:v>
                </c:pt>
                <c:pt idx="347">
                  <c:v>39940</c:v>
                </c:pt>
                <c:pt idx="348">
                  <c:v>39941</c:v>
                </c:pt>
                <c:pt idx="349">
                  <c:v>39944</c:v>
                </c:pt>
                <c:pt idx="350">
                  <c:v>39945</c:v>
                </c:pt>
                <c:pt idx="351">
                  <c:v>39946</c:v>
                </c:pt>
                <c:pt idx="352">
                  <c:v>39947</c:v>
                </c:pt>
                <c:pt idx="353">
                  <c:v>39948</c:v>
                </c:pt>
                <c:pt idx="354">
                  <c:v>39951</c:v>
                </c:pt>
                <c:pt idx="355">
                  <c:v>39952</c:v>
                </c:pt>
                <c:pt idx="356">
                  <c:v>39953</c:v>
                </c:pt>
                <c:pt idx="357">
                  <c:v>39954</c:v>
                </c:pt>
                <c:pt idx="358">
                  <c:v>39955</c:v>
                </c:pt>
                <c:pt idx="359">
                  <c:v>39958</c:v>
                </c:pt>
                <c:pt idx="360">
                  <c:v>39959</c:v>
                </c:pt>
                <c:pt idx="361">
                  <c:v>39960</c:v>
                </c:pt>
                <c:pt idx="362">
                  <c:v>39965</c:v>
                </c:pt>
                <c:pt idx="363">
                  <c:v>39966</c:v>
                </c:pt>
                <c:pt idx="364">
                  <c:v>39967</c:v>
                </c:pt>
                <c:pt idx="365">
                  <c:v>39968</c:v>
                </c:pt>
                <c:pt idx="366">
                  <c:v>39969</c:v>
                </c:pt>
                <c:pt idx="367">
                  <c:v>39972</c:v>
                </c:pt>
                <c:pt idx="368">
                  <c:v>39973</c:v>
                </c:pt>
                <c:pt idx="369">
                  <c:v>39974</c:v>
                </c:pt>
                <c:pt idx="370">
                  <c:v>39975</c:v>
                </c:pt>
                <c:pt idx="371">
                  <c:v>39976</c:v>
                </c:pt>
                <c:pt idx="372">
                  <c:v>39979</c:v>
                </c:pt>
                <c:pt idx="373">
                  <c:v>39980</c:v>
                </c:pt>
                <c:pt idx="374">
                  <c:v>39981</c:v>
                </c:pt>
                <c:pt idx="375">
                  <c:v>39982</c:v>
                </c:pt>
                <c:pt idx="376">
                  <c:v>39983</c:v>
                </c:pt>
                <c:pt idx="377">
                  <c:v>39986</c:v>
                </c:pt>
                <c:pt idx="378">
                  <c:v>39987</c:v>
                </c:pt>
                <c:pt idx="379">
                  <c:v>39988</c:v>
                </c:pt>
                <c:pt idx="380">
                  <c:v>39989</c:v>
                </c:pt>
                <c:pt idx="381">
                  <c:v>39990</c:v>
                </c:pt>
                <c:pt idx="382">
                  <c:v>39993</c:v>
                </c:pt>
                <c:pt idx="383">
                  <c:v>39994</c:v>
                </c:pt>
                <c:pt idx="384">
                  <c:v>39995</c:v>
                </c:pt>
                <c:pt idx="385">
                  <c:v>39996</c:v>
                </c:pt>
                <c:pt idx="386">
                  <c:v>39997</c:v>
                </c:pt>
                <c:pt idx="387">
                  <c:v>40000</c:v>
                </c:pt>
                <c:pt idx="388">
                  <c:v>40001</c:v>
                </c:pt>
                <c:pt idx="389">
                  <c:v>40002</c:v>
                </c:pt>
                <c:pt idx="390">
                  <c:v>40003</c:v>
                </c:pt>
                <c:pt idx="391">
                  <c:v>40004</c:v>
                </c:pt>
                <c:pt idx="392">
                  <c:v>40007</c:v>
                </c:pt>
                <c:pt idx="393">
                  <c:v>40008</c:v>
                </c:pt>
                <c:pt idx="394">
                  <c:v>40009</c:v>
                </c:pt>
                <c:pt idx="395">
                  <c:v>40010</c:v>
                </c:pt>
                <c:pt idx="396">
                  <c:v>40011</c:v>
                </c:pt>
                <c:pt idx="397">
                  <c:v>40014</c:v>
                </c:pt>
                <c:pt idx="398">
                  <c:v>40015</c:v>
                </c:pt>
                <c:pt idx="399">
                  <c:v>40016</c:v>
                </c:pt>
                <c:pt idx="400">
                  <c:v>40017</c:v>
                </c:pt>
                <c:pt idx="401">
                  <c:v>40018</c:v>
                </c:pt>
                <c:pt idx="402">
                  <c:v>40021</c:v>
                </c:pt>
                <c:pt idx="403">
                  <c:v>40022</c:v>
                </c:pt>
                <c:pt idx="404">
                  <c:v>40023</c:v>
                </c:pt>
                <c:pt idx="405">
                  <c:v>40024</c:v>
                </c:pt>
                <c:pt idx="406">
                  <c:v>40025</c:v>
                </c:pt>
                <c:pt idx="407">
                  <c:v>40028</c:v>
                </c:pt>
                <c:pt idx="408">
                  <c:v>40029</c:v>
                </c:pt>
                <c:pt idx="409">
                  <c:v>40030</c:v>
                </c:pt>
                <c:pt idx="410">
                  <c:v>40031</c:v>
                </c:pt>
                <c:pt idx="411">
                  <c:v>40032</c:v>
                </c:pt>
                <c:pt idx="412">
                  <c:v>40035</c:v>
                </c:pt>
                <c:pt idx="413">
                  <c:v>40036</c:v>
                </c:pt>
                <c:pt idx="414">
                  <c:v>40037</c:v>
                </c:pt>
                <c:pt idx="415">
                  <c:v>40038</c:v>
                </c:pt>
                <c:pt idx="416">
                  <c:v>40039</c:v>
                </c:pt>
                <c:pt idx="417">
                  <c:v>40042</c:v>
                </c:pt>
                <c:pt idx="418">
                  <c:v>40043</c:v>
                </c:pt>
                <c:pt idx="419">
                  <c:v>40044</c:v>
                </c:pt>
                <c:pt idx="420">
                  <c:v>40045</c:v>
                </c:pt>
                <c:pt idx="421">
                  <c:v>40046</c:v>
                </c:pt>
                <c:pt idx="422">
                  <c:v>40049</c:v>
                </c:pt>
                <c:pt idx="423">
                  <c:v>40050</c:v>
                </c:pt>
                <c:pt idx="424">
                  <c:v>40051</c:v>
                </c:pt>
                <c:pt idx="425">
                  <c:v>40052</c:v>
                </c:pt>
                <c:pt idx="426">
                  <c:v>40053</c:v>
                </c:pt>
                <c:pt idx="427">
                  <c:v>40056</c:v>
                </c:pt>
                <c:pt idx="428">
                  <c:v>40057</c:v>
                </c:pt>
                <c:pt idx="429">
                  <c:v>40058</c:v>
                </c:pt>
                <c:pt idx="430">
                  <c:v>40059</c:v>
                </c:pt>
                <c:pt idx="431">
                  <c:v>40060</c:v>
                </c:pt>
                <c:pt idx="432">
                  <c:v>40063</c:v>
                </c:pt>
                <c:pt idx="433">
                  <c:v>40064</c:v>
                </c:pt>
                <c:pt idx="434">
                  <c:v>40065</c:v>
                </c:pt>
                <c:pt idx="435">
                  <c:v>40066</c:v>
                </c:pt>
                <c:pt idx="436">
                  <c:v>40067</c:v>
                </c:pt>
                <c:pt idx="437">
                  <c:v>40070</c:v>
                </c:pt>
                <c:pt idx="438">
                  <c:v>40071</c:v>
                </c:pt>
                <c:pt idx="439">
                  <c:v>40072</c:v>
                </c:pt>
                <c:pt idx="440">
                  <c:v>40073</c:v>
                </c:pt>
                <c:pt idx="441">
                  <c:v>40074</c:v>
                </c:pt>
                <c:pt idx="442">
                  <c:v>40077</c:v>
                </c:pt>
                <c:pt idx="443">
                  <c:v>40078</c:v>
                </c:pt>
                <c:pt idx="444">
                  <c:v>40079</c:v>
                </c:pt>
                <c:pt idx="445">
                  <c:v>40080</c:v>
                </c:pt>
                <c:pt idx="446">
                  <c:v>40081</c:v>
                </c:pt>
                <c:pt idx="447">
                  <c:v>40084</c:v>
                </c:pt>
                <c:pt idx="448">
                  <c:v>40085</c:v>
                </c:pt>
                <c:pt idx="449">
                  <c:v>40086</c:v>
                </c:pt>
                <c:pt idx="450">
                  <c:v>40095</c:v>
                </c:pt>
                <c:pt idx="451">
                  <c:v>40098</c:v>
                </c:pt>
                <c:pt idx="452">
                  <c:v>40099</c:v>
                </c:pt>
                <c:pt idx="453">
                  <c:v>40100</c:v>
                </c:pt>
                <c:pt idx="454">
                  <c:v>40101</c:v>
                </c:pt>
                <c:pt idx="455">
                  <c:v>40102</c:v>
                </c:pt>
                <c:pt idx="456">
                  <c:v>40105</c:v>
                </c:pt>
                <c:pt idx="457">
                  <c:v>40106</c:v>
                </c:pt>
                <c:pt idx="458">
                  <c:v>40107</c:v>
                </c:pt>
                <c:pt idx="459">
                  <c:v>40108</c:v>
                </c:pt>
                <c:pt idx="460">
                  <c:v>40109</c:v>
                </c:pt>
                <c:pt idx="461">
                  <c:v>40112</c:v>
                </c:pt>
                <c:pt idx="462">
                  <c:v>40113</c:v>
                </c:pt>
                <c:pt idx="463">
                  <c:v>40114</c:v>
                </c:pt>
                <c:pt idx="464">
                  <c:v>40115</c:v>
                </c:pt>
                <c:pt idx="465">
                  <c:v>40116</c:v>
                </c:pt>
                <c:pt idx="466">
                  <c:v>40119</c:v>
                </c:pt>
                <c:pt idx="467">
                  <c:v>40120</c:v>
                </c:pt>
                <c:pt idx="468">
                  <c:v>40121</c:v>
                </c:pt>
                <c:pt idx="469">
                  <c:v>40122</c:v>
                </c:pt>
                <c:pt idx="470">
                  <c:v>40123</c:v>
                </c:pt>
                <c:pt idx="471">
                  <c:v>40126</c:v>
                </c:pt>
                <c:pt idx="472">
                  <c:v>40127</c:v>
                </c:pt>
                <c:pt idx="473">
                  <c:v>40128</c:v>
                </c:pt>
                <c:pt idx="474">
                  <c:v>40129</c:v>
                </c:pt>
                <c:pt idx="475">
                  <c:v>40130</c:v>
                </c:pt>
                <c:pt idx="476">
                  <c:v>40133</c:v>
                </c:pt>
                <c:pt idx="477">
                  <c:v>40134</c:v>
                </c:pt>
                <c:pt idx="478">
                  <c:v>40135</c:v>
                </c:pt>
                <c:pt idx="479">
                  <c:v>40136</c:v>
                </c:pt>
                <c:pt idx="480">
                  <c:v>40137</c:v>
                </c:pt>
                <c:pt idx="481">
                  <c:v>40140</c:v>
                </c:pt>
                <c:pt idx="482">
                  <c:v>40141</c:v>
                </c:pt>
                <c:pt idx="483">
                  <c:v>40142</c:v>
                </c:pt>
                <c:pt idx="484">
                  <c:v>40143</c:v>
                </c:pt>
                <c:pt idx="485">
                  <c:v>40144</c:v>
                </c:pt>
                <c:pt idx="486">
                  <c:v>40147</c:v>
                </c:pt>
                <c:pt idx="487">
                  <c:v>40148</c:v>
                </c:pt>
                <c:pt idx="488">
                  <c:v>40149</c:v>
                </c:pt>
                <c:pt idx="489">
                  <c:v>40150</c:v>
                </c:pt>
                <c:pt idx="490">
                  <c:v>40151</c:v>
                </c:pt>
                <c:pt idx="491">
                  <c:v>40154</c:v>
                </c:pt>
                <c:pt idx="492">
                  <c:v>40155</c:v>
                </c:pt>
                <c:pt idx="493">
                  <c:v>40156</c:v>
                </c:pt>
                <c:pt idx="494">
                  <c:v>40157</c:v>
                </c:pt>
                <c:pt idx="495">
                  <c:v>40158</c:v>
                </c:pt>
                <c:pt idx="496">
                  <c:v>40161</c:v>
                </c:pt>
                <c:pt idx="497">
                  <c:v>40162</c:v>
                </c:pt>
                <c:pt idx="498">
                  <c:v>40163</c:v>
                </c:pt>
                <c:pt idx="499">
                  <c:v>40164</c:v>
                </c:pt>
                <c:pt idx="500">
                  <c:v>40165</c:v>
                </c:pt>
                <c:pt idx="501">
                  <c:v>40168</c:v>
                </c:pt>
                <c:pt idx="502">
                  <c:v>40169</c:v>
                </c:pt>
                <c:pt idx="503">
                  <c:v>40170</c:v>
                </c:pt>
                <c:pt idx="504">
                  <c:v>40171</c:v>
                </c:pt>
                <c:pt idx="505">
                  <c:v>40172</c:v>
                </c:pt>
                <c:pt idx="506">
                  <c:v>40175</c:v>
                </c:pt>
                <c:pt idx="507">
                  <c:v>40176</c:v>
                </c:pt>
                <c:pt idx="508">
                  <c:v>40177</c:v>
                </c:pt>
                <c:pt idx="509">
                  <c:v>40178</c:v>
                </c:pt>
                <c:pt idx="510">
                  <c:v>40182</c:v>
                </c:pt>
                <c:pt idx="511">
                  <c:v>40183</c:v>
                </c:pt>
                <c:pt idx="512">
                  <c:v>40184</c:v>
                </c:pt>
                <c:pt idx="513">
                  <c:v>40185</c:v>
                </c:pt>
                <c:pt idx="514">
                  <c:v>40186</c:v>
                </c:pt>
                <c:pt idx="515">
                  <c:v>40189</c:v>
                </c:pt>
                <c:pt idx="516">
                  <c:v>40190</c:v>
                </c:pt>
                <c:pt idx="517">
                  <c:v>40191</c:v>
                </c:pt>
                <c:pt idx="518">
                  <c:v>40192</c:v>
                </c:pt>
                <c:pt idx="519">
                  <c:v>40193</c:v>
                </c:pt>
                <c:pt idx="520">
                  <c:v>40196</c:v>
                </c:pt>
                <c:pt idx="521">
                  <c:v>40197</c:v>
                </c:pt>
                <c:pt idx="522">
                  <c:v>40198</c:v>
                </c:pt>
                <c:pt idx="523">
                  <c:v>40199</c:v>
                </c:pt>
                <c:pt idx="524">
                  <c:v>40200</c:v>
                </c:pt>
                <c:pt idx="525">
                  <c:v>40203</c:v>
                </c:pt>
                <c:pt idx="526">
                  <c:v>40204</c:v>
                </c:pt>
                <c:pt idx="527">
                  <c:v>40205</c:v>
                </c:pt>
                <c:pt idx="528">
                  <c:v>40206</c:v>
                </c:pt>
                <c:pt idx="529">
                  <c:v>40207</c:v>
                </c:pt>
                <c:pt idx="530">
                  <c:v>40210</c:v>
                </c:pt>
                <c:pt idx="531">
                  <c:v>40211</c:v>
                </c:pt>
                <c:pt idx="532">
                  <c:v>40212</c:v>
                </c:pt>
                <c:pt idx="533">
                  <c:v>40213</c:v>
                </c:pt>
                <c:pt idx="534">
                  <c:v>40214</c:v>
                </c:pt>
                <c:pt idx="535">
                  <c:v>40217</c:v>
                </c:pt>
                <c:pt idx="536">
                  <c:v>40218</c:v>
                </c:pt>
                <c:pt idx="537">
                  <c:v>40219</c:v>
                </c:pt>
                <c:pt idx="538">
                  <c:v>40220</c:v>
                </c:pt>
                <c:pt idx="539">
                  <c:v>40221</c:v>
                </c:pt>
                <c:pt idx="540">
                  <c:v>40231</c:v>
                </c:pt>
                <c:pt idx="541">
                  <c:v>40232</c:v>
                </c:pt>
                <c:pt idx="542">
                  <c:v>40233</c:v>
                </c:pt>
                <c:pt idx="543">
                  <c:v>40234</c:v>
                </c:pt>
                <c:pt idx="544">
                  <c:v>40235</c:v>
                </c:pt>
                <c:pt idx="545">
                  <c:v>40238</c:v>
                </c:pt>
                <c:pt idx="546">
                  <c:v>40239</c:v>
                </c:pt>
                <c:pt idx="547">
                  <c:v>40240</c:v>
                </c:pt>
                <c:pt idx="548">
                  <c:v>40241</c:v>
                </c:pt>
                <c:pt idx="549">
                  <c:v>40242</c:v>
                </c:pt>
                <c:pt idx="550">
                  <c:v>40245</c:v>
                </c:pt>
                <c:pt idx="551">
                  <c:v>40246</c:v>
                </c:pt>
                <c:pt idx="552">
                  <c:v>40247</c:v>
                </c:pt>
                <c:pt idx="553">
                  <c:v>40248</c:v>
                </c:pt>
                <c:pt idx="554">
                  <c:v>40249</c:v>
                </c:pt>
                <c:pt idx="555">
                  <c:v>40252</c:v>
                </c:pt>
                <c:pt idx="556">
                  <c:v>40253</c:v>
                </c:pt>
                <c:pt idx="557">
                  <c:v>40254</c:v>
                </c:pt>
                <c:pt idx="558">
                  <c:v>40255</c:v>
                </c:pt>
                <c:pt idx="559">
                  <c:v>40256</c:v>
                </c:pt>
                <c:pt idx="560">
                  <c:v>40259</c:v>
                </c:pt>
                <c:pt idx="561">
                  <c:v>40260</c:v>
                </c:pt>
                <c:pt idx="562">
                  <c:v>40261</c:v>
                </c:pt>
                <c:pt idx="563">
                  <c:v>40262</c:v>
                </c:pt>
                <c:pt idx="564">
                  <c:v>40263</c:v>
                </c:pt>
                <c:pt idx="565">
                  <c:v>40266</c:v>
                </c:pt>
                <c:pt idx="566">
                  <c:v>40267</c:v>
                </c:pt>
                <c:pt idx="567">
                  <c:v>40268</c:v>
                </c:pt>
                <c:pt idx="568">
                  <c:v>40269</c:v>
                </c:pt>
                <c:pt idx="569">
                  <c:v>40270</c:v>
                </c:pt>
                <c:pt idx="570">
                  <c:v>40274</c:v>
                </c:pt>
                <c:pt idx="571">
                  <c:v>40275</c:v>
                </c:pt>
                <c:pt idx="572">
                  <c:v>40276</c:v>
                </c:pt>
                <c:pt idx="573">
                  <c:v>40277</c:v>
                </c:pt>
                <c:pt idx="574">
                  <c:v>40280</c:v>
                </c:pt>
                <c:pt idx="575">
                  <c:v>40281</c:v>
                </c:pt>
                <c:pt idx="576">
                  <c:v>40282</c:v>
                </c:pt>
                <c:pt idx="577">
                  <c:v>40283</c:v>
                </c:pt>
                <c:pt idx="578">
                  <c:v>40284</c:v>
                </c:pt>
                <c:pt idx="579">
                  <c:v>40287</c:v>
                </c:pt>
                <c:pt idx="580">
                  <c:v>40288</c:v>
                </c:pt>
                <c:pt idx="581">
                  <c:v>40289</c:v>
                </c:pt>
                <c:pt idx="582">
                  <c:v>40290</c:v>
                </c:pt>
                <c:pt idx="583">
                  <c:v>40291</c:v>
                </c:pt>
                <c:pt idx="584">
                  <c:v>40294</c:v>
                </c:pt>
                <c:pt idx="585">
                  <c:v>40295</c:v>
                </c:pt>
                <c:pt idx="586">
                  <c:v>40296</c:v>
                </c:pt>
                <c:pt idx="587">
                  <c:v>40297</c:v>
                </c:pt>
                <c:pt idx="588">
                  <c:v>40298</c:v>
                </c:pt>
                <c:pt idx="589">
                  <c:v>40302</c:v>
                </c:pt>
                <c:pt idx="590">
                  <c:v>40303</c:v>
                </c:pt>
                <c:pt idx="591">
                  <c:v>40304</c:v>
                </c:pt>
                <c:pt idx="592">
                  <c:v>40305</c:v>
                </c:pt>
                <c:pt idx="593">
                  <c:v>40308</c:v>
                </c:pt>
                <c:pt idx="594">
                  <c:v>40309</c:v>
                </c:pt>
                <c:pt idx="595">
                  <c:v>40310</c:v>
                </c:pt>
                <c:pt idx="596">
                  <c:v>40311</c:v>
                </c:pt>
                <c:pt idx="597">
                  <c:v>40312</c:v>
                </c:pt>
                <c:pt idx="598">
                  <c:v>40315</c:v>
                </c:pt>
                <c:pt idx="599">
                  <c:v>40316</c:v>
                </c:pt>
                <c:pt idx="600">
                  <c:v>40317</c:v>
                </c:pt>
                <c:pt idx="601">
                  <c:v>40318</c:v>
                </c:pt>
                <c:pt idx="602">
                  <c:v>40319</c:v>
                </c:pt>
                <c:pt idx="603">
                  <c:v>40322</c:v>
                </c:pt>
                <c:pt idx="604">
                  <c:v>40323</c:v>
                </c:pt>
                <c:pt idx="605">
                  <c:v>40324</c:v>
                </c:pt>
                <c:pt idx="606">
                  <c:v>40325</c:v>
                </c:pt>
                <c:pt idx="607">
                  <c:v>40326</c:v>
                </c:pt>
                <c:pt idx="608">
                  <c:v>40329</c:v>
                </c:pt>
                <c:pt idx="609">
                  <c:v>40330</c:v>
                </c:pt>
                <c:pt idx="610">
                  <c:v>40331</c:v>
                </c:pt>
                <c:pt idx="611">
                  <c:v>40332</c:v>
                </c:pt>
                <c:pt idx="612">
                  <c:v>40333</c:v>
                </c:pt>
                <c:pt idx="613">
                  <c:v>40336</c:v>
                </c:pt>
                <c:pt idx="614">
                  <c:v>40337</c:v>
                </c:pt>
                <c:pt idx="615">
                  <c:v>40338</c:v>
                </c:pt>
                <c:pt idx="616">
                  <c:v>40339</c:v>
                </c:pt>
                <c:pt idx="617">
                  <c:v>40340</c:v>
                </c:pt>
                <c:pt idx="618">
                  <c:v>40346</c:v>
                </c:pt>
                <c:pt idx="619">
                  <c:v>40347</c:v>
                </c:pt>
                <c:pt idx="620">
                  <c:v>40350</c:v>
                </c:pt>
                <c:pt idx="621">
                  <c:v>40351</c:v>
                </c:pt>
                <c:pt idx="622">
                  <c:v>40352</c:v>
                </c:pt>
                <c:pt idx="623">
                  <c:v>40353</c:v>
                </c:pt>
                <c:pt idx="624">
                  <c:v>40354</c:v>
                </c:pt>
                <c:pt idx="625">
                  <c:v>40357</c:v>
                </c:pt>
                <c:pt idx="626">
                  <c:v>40358</c:v>
                </c:pt>
                <c:pt idx="627">
                  <c:v>40359</c:v>
                </c:pt>
                <c:pt idx="628">
                  <c:v>40360</c:v>
                </c:pt>
                <c:pt idx="629">
                  <c:v>40361</c:v>
                </c:pt>
                <c:pt idx="630">
                  <c:v>40364</c:v>
                </c:pt>
                <c:pt idx="631">
                  <c:v>40365</c:v>
                </c:pt>
                <c:pt idx="632">
                  <c:v>40366</c:v>
                </c:pt>
                <c:pt idx="633">
                  <c:v>40367</c:v>
                </c:pt>
                <c:pt idx="634">
                  <c:v>40368</c:v>
                </c:pt>
                <c:pt idx="635">
                  <c:v>40371</c:v>
                </c:pt>
                <c:pt idx="636">
                  <c:v>40372</c:v>
                </c:pt>
                <c:pt idx="637">
                  <c:v>40373</c:v>
                </c:pt>
                <c:pt idx="638">
                  <c:v>40374</c:v>
                </c:pt>
                <c:pt idx="639">
                  <c:v>40375</c:v>
                </c:pt>
                <c:pt idx="640">
                  <c:v>40378</c:v>
                </c:pt>
                <c:pt idx="641">
                  <c:v>40379</c:v>
                </c:pt>
                <c:pt idx="642">
                  <c:v>40380</c:v>
                </c:pt>
                <c:pt idx="643">
                  <c:v>40381</c:v>
                </c:pt>
                <c:pt idx="644">
                  <c:v>40382</c:v>
                </c:pt>
                <c:pt idx="645">
                  <c:v>40385</c:v>
                </c:pt>
                <c:pt idx="646">
                  <c:v>40386</c:v>
                </c:pt>
                <c:pt idx="647">
                  <c:v>40387</c:v>
                </c:pt>
                <c:pt idx="648">
                  <c:v>40388</c:v>
                </c:pt>
                <c:pt idx="649">
                  <c:v>40389</c:v>
                </c:pt>
                <c:pt idx="650">
                  <c:v>40392</c:v>
                </c:pt>
                <c:pt idx="651">
                  <c:v>40393</c:v>
                </c:pt>
                <c:pt idx="652">
                  <c:v>40394</c:v>
                </c:pt>
                <c:pt idx="653">
                  <c:v>40395</c:v>
                </c:pt>
                <c:pt idx="654">
                  <c:v>40396</c:v>
                </c:pt>
                <c:pt idx="655">
                  <c:v>40399</c:v>
                </c:pt>
                <c:pt idx="656">
                  <c:v>40400</c:v>
                </c:pt>
                <c:pt idx="657">
                  <c:v>40401</c:v>
                </c:pt>
                <c:pt idx="658">
                  <c:v>40402</c:v>
                </c:pt>
                <c:pt idx="659">
                  <c:v>40403</c:v>
                </c:pt>
                <c:pt idx="660">
                  <c:v>40406</c:v>
                </c:pt>
                <c:pt idx="661">
                  <c:v>40407</c:v>
                </c:pt>
                <c:pt idx="662">
                  <c:v>40408</c:v>
                </c:pt>
                <c:pt idx="663">
                  <c:v>40409</c:v>
                </c:pt>
                <c:pt idx="664">
                  <c:v>40410</c:v>
                </c:pt>
                <c:pt idx="665">
                  <c:v>40413</c:v>
                </c:pt>
                <c:pt idx="666">
                  <c:v>40414</c:v>
                </c:pt>
                <c:pt idx="667">
                  <c:v>40415</c:v>
                </c:pt>
                <c:pt idx="668">
                  <c:v>40416</c:v>
                </c:pt>
                <c:pt idx="669">
                  <c:v>40417</c:v>
                </c:pt>
                <c:pt idx="670">
                  <c:v>40420</c:v>
                </c:pt>
                <c:pt idx="671">
                  <c:v>40421</c:v>
                </c:pt>
                <c:pt idx="672">
                  <c:v>40422</c:v>
                </c:pt>
                <c:pt idx="673">
                  <c:v>40423</c:v>
                </c:pt>
                <c:pt idx="674">
                  <c:v>40424</c:v>
                </c:pt>
                <c:pt idx="675">
                  <c:v>40427</c:v>
                </c:pt>
                <c:pt idx="676">
                  <c:v>40428</c:v>
                </c:pt>
                <c:pt idx="677">
                  <c:v>40429</c:v>
                </c:pt>
                <c:pt idx="678">
                  <c:v>40430</c:v>
                </c:pt>
                <c:pt idx="679">
                  <c:v>40431</c:v>
                </c:pt>
                <c:pt idx="680">
                  <c:v>40434</c:v>
                </c:pt>
                <c:pt idx="681">
                  <c:v>40435</c:v>
                </c:pt>
                <c:pt idx="682">
                  <c:v>40436</c:v>
                </c:pt>
                <c:pt idx="683">
                  <c:v>40437</c:v>
                </c:pt>
                <c:pt idx="684">
                  <c:v>40438</c:v>
                </c:pt>
                <c:pt idx="685">
                  <c:v>40441</c:v>
                </c:pt>
                <c:pt idx="686">
                  <c:v>40442</c:v>
                </c:pt>
                <c:pt idx="687">
                  <c:v>40448</c:v>
                </c:pt>
                <c:pt idx="688">
                  <c:v>40449</c:v>
                </c:pt>
                <c:pt idx="689">
                  <c:v>40450</c:v>
                </c:pt>
                <c:pt idx="690">
                  <c:v>40451</c:v>
                </c:pt>
                <c:pt idx="691">
                  <c:v>40459</c:v>
                </c:pt>
                <c:pt idx="692">
                  <c:v>40462</c:v>
                </c:pt>
                <c:pt idx="693">
                  <c:v>40463</c:v>
                </c:pt>
                <c:pt idx="694">
                  <c:v>40464</c:v>
                </c:pt>
                <c:pt idx="695">
                  <c:v>40465</c:v>
                </c:pt>
                <c:pt idx="696">
                  <c:v>40466</c:v>
                </c:pt>
                <c:pt idx="697">
                  <c:v>40469</c:v>
                </c:pt>
                <c:pt idx="698">
                  <c:v>40470</c:v>
                </c:pt>
                <c:pt idx="699">
                  <c:v>40471</c:v>
                </c:pt>
                <c:pt idx="700">
                  <c:v>40472</c:v>
                </c:pt>
                <c:pt idx="701">
                  <c:v>40473</c:v>
                </c:pt>
                <c:pt idx="702">
                  <c:v>40476</c:v>
                </c:pt>
                <c:pt idx="703">
                  <c:v>40477</c:v>
                </c:pt>
                <c:pt idx="704">
                  <c:v>40478</c:v>
                </c:pt>
                <c:pt idx="705">
                  <c:v>40479</c:v>
                </c:pt>
                <c:pt idx="706">
                  <c:v>40480</c:v>
                </c:pt>
                <c:pt idx="707">
                  <c:v>40483</c:v>
                </c:pt>
                <c:pt idx="708">
                  <c:v>40484</c:v>
                </c:pt>
                <c:pt idx="709">
                  <c:v>40485</c:v>
                </c:pt>
                <c:pt idx="710">
                  <c:v>40486</c:v>
                </c:pt>
                <c:pt idx="711">
                  <c:v>40487</c:v>
                </c:pt>
                <c:pt idx="712">
                  <c:v>40490</c:v>
                </c:pt>
                <c:pt idx="713">
                  <c:v>40491</c:v>
                </c:pt>
                <c:pt idx="714">
                  <c:v>40492</c:v>
                </c:pt>
                <c:pt idx="715">
                  <c:v>40493</c:v>
                </c:pt>
                <c:pt idx="716">
                  <c:v>40494</c:v>
                </c:pt>
                <c:pt idx="717">
                  <c:v>40497</c:v>
                </c:pt>
                <c:pt idx="718">
                  <c:v>40498</c:v>
                </c:pt>
                <c:pt idx="719">
                  <c:v>40499</c:v>
                </c:pt>
                <c:pt idx="720">
                  <c:v>40500</c:v>
                </c:pt>
                <c:pt idx="721">
                  <c:v>40501</c:v>
                </c:pt>
                <c:pt idx="722">
                  <c:v>40504</c:v>
                </c:pt>
                <c:pt idx="723">
                  <c:v>40505</c:v>
                </c:pt>
                <c:pt idx="724">
                  <c:v>40506</c:v>
                </c:pt>
                <c:pt idx="725">
                  <c:v>40507</c:v>
                </c:pt>
                <c:pt idx="726">
                  <c:v>40508</c:v>
                </c:pt>
                <c:pt idx="727">
                  <c:v>40511</c:v>
                </c:pt>
                <c:pt idx="728">
                  <c:v>40512</c:v>
                </c:pt>
                <c:pt idx="729">
                  <c:v>40513</c:v>
                </c:pt>
                <c:pt idx="730">
                  <c:v>40514</c:v>
                </c:pt>
                <c:pt idx="731">
                  <c:v>40515</c:v>
                </c:pt>
                <c:pt idx="732">
                  <c:v>40518</c:v>
                </c:pt>
                <c:pt idx="733">
                  <c:v>40519</c:v>
                </c:pt>
                <c:pt idx="734">
                  <c:v>40520</c:v>
                </c:pt>
                <c:pt idx="735">
                  <c:v>40521</c:v>
                </c:pt>
                <c:pt idx="736">
                  <c:v>40522</c:v>
                </c:pt>
                <c:pt idx="737">
                  <c:v>40525</c:v>
                </c:pt>
                <c:pt idx="738">
                  <c:v>40526</c:v>
                </c:pt>
                <c:pt idx="739">
                  <c:v>40527</c:v>
                </c:pt>
                <c:pt idx="740">
                  <c:v>40528</c:v>
                </c:pt>
                <c:pt idx="741">
                  <c:v>40529</c:v>
                </c:pt>
                <c:pt idx="742">
                  <c:v>40532</c:v>
                </c:pt>
                <c:pt idx="743">
                  <c:v>40533</c:v>
                </c:pt>
                <c:pt idx="744">
                  <c:v>40534</c:v>
                </c:pt>
                <c:pt idx="745">
                  <c:v>40535</c:v>
                </c:pt>
                <c:pt idx="746">
                  <c:v>40536</c:v>
                </c:pt>
                <c:pt idx="747">
                  <c:v>40539</c:v>
                </c:pt>
                <c:pt idx="748">
                  <c:v>40540</c:v>
                </c:pt>
                <c:pt idx="749">
                  <c:v>40541</c:v>
                </c:pt>
                <c:pt idx="750">
                  <c:v>40542</c:v>
                </c:pt>
                <c:pt idx="751">
                  <c:v>40543</c:v>
                </c:pt>
                <c:pt idx="752">
                  <c:v>40547</c:v>
                </c:pt>
                <c:pt idx="753">
                  <c:v>40548</c:v>
                </c:pt>
                <c:pt idx="754">
                  <c:v>40549</c:v>
                </c:pt>
                <c:pt idx="755">
                  <c:v>40550</c:v>
                </c:pt>
                <c:pt idx="756">
                  <c:v>40553</c:v>
                </c:pt>
                <c:pt idx="757">
                  <c:v>40554</c:v>
                </c:pt>
                <c:pt idx="758">
                  <c:v>40555</c:v>
                </c:pt>
                <c:pt idx="759">
                  <c:v>40556</c:v>
                </c:pt>
                <c:pt idx="760">
                  <c:v>40557</c:v>
                </c:pt>
                <c:pt idx="761">
                  <c:v>40560</c:v>
                </c:pt>
                <c:pt idx="762">
                  <c:v>40561</c:v>
                </c:pt>
                <c:pt idx="763">
                  <c:v>40562</c:v>
                </c:pt>
                <c:pt idx="764">
                  <c:v>40563</c:v>
                </c:pt>
                <c:pt idx="765">
                  <c:v>40564</c:v>
                </c:pt>
                <c:pt idx="766">
                  <c:v>40567</c:v>
                </c:pt>
                <c:pt idx="767">
                  <c:v>40568</c:v>
                </c:pt>
                <c:pt idx="768">
                  <c:v>40569</c:v>
                </c:pt>
                <c:pt idx="769">
                  <c:v>40570</c:v>
                </c:pt>
                <c:pt idx="770">
                  <c:v>40571</c:v>
                </c:pt>
                <c:pt idx="771">
                  <c:v>40574</c:v>
                </c:pt>
                <c:pt idx="772">
                  <c:v>40575</c:v>
                </c:pt>
                <c:pt idx="773">
                  <c:v>40583</c:v>
                </c:pt>
                <c:pt idx="774">
                  <c:v>40584</c:v>
                </c:pt>
                <c:pt idx="775">
                  <c:v>40585</c:v>
                </c:pt>
                <c:pt idx="776">
                  <c:v>40588</c:v>
                </c:pt>
                <c:pt idx="777">
                  <c:v>40589</c:v>
                </c:pt>
                <c:pt idx="778">
                  <c:v>40590</c:v>
                </c:pt>
                <c:pt idx="779">
                  <c:v>40591</c:v>
                </c:pt>
                <c:pt idx="780">
                  <c:v>40592</c:v>
                </c:pt>
                <c:pt idx="781">
                  <c:v>40595</c:v>
                </c:pt>
                <c:pt idx="782">
                  <c:v>40596</c:v>
                </c:pt>
                <c:pt idx="783">
                  <c:v>40597</c:v>
                </c:pt>
                <c:pt idx="784">
                  <c:v>40598</c:v>
                </c:pt>
                <c:pt idx="785">
                  <c:v>40599</c:v>
                </c:pt>
                <c:pt idx="786">
                  <c:v>40602</c:v>
                </c:pt>
                <c:pt idx="787">
                  <c:v>40603</c:v>
                </c:pt>
                <c:pt idx="788">
                  <c:v>40604</c:v>
                </c:pt>
                <c:pt idx="789">
                  <c:v>40605</c:v>
                </c:pt>
                <c:pt idx="790">
                  <c:v>40606</c:v>
                </c:pt>
                <c:pt idx="791">
                  <c:v>40609</c:v>
                </c:pt>
                <c:pt idx="792">
                  <c:v>40610</c:v>
                </c:pt>
                <c:pt idx="793">
                  <c:v>40611</c:v>
                </c:pt>
                <c:pt idx="794">
                  <c:v>40612</c:v>
                </c:pt>
                <c:pt idx="795">
                  <c:v>40613</c:v>
                </c:pt>
                <c:pt idx="796">
                  <c:v>40616</c:v>
                </c:pt>
                <c:pt idx="797">
                  <c:v>40617</c:v>
                </c:pt>
                <c:pt idx="798">
                  <c:v>40618</c:v>
                </c:pt>
                <c:pt idx="799">
                  <c:v>40619</c:v>
                </c:pt>
                <c:pt idx="800">
                  <c:v>40620</c:v>
                </c:pt>
                <c:pt idx="801">
                  <c:v>40623</c:v>
                </c:pt>
                <c:pt idx="802">
                  <c:v>40624</c:v>
                </c:pt>
                <c:pt idx="803">
                  <c:v>40625</c:v>
                </c:pt>
                <c:pt idx="804">
                  <c:v>40626</c:v>
                </c:pt>
                <c:pt idx="805">
                  <c:v>40627</c:v>
                </c:pt>
                <c:pt idx="806">
                  <c:v>40630</c:v>
                </c:pt>
                <c:pt idx="807">
                  <c:v>40631</c:v>
                </c:pt>
                <c:pt idx="808">
                  <c:v>40632</c:v>
                </c:pt>
                <c:pt idx="809">
                  <c:v>40633</c:v>
                </c:pt>
                <c:pt idx="810">
                  <c:v>40634</c:v>
                </c:pt>
                <c:pt idx="811">
                  <c:v>40639</c:v>
                </c:pt>
                <c:pt idx="812">
                  <c:v>40640</c:v>
                </c:pt>
                <c:pt idx="813">
                  <c:v>40641</c:v>
                </c:pt>
                <c:pt idx="814">
                  <c:v>40644</c:v>
                </c:pt>
                <c:pt idx="815">
                  <c:v>40645</c:v>
                </c:pt>
                <c:pt idx="816">
                  <c:v>40646</c:v>
                </c:pt>
                <c:pt idx="817">
                  <c:v>40647</c:v>
                </c:pt>
                <c:pt idx="818">
                  <c:v>40648</c:v>
                </c:pt>
                <c:pt idx="819">
                  <c:v>40651</c:v>
                </c:pt>
                <c:pt idx="820">
                  <c:v>40652</c:v>
                </c:pt>
                <c:pt idx="821">
                  <c:v>40653</c:v>
                </c:pt>
                <c:pt idx="822">
                  <c:v>40654</c:v>
                </c:pt>
                <c:pt idx="823">
                  <c:v>40655</c:v>
                </c:pt>
                <c:pt idx="824">
                  <c:v>40658</c:v>
                </c:pt>
                <c:pt idx="825">
                  <c:v>40659</c:v>
                </c:pt>
                <c:pt idx="826">
                  <c:v>40660</c:v>
                </c:pt>
                <c:pt idx="827">
                  <c:v>40661</c:v>
                </c:pt>
                <c:pt idx="828">
                  <c:v>40662</c:v>
                </c:pt>
                <c:pt idx="829">
                  <c:v>40666</c:v>
                </c:pt>
                <c:pt idx="830">
                  <c:v>40667</c:v>
                </c:pt>
                <c:pt idx="831">
                  <c:v>40668</c:v>
                </c:pt>
                <c:pt idx="832">
                  <c:v>40669</c:v>
                </c:pt>
                <c:pt idx="833">
                  <c:v>40672</c:v>
                </c:pt>
                <c:pt idx="834">
                  <c:v>40673</c:v>
                </c:pt>
                <c:pt idx="835">
                  <c:v>40674</c:v>
                </c:pt>
                <c:pt idx="836">
                  <c:v>40675</c:v>
                </c:pt>
                <c:pt idx="837">
                  <c:v>40676</c:v>
                </c:pt>
                <c:pt idx="838">
                  <c:v>40679</c:v>
                </c:pt>
                <c:pt idx="839">
                  <c:v>40680</c:v>
                </c:pt>
                <c:pt idx="840">
                  <c:v>40681</c:v>
                </c:pt>
                <c:pt idx="841">
                  <c:v>40682</c:v>
                </c:pt>
                <c:pt idx="842">
                  <c:v>40683</c:v>
                </c:pt>
                <c:pt idx="843">
                  <c:v>40686</c:v>
                </c:pt>
                <c:pt idx="844">
                  <c:v>40687</c:v>
                </c:pt>
                <c:pt idx="845">
                  <c:v>40688</c:v>
                </c:pt>
                <c:pt idx="846">
                  <c:v>40689</c:v>
                </c:pt>
                <c:pt idx="847">
                  <c:v>40690</c:v>
                </c:pt>
                <c:pt idx="848">
                  <c:v>40693</c:v>
                </c:pt>
                <c:pt idx="849">
                  <c:v>40694</c:v>
                </c:pt>
                <c:pt idx="850">
                  <c:v>40695</c:v>
                </c:pt>
                <c:pt idx="851">
                  <c:v>40696</c:v>
                </c:pt>
                <c:pt idx="852">
                  <c:v>40697</c:v>
                </c:pt>
                <c:pt idx="853">
                  <c:v>40701</c:v>
                </c:pt>
                <c:pt idx="854">
                  <c:v>40702</c:v>
                </c:pt>
                <c:pt idx="855">
                  <c:v>40703</c:v>
                </c:pt>
                <c:pt idx="856">
                  <c:v>40704</c:v>
                </c:pt>
                <c:pt idx="857">
                  <c:v>40707</c:v>
                </c:pt>
                <c:pt idx="858">
                  <c:v>40708</c:v>
                </c:pt>
                <c:pt idx="859">
                  <c:v>40709</c:v>
                </c:pt>
                <c:pt idx="860">
                  <c:v>40710</c:v>
                </c:pt>
                <c:pt idx="861">
                  <c:v>40711</c:v>
                </c:pt>
                <c:pt idx="862">
                  <c:v>40714</c:v>
                </c:pt>
                <c:pt idx="863">
                  <c:v>40715</c:v>
                </c:pt>
                <c:pt idx="864">
                  <c:v>40716</c:v>
                </c:pt>
                <c:pt idx="865">
                  <c:v>40717</c:v>
                </c:pt>
                <c:pt idx="866">
                  <c:v>40718</c:v>
                </c:pt>
                <c:pt idx="867">
                  <c:v>40721</c:v>
                </c:pt>
                <c:pt idx="868">
                  <c:v>40722</c:v>
                </c:pt>
                <c:pt idx="869">
                  <c:v>40723</c:v>
                </c:pt>
                <c:pt idx="870">
                  <c:v>40724</c:v>
                </c:pt>
                <c:pt idx="871">
                  <c:v>40725</c:v>
                </c:pt>
                <c:pt idx="872">
                  <c:v>40728</c:v>
                </c:pt>
                <c:pt idx="873">
                  <c:v>40729</c:v>
                </c:pt>
                <c:pt idx="874">
                  <c:v>40730</c:v>
                </c:pt>
                <c:pt idx="875">
                  <c:v>40731</c:v>
                </c:pt>
                <c:pt idx="876">
                  <c:v>40732</c:v>
                </c:pt>
                <c:pt idx="877">
                  <c:v>40735</c:v>
                </c:pt>
                <c:pt idx="878">
                  <c:v>40736</c:v>
                </c:pt>
                <c:pt idx="879">
                  <c:v>40737</c:v>
                </c:pt>
                <c:pt idx="880">
                  <c:v>40738</c:v>
                </c:pt>
                <c:pt idx="881">
                  <c:v>40739</c:v>
                </c:pt>
                <c:pt idx="882">
                  <c:v>40742</c:v>
                </c:pt>
                <c:pt idx="883">
                  <c:v>40743</c:v>
                </c:pt>
                <c:pt idx="884">
                  <c:v>40744</c:v>
                </c:pt>
                <c:pt idx="885">
                  <c:v>40745</c:v>
                </c:pt>
                <c:pt idx="886">
                  <c:v>40746</c:v>
                </c:pt>
                <c:pt idx="887">
                  <c:v>40749</c:v>
                </c:pt>
                <c:pt idx="888">
                  <c:v>40750</c:v>
                </c:pt>
                <c:pt idx="889">
                  <c:v>40751</c:v>
                </c:pt>
                <c:pt idx="890">
                  <c:v>40752</c:v>
                </c:pt>
                <c:pt idx="891">
                  <c:v>40753</c:v>
                </c:pt>
                <c:pt idx="892">
                  <c:v>40756</c:v>
                </c:pt>
                <c:pt idx="893">
                  <c:v>40757</c:v>
                </c:pt>
                <c:pt idx="894">
                  <c:v>40758</c:v>
                </c:pt>
                <c:pt idx="895">
                  <c:v>40759</c:v>
                </c:pt>
                <c:pt idx="896">
                  <c:v>40760</c:v>
                </c:pt>
                <c:pt idx="897">
                  <c:v>40763</c:v>
                </c:pt>
                <c:pt idx="898">
                  <c:v>40764</c:v>
                </c:pt>
                <c:pt idx="899">
                  <c:v>40765</c:v>
                </c:pt>
                <c:pt idx="900">
                  <c:v>40766</c:v>
                </c:pt>
                <c:pt idx="901">
                  <c:v>40767</c:v>
                </c:pt>
                <c:pt idx="902">
                  <c:v>40770</c:v>
                </c:pt>
                <c:pt idx="903">
                  <c:v>40771</c:v>
                </c:pt>
                <c:pt idx="904">
                  <c:v>40772</c:v>
                </c:pt>
                <c:pt idx="905">
                  <c:v>40773</c:v>
                </c:pt>
                <c:pt idx="906">
                  <c:v>40774</c:v>
                </c:pt>
                <c:pt idx="907">
                  <c:v>40777</c:v>
                </c:pt>
                <c:pt idx="908">
                  <c:v>40778</c:v>
                </c:pt>
                <c:pt idx="909">
                  <c:v>40779</c:v>
                </c:pt>
                <c:pt idx="910">
                  <c:v>40780</c:v>
                </c:pt>
                <c:pt idx="911">
                  <c:v>40781</c:v>
                </c:pt>
                <c:pt idx="912">
                  <c:v>40784</c:v>
                </c:pt>
                <c:pt idx="913">
                  <c:v>40785</c:v>
                </c:pt>
                <c:pt idx="914">
                  <c:v>40786</c:v>
                </c:pt>
                <c:pt idx="915">
                  <c:v>40787</c:v>
                </c:pt>
                <c:pt idx="916">
                  <c:v>40788</c:v>
                </c:pt>
                <c:pt idx="917">
                  <c:v>40791</c:v>
                </c:pt>
                <c:pt idx="918">
                  <c:v>40792</c:v>
                </c:pt>
                <c:pt idx="919">
                  <c:v>40793</c:v>
                </c:pt>
                <c:pt idx="920">
                  <c:v>40794</c:v>
                </c:pt>
                <c:pt idx="921">
                  <c:v>40795</c:v>
                </c:pt>
                <c:pt idx="922">
                  <c:v>40799</c:v>
                </c:pt>
                <c:pt idx="923">
                  <c:v>40800</c:v>
                </c:pt>
                <c:pt idx="924">
                  <c:v>40801</c:v>
                </c:pt>
                <c:pt idx="925">
                  <c:v>40802</c:v>
                </c:pt>
                <c:pt idx="926">
                  <c:v>40805</c:v>
                </c:pt>
                <c:pt idx="927">
                  <c:v>40806</c:v>
                </c:pt>
                <c:pt idx="928">
                  <c:v>40807</c:v>
                </c:pt>
                <c:pt idx="929">
                  <c:v>40808</c:v>
                </c:pt>
                <c:pt idx="930">
                  <c:v>40809</c:v>
                </c:pt>
                <c:pt idx="931">
                  <c:v>40812</c:v>
                </c:pt>
                <c:pt idx="932">
                  <c:v>40813</c:v>
                </c:pt>
                <c:pt idx="933">
                  <c:v>40814</c:v>
                </c:pt>
                <c:pt idx="934">
                  <c:v>40815</c:v>
                </c:pt>
                <c:pt idx="935">
                  <c:v>40816</c:v>
                </c:pt>
                <c:pt idx="936">
                  <c:v>40826</c:v>
                </c:pt>
                <c:pt idx="937">
                  <c:v>40827</c:v>
                </c:pt>
                <c:pt idx="938">
                  <c:v>40828</c:v>
                </c:pt>
                <c:pt idx="939">
                  <c:v>40829</c:v>
                </c:pt>
                <c:pt idx="940">
                  <c:v>40830</c:v>
                </c:pt>
                <c:pt idx="941">
                  <c:v>40833</c:v>
                </c:pt>
                <c:pt idx="942">
                  <c:v>40834</c:v>
                </c:pt>
                <c:pt idx="943">
                  <c:v>40835</c:v>
                </c:pt>
                <c:pt idx="944">
                  <c:v>40836</c:v>
                </c:pt>
                <c:pt idx="945">
                  <c:v>40837</c:v>
                </c:pt>
                <c:pt idx="946">
                  <c:v>40840</c:v>
                </c:pt>
                <c:pt idx="947">
                  <c:v>40841</c:v>
                </c:pt>
                <c:pt idx="948">
                  <c:v>40842</c:v>
                </c:pt>
                <c:pt idx="949">
                  <c:v>40843</c:v>
                </c:pt>
                <c:pt idx="950">
                  <c:v>40844</c:v>
                </c:pt>
                <c:pt idx="951">
                  <c:v>40847</c:v>
                </c:pt>
                <c:pt idx="952">
                  <c:v>40848</c:v>
                </c:pt>
                <c:pt idx="953">
                  <c:v>40849</c:v>
                </c:pt>
                <c:pt idx="954">
                  <c:v>40850</c:v>
                </c:pt>
                <c:pt idx="955">
                  <c:v>40851</c:v>
                </c:pt>
                <c:pt idx="956">
                  <c:v>40854</c:v>
                </c:pt>
                <c:pt idx="957">
                  <c:v>40855</c:v>
                </c:pt>
                <c:pt idx="958">
                  <c:v>40856</c:v>
                </c:pt>
                <c:pt idx="959">
                  <c:v>40857</c:v>
                </c:pt>
                <c:pt idx="960">
                  <c:v>40858</c:v>
                </c:pt>
                <c:pt idx="961">
                  <c:v>40861</c:v>
                </c:pt>
                <c:pt idx="962">
                  <c:v>40862</c:v>
                </c:pt>
                <c:pt idx="963">
                  <c:v>40863</c:v>
                </c:pt>
                <c:pt idx="964">
                  <c:v>40864</c:v>
                </c:pt>
                <c:pt idx="965">
                  <c:v>40865</c:v>
                </c:pt>
                <c:pt idx="966">
                  <c:v>40868</c:v>
                </c:pt>
                <c:pt idx="967">
                  <c:v>40869</c:v>
                </c:pt>
                <c:pt idx="968">
                  <c:v>40870</c:v>
                </c:pt>
                <c:pt idx="969">
                  <c:v>40871</c:v>
                </c:pt>
                <c:pt idx="970">
                  <c:v>40872</c:v>
                </c:pt>
                <c:pt idx="971">
                  <c:v>40875</c:v>
                </c:pt>
                <c:pt idx="972">
                  <c:v>40876</c:v>
                </c:pt>
                <c:pt idx="973">
                  <c:v>40877</c:v>
                </c:pt>
                <c:pt idx="974">
                  <c:v>40878</c:v>
                </c:pt>
                <c:pt idx="975">
                  <c:v>40879</c:v>
                </c:pt>
                <c:pt idx="976">
                  <c:v>40882</c:v>
                </c:pt>
                <c:pt idx="977">
                  <c:v>40883</c:v>
                </c:pt>
                <c:pt idx="978">
                  <c:v>40884</c:v>
                </c:pt>
                <c:pt idx="979">
                  <c:v>40885</c:v>
                </c:pt>
                <c:pt idx="980">
                  <c:v>40886</c:v>
                </c:pt>
                <c:pt idx="981">
                  <c:v>40889</c:v>
                </c:pt>
                <c:pt idx="982">
                  <c:v>40890</c:v>
                </c:pt>
                <c:pt idx="983">
                  <c:v>40891</c:v>
                </c:pt>
                <c:pt idx="984">
                  <c:v>40892</c:v>
                </c:pt>
                <c:pt idx="985">
                  <c:v>40893</c:v>
                </c:pt>
                <c:pt idx="986">
                  <c:v>40896</c:v>
                </c:pt>
                <c:pt idx="987">
                  <c:v>40897</c:v>
                </c:pt>
                <c:pt idx="988">
                  <c:v>40898</c:v>
                </c:pt>
                <c:pt idx="989">
                  <c:v>40899</c:v>
                </c:pt>
                <c:pt idx="990">
                  <c:v>40900</c:v>
                </c:pt>
                <c:pt idx="991">
                  <c:v>40903</c:v>
                </c:pt>
                <c:pt idx="992">
                  <c:v>40904</c:v>
                </c:pt>
                <c:pt idx="993">
                  <c:v>40905</c:v>
                </c:pt>
                <c:pt idx="994">
                  <c:v>40906</c:v>
                </c:pt>
                <c:pt idx="995">
                  <c:v>40907</c:v>
                </c:pt>
                <c:pt idx="996">
                  <c:v>40912</c:v>
                </c:pt>
                <c:pt idx="997">
                  <c:v>40913</c:v>
                </c:pt>
                <c:pt idx="998">
                  <c:v>40914</c:v>
                </c:pt>
                <c:pt idx="999">
                  <c:v>40917</c:v>
                </c:pt>
                <c:pt idx="1000">
                  <c:v>40918</c:v>
                </c:pt>
                <c:pt idx="1001">
                  <c:v>40919</c:v>
                </c:pt>
                <c:pt idx="1002">
                  <c:v>40920</c:v>
                </c:pt>
                <c:pt idx="1003">
                  <c:v>40921</c:v>
                </c:pt>
                <c:pt idx="1004">
                  <c:v>40924</c:v>
                </c:pt>
                <c:pt idx="1005">
                  <c:v>40925</c:v>
                </c:pt>
                <c:pt idx="1006">
                  <c:v>40926</c:v>
                </c:pt>
                <c:pt idx="1007">
                  <c:v>40927</c:v>
                </c:pt>
                <c:pt idx="1008">
                  <c:v>40928</c:v>
                </c:pt>
                <c:pt idx="1009">
                  <c:v>40938</c:v>
                </c:pt>
                <c:pt idx="1010">
                  <c:v>40939</c:v>
                </c:pt>
                <c:pt idx="1011">
                  <c:v>40940</c:v>
                </c:pt>
                <c:pt idx="1012">
                  <c:v>40941</c:v>
                </c:pt>
                <c:pt idx="1013">
                  <c:v>40942</c:v>
                </c:pt>
                <c:pt idx="1014">
                  <c:v>40945</c:v>
                </c:pt>
                <c:pt idx="1015">
                  <c:v>40946</c:v>
                </c:pt>
                <c:pt idx="1016">
                  <c:v>40947</c:v>
                </c:pt>
                <c:pt idx="1017">
                  <c:v>40948</c:v>
                </c:pt>
                <c:pt idx="1018">
                  <c:v>40949</c:v>
                </c:pt>
                <c:pt idx="1019">
                  <c:v>40952</c:v>
                </c:pt>
                <c:pt idx="1020">
                  <c:v>40953</c:v>
                </c:pt>
                <c:pt idx="1021">
                  <c:v>40954</c:v>
                </c:pt>
                <c:pt idx="1022">
                  <c:v>40955</c:v>
                </c:pt>
                <c:pt idx="1023">
                  <c:v>40956</c:v>
                </c:pt>
                <c:pt idx="1024">
                  <c:v>40959</c:v>
                </c:pt>
                <c:pt idx="1025">
                  <c:v>40960</c:v>
                </c:pt>
                <c:pt idx="1026">
                  <c:v>40961</c:v>
                </c:pt>
                <c:pt idx="1027">
                  <c:v>40962</c:v>
                </c:pt>
                <c:pt idx="1028">
                  <c:v>40963</c:v>
                </c:pt>
                <c:pt idx="1029">
                  <c:v>40966</c:v>
                </c:pt>
                <c:pt idx="1030">
                  <c:v>40967</c:v>
                </c:pt>
                <c:pt idx="1031">
                  <c:v>40968</c:v>
                </c:pt>
                <c:pt idx="1032">
                  <c:v>40969</c:v>
                </c:pt>
                <c:pt idx="1033">
                  <c:v>40970</c:v>
                </c:pt>
                <c:pt idx="1034">
                  <c:v>40973</c:v>
                </c:pt>
                <c:pt idx="1035">
                  <c:v>40974</c:v>
                </c:pt>
                <c:pt idx="1036">
                  <c:v>40975</c:v>
                </c:pt>
                <c:pt idx="1037">
                  <c:v>40976</c:v>
                </c:pt>
                <c:pt idx="1038">
                  <c:v>40977</c:v>
                </c:pt>
                <c:pt idx="1039">
                  <c:v>40980</c:v>
                </c:pt>
                <c:pt idx="1040">
                  <c:v>40981</c:v>
                </c:pt>
                <c:pt idx="1041">
                  <c:v>40982</c:v>
                </c:pt>
                <c:pt idx="1042">
                  <c:v>40983</c:v>
                </c:pt>
                <c:pt idx="1043">
                  <c:v>40984</c:v>
                </c:pt>
                <c:pt idx="1044">
                  <c:v>40987</c:v>
                </c:pt>
                <c:pt idx="1045">
                  <c:v>40988</c:v>
                </c:pt>
                <c:pt idx="1046">
                  <c:v>40989</c:v>
                </c:pt>
                <c:pt idx="1047">
                  <c:v>40990</c:v>
                </c:pt>
                <c:pt idx="1048">
                  <c:v>40991</c:v>
                </c:pt>
                <c:pt idx="1049">
                  <c:v>40994</c:v>
                </c:pt>
                <c:pt idx="1050">
                  <c:v>40995</c:v>
                </c:pt>
                <c:pt idx="1051">
                  <c:v>40996</c:v>
                </c:pt>
                <c:pt idx="1052">
                  <c:v>40997</c:v>
                </c:pt>
                <c:pt idx="1053">
                  <c:v>40998</c:v>
                </c:pt>
                <c:pt idx="1054">
                  <c:v>41004</c:v>
                </c:pt>
                <c:pt idx="1055">
                  <c:v>41005</c:v>
                </c:pt>
                <c:pt idx="1056">
                  <c:v>41008</c:v>
                </c:pt>
                <c:pt idx="1057">
                  <c:v>41009</c:v>
                </c:pt>
                <c:pt idx="1058">
                  <c:v>41010</c:v>
                </c:pt>
                <c:pt idx="1059">
                  <c:v>41011</c:v>
                </c:pt>
                <c:pt idx="1060">
                  <c:v>41012</c:v>
                </c:pt>
                <c:pt idx="1061">
                  <c:v>41015</c:v>
                </c:pt>
                <c:pt idx="1062">
                  <c:v>41016</c:v>
                </c:pt>
                <c:pt idx="1063">
                  <c:v>41017</c:v>
                </c:pt>
                <c:pt idx="1064">
                  <c:v>41018</c:v>
                </c:pt>
                <c:pt idx="1065">
                  <c:v>41019</c:v>
                </c:pt>
                <c:pt idx="1066">
                  <c:v>41022</c:v>
                </c:pt>
                <c:pt idx="1067">
                  <c:v>41023</c:v>
                </c:pt>
                <c:pt idx="1068">
                  <c:v>41024</c:v>
                </c:pt>
                <c:pt idx="1069">
                  <c:v>41025</c:v>
                </c:pt>
                <c:pt idx="1070">
                  <c:v>41026</c:v>
                </c:pt>
                <c:pt idx="1071">
                  <c:v>41031</c:v>
                </c:pt>
                <c:pt idx="1072">
                  <c:v>41032</c:v>
                </c:pt>
                <c:pt idx="1073">
                  <c:v>41033</c:v>
                </c:pt>
                <c:pt idx="1074">
                  <c:v>41036</c:v>
                </c:pt>
                <c:pt idx="1075">
                  <c:v>41037</c:v>
                </c:pt>
                <c:pt idx="1076">
                  <c:v>41038</c:v>
                </c:pt>
                <c:pt idx="1077">
                  <c:v>41039</c:v>
                </c:pt>
                <c:pt idx="1078">
                  <c:v>41040</c:v>
                </c:pt>
                <c:pt idx="1079">
                  <c:v>41043</c:v>
                </c:pt>
                <c:pt idx="1080">
                  <c:v>41044</c:v>
                </c:pt>
                <c:pt idx="1081">
                  <c:v>41045</c:v>
                </c:pt>
                <c:pt idx="1082">
                  <c:v>41046</c:v>
                </c:pt>
                <c:pt idx="1083">
                  <c:v>41047</c:v>
                </c:pt>
                <c:pt idx="1084">
                  <c:v>41050</c:v>
                </c:pt>
                <c:pt idx="1085">
                  <c:v>41051</c:v>
                </c:pt>
                <c:pt idx="1086">
                  <c:v>41052</c:v>
                </c:pt>
                <c:pt idx="1087">
                  <c:v>41053</c:v>
                </c:pt>
                <c:pt idx="1088">
                  <c:v>41054</c:v>
                </c:pt>
                <c:pt idx="1089">
                  <c:v>41057</c:v>
                </c:pt>
                <c:pt idx="1090">
                  <c:v>41058</c:v>
                </c:pt>
                <c:pt idx="1091">
                  <c:v>41059</c:v>
                </c:pt>
                <c:pt idx="1092">
                  <c:v>41060</c:v>
                </c:pt>
                <c:pt idx="1093">
                  <c:v>41061</c:v>
                </c:pt>
                <c:pt idx="1094">
                  <c:v>41064</c:v>
                </c:pt>
                <c:pt idx="1095">
                  <c:v>41065</c:v>
                </c:pt>
                <c:pt idx="1096">
                  <c:v>41066</c:v>
                </c:pt>
                <c:pt idx="1097">
                  <c:v>41067</c:v>
                </c:pt>
                <c:pt idx="1098">
                  <c:v>41068</c:v>
                </c:pt>
                <c:pt idx="1099">
                  <c:v>41071</c:v>
                </c:pt>
                <c:pt idx="1100">
                  <c:v>41072</c:v>
                </c:pt>
                <c:pt idx="1101">
                  <c:v>41073</c:v>
                </c:pt>
                <c:pt idx="1102">
                  <c:v>41074</c:v>
                </c:pt>
                <c:pt idx="1103">
                  <c:v>41075</c:v>
                </c:pt>
                <c:pt idx="1104">
                  <c:v>41078</c:v>
                </c:pt>
                <c:pt idx="1105">
                  <c:v>41079</c:v>
                </c:pt>
                <c:pt idx="1106">
                  <c:v>41080</c:v>
                </c:pt>
                <c:pt idx="1107">
                  <c:v>41081</c:v>
                </c:pt>
                <c:pt idx="1108">
                  <c:v>41085</c:v>
                </c:pt>
                <c:pt idx="1109">
                  <c:v>41086</c:v>
                </c:pt>
                <c:pt idx="1110">
                  <c:v>41087</c:v>
                </c:pt>
                <c:pt idx="1111">
                  <c:v>41088</c:v>
                </c:pt>
                <c:pt idx="1112">
                  <c:v>41089</c:v>
                </c:pt>
                <c:pt idx="1113">
                  <c:v>41092</c:v>
                </c:pt>
                <c:pt idx="1114">
                  <c:v>41093</c:v>
                </c:pt>
                <c:pt idx="1115">
                  <c:v>41094</c:v>
                </c:pt>
                <c:pt idx="1116">
                  <c:v>41095</c:v>
                </c:pt>
                <c:pt idx="1117">
                  <c:v>41096</c:v>
                </c:pt>
                <c:pt idx="1118">
                  <c:v>41099</c:v>
                </c:pt>
                <c:pt idx="1119">
                  <c:v>41100</c:v>
                </c:pt>
                <c:pt idx="1120">
                  <c:v>41101</c:v>
                </c:pt>
                <c:pt idx="1121">
                  <c:v>41102</c:v>
                </c:pt>
                <c:pt idx="1122">
                  <c:v>41103</c:v>
                </c:pt>
                <c:pt idx="1123">
                  <c:v>41106</c:v>
                </c:pt>
                <c:pt idx="1124">
                  <c:v>41107</c:v>
                </c:pt>
                <c:pt idx="1125">
                  <c:v>41108</c:v>
                </c:pt>
                <c:pt idx="1126">
                  <c:v>41109</c:v>
                </c:pt>
                <c:pt idx="1127">
                  <c:v>41110</c:v>
                </c:pt>
                <c:pt idx="1128">
                  <c:v>41113</c:v>
                </c:pt>
                <c:pt idx="1129">
                  <c:v>41114</c:v>
                </c:pt>
                <c:pt idx="1130">
                  <c:v>41115</c:v>
                </c:pt>
                <c:pt idx="1131">
                  <c:v>41116</c:v>
                </c:pt>
                <c:pt idx="1132">
                  <c:v>41117</c:v>
                </c:pt>
                <c:pt idx="1133">
                  <c:v>41120</c:v>
                </c:pt>
                <c:pt idx="1134">
                  <c:v>41121</c:v>
                </c:pt>
                <c:pt idx="1135">
                  <c:v>41122</c:v>
                </c:pt>
                <c:pt idx="1136">
                  <c:v>41123</c:v>
                </c:pt>
                <c:pt idx="1137">
                  <c:v>41124</c:v>
                </c:pt>
                <c:pt idx="1138">
                  <c:v>41127</c:v>
                </c:pt>
                <c:pt idx="1139">
                  <c:v>41128</c:v>
                </c:pt>
                <c:pt idx="1140">
                  <c:v>41129</c:v>
                </c:pt>
                <c:pt idx="1141">
                  <c:v>41130</c:v>
                </c:pt>
                <c:pt idx="1142">
                  <c:v>41131</c:v>
                </c:pt>
                <c:pt idx="1143">
                  <c:v>41134</c:v>
                </c:pt>
                <c:pt idx="1144">
                  <c:v>41135</c:v>
                </c:pt>
                <c:pt idx="1145">
                  <c:v>41136</c:v>
                </c:pt>
                <c:pt idx="1146">
                  <c:v>41137</c:v>
                </c:pt>
                <c:pt idx="1147">
                  <c:v>41138</c:v>
                </c:pt>
                <c:pt idx="1148">
                  <c:v>41141</c:v>
                </c:pt>
                <c:pt idx="1149">
                  <c:v>41142</c:v>
                </c:pt>
                <c:pt idx="1150">
                  <c:v>41143</c:v>
                </c:pt>
                <c:pt idx="1151">
                  <c:v>41144</c:v>
                </c:pt>
                <c:pt idx="1152">
                  <c:v>41145</c:v>
                </c:pt>
                <c:pt idx="1153">
                  <c:v>41148</c:v>
                </c:pt>
                <c:pt idx="1154">
                  <c:v>41149</c:v>
                </c:pt>
                <c:pt idx="1155">
                  <c:v>41150</c:v>
                </c:pt>
                <c:pt idx="1156">
                  <c:v>41151</c:v>
                </c:pt>
                <c:pt idx="1157">
                  <c:v>41152</c:v>
                </c:pt>
                <c:pt idx="1158">
                  <c:v>41155</c:v>
                </c:pt>
                <c:pt idx="1159">
                  <c:v>41156</c:v>
                </c:pt>
                <c:pt idx="1160">
                  <c:v>41157</c:v>
                </c:pt>
                <c:pt idx="1161">
                  <c:v>41158</c:v>
                </c:pt>
                <c:pt idx="1162">
                  <c:v>41159</c:v>
                </c:pt>
                <c:pt idx="1163">
                  <c:v>41162</c:v>
                </c:pt>
                <c:pt idx="1164">
                  <c:v>41163</c:v>
                </c:pt>
                <c:pt idx="1165">
                  <c:v>41164</c:v>
                </c:pt>
                <c:pt idx="1166">
                  <c:v>41165</c:v>
                </c:pt>
                <c:pt idx="1167">
                  <c:v>41166</c:v>
                </c:pt>
                <c:pt idx="1168">
                  <c:v>41169</c:v>
                </c:pt>
                <c:pt idx="1169">
                  <c:v>41170</c:v>
                </c:pt>
                <c:pt idx="1170">
                  <c:v>41171</c:v>
                </c:pt>
                <c:pt idx="1171">
                  <c:v>41172</c:v>
                </c:pt>
                <c:pt idx="1172">
                  <c:v>41173</c:v>
                </c:pt>
                <c:pt idx="1173">
                  <c:v>41176</c:v>
                </c:pt>
                <c:pt idx="1174">
                  <c:v>41177</c:v>
                </c:pt>
                <c:pt idx="1175">
                  <c:v>41178</c:v>
                </c:pt>
                <c:pt idx="1176">
                  <c:v>41179</c:v>
                </c:pt>
                <c:pt idx="1177">
                  <c:v>41180</c:v>
                </c:pt>
                <c:pt idx="1178">
                  <c:v>41190</c:v>
                </c:pt>
                <c:pt idx="1179">
                  <c:v>41191</c:v>
                </c:pt>
                <c:pt idx="1180">
                  <c:v>41192</c:v>
                </c:pt>
                <c:pt idx="1181">
                  <c:v>41193</c:v>
                </c:pt>
                <c:pt idx="1182">
                  <c:v>41194</c:v>
                </c:pt>
                <c:pt idx="1183">
                  <c:v>41197</c:v>
                </c:pt>
                <c:pt idx="1184">
                  <c:v>41198</c:v>
                </c:pt>
                <c:pt idx="1185">
                  <c:v>41199</c:v>
                </c:pt>
                <c:pt idx="1186">
                  <c:v>41200</c:v>
                </c:pt>
                <c:pt idx="1187">
                  <c:v>41201</c:v>
                </c:pt>
                <c:pt idx="1188">
                  <c:v>41204</c:v>
                </c:pt>
                <c:pt idx="1189">
                  <c:v>41205</c:v>
                </c:pt>
                <c:pt idx="1190">
                  <c:v>41206</c:v>
                </c:pt>
                <c:pt idx="1191">
                  <c:v>41207</c:v>
                </c:pt>
                <c:pt idx="1192">
                  <c:v>41208</c:v>
                </c:pt>
                <c:pt idx="1193">
                  <c:v>41211</c:v>
                </c:pt>
                <c:pt idx="1194">
                  <c:v>41212</c:v>
                </c:pt>
                <c:pt idx="1195">
                  <c:v>41213</c:v>
                </c:pt>
                <c:pt idx="1196">
                  <c:v>41214</c:v>
                </c:pt>
                <c:pt idx="1197">
                  <c:v>41215</c:v>
                </c:pt>
                <c:pt idx="1198">
                  <c:v>41218</c:v>
                </c:pt>
                <c:pt idx="1199">
                  <c:v>41219</c:v>
                </c:pt>
                <c:pt idx="1200">
                  <c:v>41220</c:v>
                </c:pt>
                <c:pt idx="1201">
                  <c:v>41221</c:v>
                </c:pt>
                <c:pt idx="1202">
                  <c:v>41222</c:v>
                </c:pt>
                <c:pt idx="1203">
                  <c:v>41225</c:v>
                </c:pt>
                <c:pt idx="1204">
                  <c:v>41226</c:v>
                </c:pt>
                <c:pt idx="1205">
                  <c:v>41227</c:v>
                </c:pt>
                <c:pt idx="1206">
                  <c:v>41228</c:v>
                </c:pt>
                <c:pt idx="1207">
                  <c:v>41229</c:v>
                </c:pt>
                <c:pt idx="1208">
                  <c:v>41232</c:v>
                </c:pt>
                <c:pt idx="1209">
                  <c:v>41233</c:v>
                </c:pt>
                <c:pt idx="1210">
                  <c:v>41234</c:v>
                </c:pt>
                <c:pt idx="1211">
                  <c:v>41235</c:v>
                </c:pt>
                <c:pt idx="1212">
                  <c:v>41236</c:v>
                </c:pt>
                <c:pt idx="1213">
                  <c:v>41239</c:v>
                </c:pt>
                <c:pt idx="1214">
                  <c:v>41240</c:v>
                </c:pt>
                <c:pt idx="1215">
                  <c:v>41241</c:v>
                </c:pt>
                <c:pt idx="1216">
                  <c:v>41242</c:v>
                </c:pt>
                <c:pt idx="1217">
                  <c:v>41243</c:v>
                </c:pt>
                <c:pt idx="1218">
                  <c:v>41246</c:v>
                </c:pt>
                <c:pt idx="1219">
                  <c:v>41247</c:v>
                </c:pt>
                <c:pt idx="1220">
                  <c:v>41248</c:v>
                </c:pt>
                <c:pt idx="1221">
                  <c:v>41249</c:v>
                </c:pt>
                <c:pt idx="1222">
                  <c:v>41250</c:v>
                </c:pt>
                <c:pt idx="1223">
                  <c:v>41253</c:v>
                </c:pt>
                <c:pt idx="1224">
                  <c:v>41254</c:v>
                </c:pt>
                <c:pt idx="1225">
                  <c:v>41255</c:v>
                </c:pt>
                <c:pt idx="1226">
                  <c:v>41256</c:v>
                </c:pt>
                <c:pt idx="1227">
                  <c:v>41257</c:v>
                </c:pt>
                <c:pt idx="1228">
                  <c:v>41260</c:v>
                </c:pt>
                <c:pt idx="1229">
                  <c:v>41261</c:v>
                </c:pt>
                <c:pt idx="1230">
                  <c:v>41262</c:v>
                </c:pt>
                <c:pt idx="1231">
                  <c:v>41263</c:v>
                </c:pt>
                <c:pt idx="1232">
                  <c:v>41264</c:v>
                </c:pt>
                <c:pt idx="1233">
                  <c:v>41267</c:v>
                </c:pt>
                <c:pt idx="1234">
                  <c:v>41268</c:v>
                </c:pt>
                <c:pt idx="1235">
                  <c:v>41269</c:v>
                </c:pt>
                <c:pt idx="1236">
                  <c:v>41270</c:v>
                </c:pt>
                <c:pt idx="1237">
                  <c:v>41271</c:v>
                </c:pt>
                <c:pt idx="1238">
                  <c:v>41274</c:v>
                </c:pt>
                <c:pt idx="1239">
                  <c:v>41278</c:v>
                </c:pt>
                <c:pt idx="1240">
                  <c:v>41281</c:v>
                </c:pt>
                <c:pt idx="1241">
                  <c:v>41282</c:v>
                </c:pt>
                <c:pt idx="1242">
                  <c:v>41283</c:v>
                </c:pt>
                <c:pt idx="1243">
                  <c:v>41284</c:v>
                </c:pt>
                <c:pt idx="1244">
                  <c:v>41285</c:v>
                </c:pt>
                <c:pt idx="1245">
                  <c:v>41288</c:v>
                </c:pt>
                <c:pt idx="1246">
                  <c:v>41289</c:v>
                </c:pt>
                <c:pt idx="1247">
                  <c:v>41290</c:v>
                </c:pt>
                <c:pt idx="1248">
                  <c:v>41291</c:v>
                </c:pt>
                <c:pt idx="1249">
                  <c:v>41292</c:v>
                </c:pt>
                <c:pt idx="1250">
                  <c:v>41295</c:v>
                </c:pt>
                <c:pt idx="1251">
                  <c:v>41296</c:v>
                </c:pt>
                <c:pt idx="1252">
                  <c:v>41297</c:v>
                </c:pt>
                <c:pt idx="1253">
                  <c:v>41298</c:v>
                </c:pt>
                <c:pt idx="1254">
                  <c:v>41299</c:v>
                </c:pt>
                <c:pt idx="1255">
                  <c:v>41302</c:v>
                </c:pt>
                <c:pt idx="1256">
                  <c:v>41303</c:v>
                </c:pt>
                <c:pt idx="1257">
                  <c:v>41304</c:v>
                </c:pt>
                <c:pt idx="1258">
                  <c:v>41305</c:v>
                </c:pt>
                <c:pt idx="1259">
                  <c:v>41306</c:v>
                </c:pt>
                <c:pt idx="1260">
                  <c:v>41309</c:v>
                </c:pt>
                <c:pt idx="1261">
                  <c:v>41310</c:v>
                </c:pt>
                <c:pt idx="1262">
                  <c:v>41311</c:v>
                </c:pt>
                <c:pt idx="1263">
                  <c:v>41312</c:v>
                </c:pt>
                <c:pt idx="1264">
                  <c:v>41313</c:v>
                </c:pt>
                <c:pt idx="1265">
                  <c:v>41323</c:v>
                </c:pt>
                <c:pt idx="1266">
                  <c:v>41324</c:v>
                </c:pt>
                <c:pt idx="1267">
                  <c:v>41325</c:v>
                </c:pt>
                <c:pt idx="1268">
                  <c:v>41326</c:v>
                </c:pt>
                <c:pt idx="1269">
                  <c:v>41327</c:v>
                </c:pt>
                <c:pt idx="1270">
                  <c:v>41330</c:v>
                </c:pt>
                <c:pt idx="1271">
                  <c:v>41331</c:v>
                </c:pt>
                <c:pt idx="1272">
                  <c:v>41332</c:v>
                </c:pt>
                <c:pt idx="1273">
                  <c:v>41333</c:v>
                </c:pt>
                <c:pt idx="1274">
                  <c:v>41334</c:v>
                </c:pt>
                <c:pt idx="1275">
                  <c:v>41337</c:v>
                </c:pt>
                <c:pt idx="1276">
                  <c:v>41338</c:v>
                </c:pt>
                <c:pt idx="1277">
                  <c:v>41339</c:v>
                </c:pt>
                <c:pt idx="1278">
                  <c:v>41340</c:v>
                </c:pt>
                <c:pt idx="1279">
                  <c:v>41341</c:v>
                </c:pt>
                <c:pt idx="1280">
                  <c:v>41344</c:v>
                </c:pt>
                <c:pt idx="1281">
                  <c:v>41345</c:v>
                </c:pt>
                <c:pt idx="1282">
                  <c:v>41346</c:v>
                </c:pt>
                <c:pt idx="1283">
                  <c:v>41347</c:v>
                </c:pt>
                <c:pt idx="1284">
                  <c:v>41348</c:v>
                </c:pt>
                <c:pt idx="1285">
                  <c:v>41351</c:v>
                </c:pt>
                <c:pt idx="1286">
                  <c:v>41352</c:v>
                </c:pt>
                <c:pt idx="1287">
                  <c:v>41353</c:v>
                </c:pt>
                <c:pt idx="1288">
                  <c:v>41354</c:v>
                </c:pt>
                <c:pt idx="1289">
                  <c:v>41355</c:v>
                </c:pt>
                <c:pt idx="1290">
                  <c:v>41358</c:v>
                </c:pt>
                <c:pt idx="1291">
                  <c:v>41359</c:v>
                </c:pt>
                <c:pt idx="1292">
                  <c:v>41360</c:v>
                </c:pt>
                <c:pt idx="1293">
                  <c:v>41361</c:v>
                </c:pt>
                <c:pt idx="1294">
                  <c:v>41362</c:v>
                </c:pt>
                <c:pt idx="1295">
                  <c:v>41365</c:v>
                </c:pt>
                <c:pt idx="1296">
                  <c:v>41366</c:v>
                </c:pt>
                <c:pt idx="1297">
                  <c:v>41367</c:v>
                </c:pt>
                <c:pt idx="1298">
                  <c:v>41372</c:v>
                </c:pt>
                <c:pt idx="1299">
                  <c:v>41373</c:v>
                </c:pt>
                <c:pt idx="1300">
                  <c:v>41374</c:v>
                </c:pt>
                <c:pt idx="1301">
                  <c:v>41375</c:v>
                </c:pt>
                <c:pt idx="1302">
                  <c:v>41376</c:v>
                </c:pt>
                <c:pt idx="1303">
                  <c:v>41379</c:v>
                </c:pt>
                <c:pt idx="1304">
                  <c:v>41380</c:v>
                </c:pt>
                <c:pt idx="1305">
                  <c:v>41381</c:v>
                </c:pt>
                <c:pt idx="1306">
                  <c:v>41382</c:v>
                </c:pt>
                <c:pt idx="1307">
                  <c:v>41383</c:v>
                </c:pt>
                <c:pt idx="1308">
                  <c:v>41386</c:v>
                </c:pt>
                <c:pt idx="1309">
                  <c:v>41387</c:v>
                </c:pt>
                <c:pt idx="1310">
                  <c:v>41388</c:v>
                </c:pt>
                <c:pt idx="1311">
                  <c:v>41389</c:v>
                </c:pt>
                <c:pt idx="1312">
                  <c:v>41390</c:v>
                </c:pt>
                <c:pt idx="1313">
                  <c:v>41396</c:v>
                </c:pt>
                <c:pt idx="1314">
                  <c:v>41397</c:v>
                </c:pt>
                <c:pt idx="1315">
                  <c:v>41400</c:v>
                </c:pt>
                <c:pt idx="1316">
                  <c:v>41401</c:v>
                </c:pt>
                <c:pt idx="1317">
                  <c:v>41402</c:v>
                </c:pt>
                <c:pt idx="1318">
                  <c:v>41403</c:v>
                </c:pt>
                <c:pt idx="1319">
                  <c:v>41404</c:v>
                </c:pt>
                <c:pt idx="1320">
                  <c:v>41407</c:v>
                </c:pt>
                <c:pt idx="1321">
                  <c:v>41408</c:v>
                </c:pt>
                <c:pt idx="1322">
                  <c:v>41409</c:v>
                </c:pt>
                <c:pt idx="1323">
                  <c:v>41410</c:v>
                </c:pt>
                <c:pt idx="1324">
                  <c:v>41411</c:v>
                </c:pt>
                <c:pt idx="1325">
                  <c:v>41414</c:v>
                </c:pt>
                <c:pt idx="1326">
                  <c:v>41415</c:v>
                </c:pt>
                <c:pt idx="1327">
                  <c:v>41416</c:v>
                </c:pt>
                <c:pt idx="1328">
                  <c:v>41417</c:v>
                </c:pt>
                <c:pt idx="1329">
                  <c:v>41418</c:v>
                </c:pt>
                <c:pt idx="1330">
                  <c:v>41421</c:v>
                </c:pt>
                <c:pt idx="1331">
                  <c:v>41422</c:v>
                </c:pt>
                <c:pt idx="1332">
                  <c:v>41423</c:v>
                </c:pt>
                <c:pt idx="1333">
                  <c:v>41424</c:v>
                </c:pt>
                <c:pt idx="1334">
                  <c:v>41425</c:v>
                </c:pt>
                <c:pt idx="1335">
                  <c:v>41428</c:v>
                </c:pt>
                <c:pt idx="1336">
                  <c:v>41429</c:v>
                </c:pt>
                <c:pt idx="1337">
                  <c:v>41430</c:v>
                </c:pt>
                <c:pt idx="1338">
                  <c:v>41431</c:v>
                </c:pt>
                <c:pt idx="1339">
                  <c:v>41432</c:v>
                </c:pt>
                <c:pt idx="1340">
                  <c:v>41438</c:v>
                </c:pt>
                <c:pt idx="1341">
                  <c:v>41439</c:v>
                </c:pt>
                <c:pt idx="1342">
                  <c:v>41442</c:v>
                </c:pt>
                <c:pt idx="1343">
                  <c:v>41443</c:v>
                </c:pt>
                <c:pt idx="1344">
                  <c:v>41444</c:v>
                </c:pt>
                <c:pt idx="1345">
                  <c:v>41445</c:v>
                </c:pt>
                <c:pt idx="1346">
                  <c:v>41446</c:v>
                </c:pt>
                <c:pt idx="1347">
                  <c:v>41449</c:v>
                </c:pt>
                <c:pt idx="1348">
                  <c:v>41450</c:v>
                </c:pt>
                <c:pt idx="1349">
                  <c:v>41451</c:v>
                </c:pt>
                <c:pt idx="1350">
                  <c:v>41452</c:v>
                </c:pt>
                <c:pt idx="1351">
                  <c:v>41453</c:v>
                </c:pt>
                <c:pt idx="1352">
                  <c:v>41456</c:v>
                </c:pt>
                <c:pt idx="1353">
                  <c:v>41457</c:v>
                </c:pt>
                <c:pt idx="1354">
                  <c:v>41458</c:v>
                </c:pt>
                <c:pt idx="1355">
                  <c:v>41459</c:v>
                </c:pt>
                <c:pt idx="1356">
                  <c:v>41460</c:v>
                </c:pt>
                <c:pt idx="1357">
                  <c:v>41463</c:v>
                </c:pt>
                <c:pt idx="1358">
                  <c:v>41464</c:v>
                </c:pt>
                <c:pt idx="1359">
                  <c:v>41465</c:v>
                </c:pt>
                <c:pt idx="1360">
                  <c:v>41466</c:v>
                </c:pt>
                <c:pt idx="1361">
                  <c:v>41467</c:v>
                </c:pt>
                <c:pt idx="1362">
                  <c:v>41470</c:v>
                </c:pt>
                <c:pt idx="1363">
                  <c:v>41471</c:v>
                </c:pt>
                <c:pt idx="1364">
                  <c:v>41472</c:v>
                </c:pt>
                <c:pt idx="1365">
                  <c:v>41473</c:v>
                </c:pt>
                <c:pt idx="1366">
                  <c:v>41474</c:v>
                </c:pt>
                <c:pt idx="1367">
                  <c:v>41477</c:v>
                </c:pt>
                <c:pt idx="1368">
                  <c:v>41478</c:v>
                </c:pt>
                <c:pt idx="1369">
                  <c:v>41479</c:v>
                </c:pt>
                <c:pt idx="1370">
                  <c:v>41480</c:v>
                </c:pt>
                <c:pt idx="1371">
                  <c:v>41481</c:v>
                </c:pt>
                <c:pt idx="1372">
                  <c:v>41484</c:v>
                </c:pt>
                <c:pt idx="1373">
                  <c:v>41485</c:v>
                </c:pt>
                <c:pt idx="1374">
                  <c:v>41486</c:v>
                </c:pt>
                <c:pt idx="1375">
                  <c:v>41487</c:v>
                </c:pt>
                <c:pt idx="1376">
                  <c:v>41488</c:v>
                </c:pt>
                <c:pt idx="1377">
                  <c:v>41491</c:v>
                </c:pt>
                <c:pt idx="1378">
                  <c:v>41492</c:v>
                </c:pt>
                <c:pt idx="1379">
                  <c:v>41493</c:v>
                </c:pt>
                <c:pt idx="1380">
                  <c:v>41494</c:v>
                </c:pt>
                <c:pt idx="1381">
                  <c:v>41495</c:v>
                </c:pt>
                <c:pt idx="1382">
                  <c:v>41498</c:v>
                </c:pt>
                <c:pt idx="1383">
                  <c:v>41499</c:v>
                </c:pt>
                <c:pt idx="1384">
                  <c:v>41500</c:v>
                </c:pt>
                <c:pt idx="1385">
                  <c:v>41501</c:v>
                </c:pt>
                <c:pt idx="1386">
                  <c:v>41502</c:v>
                </c:pt>
                <c:pt idx="1387">
                  <c:v>41505</c:v>
                </c:pt>
                <c:pt idx="1388">
                  <c:v>41506</c:v>
                </c:pt>
                <c:pt idx="1389">
                  <c:v>41507</c:v>
                </c:pt>
                <c:pt idx="1390">
                  <c:v>41508</c:v>
                </c:pt>
                <c:pt idx="1391">
                  <c:v>41509</c:v>
                </c:pt>
                <c:pt idx="1392">
                  <c:v>41512</c:v>
                </c:pt>
                <c:pt idx="1393">
                  <c:v>41513</c:v>
                </c:pt>
                <c:pt idx="1394">
                  <c:v>41514</c:v>
                </c:pt>
                <c:pt idx="1395">
                  <c:v>41515</c:v>
                </c:pt>
                <c:pt idx="1396">
                  <c:v>41516</c:v>
                </c:pt>
                <c:pt idx="1397">
                  <c:v>41519</c:v>
                </c:pt>
                <c:pt idx="1398">
                  <c:v>41520</c:v>
                </c:pt>
                <c:pt idx="1399">
                  <c:v>41521</c:v>
                </c:pt>
                <c:pt idx="1400">
                  <c:v>41522</c:v>
                </c:pt>
                <c:pt idx="1401">
                  <c:v>41523</c:v>
                </c:pt>
                <c:pt idx="1402">
                  <c:v>41526</c:v>
                </c:pt>
                <c:pt idx="1403">
                  <c:v>41527</c:v>
                </c:pt>
                <c:pt idx="1404">
                  <c:v>41528</c:v>
                </c:pt>
                <c:pt idx="1405">
                  <c:v>41529</c:v>
                </c:pt>
                <c:pt idx="1406">
                  <c:v>41530</c:v>
                </c:pt>
                <c:pt idx="1407">
                  <c:v>41533</c:v>
                </c:pt>
                <c:pt idx="1408">
                  <c:v>41534</c:v>
                </c:pt>
                <c:pt idx="1409">
                  <c:v>41535</c:v>
                </c:pt>
                <c:pt idx="1410">
                  <c:v>41540</c:v>
                </c:pt>
                <c:pt idx="1411">
                  <c:v>41541</c:v>
                </c:pt>
                <c:pt idx="1412">
                  <c:v>41542</c:v>
                </c:pt>
                <c:pt idx="1413">
                  <c:v>41543</c:v>
                </c:pt>
                <c:pt idx="1414">
                  <c:v>41544</c:v>
                </c:pt>
                <c:pt idx="1415">
                  <c:v>41547</c:v>
                </c:pt>
                <c:pt idx="1416">
                  <c:v>41555</c:v>
                </c:pt>
                <c:pt idx="1417">
                  <c:v>41556</c:v>
                </c:pt>
                <c:pt idx="1418">
                  <c:v>41557</c:v>
                </c:pt>
                <c:pt idx="1419">
                  <c:v>41558</c:v>
                </c:pt>
                <c:pt idx="1420">
                  <c:v>41561</c:v>
                </c:pt>
                <c:pt idx="1421">
                  <c:v>41562</c:v>
                </c:pt>
                <c:pt idx="1422">
                  <c:v>41563</c:v>
                </c:pt>
                <c:pt idx="1423">
                  <c:v>41564</c:v>
                </c:pt>
                <c:pt idx="1424">
                  <c:v>41565</c:v>
                </c:pt>
                <c:pt idx="1425">
                  <c:v>41568</c:v>
                </c:pt>
                <c:pt idx="1426">
                  <c:v>41569</c:v>
                </c:pt>
                <c:pt idx="1427">
                  <c:v>41570</c:v>
                </c:pt>
                <c:pt idx="1428">
                  <c:v>41571</c:v>
                </c:pt>
                <c:pt idx="1429">
                  <c:v>41572</c:v>
                </c:pt>
                <c:pt idx="1430">
                  <c:v>41575</c:v>
                </c:pt>
                <c:pt idx="1431">
                  <c:v>41576</c:v>
                </c:pt>
                <c:pt idx="1432">
                  <c:v>41577</c:v>
                </c:pt>
                <c:pt idx="1433">
                  <c:v>41578</c:v>
                </c:pt>
                <c:pt idx="1434">
                  <c:v>41579</c:v>
                </c:pt>
                <c:pt idx="1435">
                  <c:v>41582</c:v>
                </c:pt>
                <c:pt idx="1436">
                  <c:v>41583</c:v>
                </c:pt>
                <c:pt idx="1437">
                  <c:v>41584</c:v>
                </c:pt>
                <c:pt idx="1438">
                  <c:v>41585</c:v>
                </c:pt>
                <c:pt idx="1439">
                  <c:v>41586</c:v>
                </c:pt>
                <c:pt idx="1440">
                  <c:v>41589</c:v>
                </c:pt>
                <c:pt idx="1441">
                  <c:v>41590</c:v>
                </c:pt>
                <c:pt idx="1442">
                  <c:v>41591</c:v>
                </c:pt>
                <c:pt idx="1443">
                  <c:v>41592</c:v>
                </c:pt>
                <c:pt idx="1444">
                  <c:v>41593</c:v>
                </c:pt>
                <c:pt idx="1445">
                  <c:v>41596</c:v>
                </c:pt>
                <c:pt idx="1446">
                  <c:v>41597</c:v>
                </c:pt>
                <c:pt idx="1447">
                  <c:v>41598</c:v>
                </c:pt>
                <c:pt idx="1448">
                  <c:v>41599</c:v>
                </c:pt>
                <c:pt idx="1449">
                  <c:v>41600</c:v>
                </c:pt>
                <c:pt idx="1450">
                  <c:v>41603</c:v>
                </c:pt>
                <c:pt idx="1451">
                  <c:v>41604</c:v>
                </c:pt>
                <c:pt idx="1452">
                  <c:v>41605</c:v>
                </c:pt>
                <c:pt idx="1453">
                  <c:v>41606</c:v>
                </c:pt>
                <c:pt idx="1454">
                  <c:v>41607</c:v>
                </c:pt>
                <c:pt idx="1455">
                  <c:v>41610</c:v>
                </c:pt>
                <c:pt idx="1456">
                  <c:v>41611</c:v>
                </c:pt>
                <c:pt idx="1457">
                  <c:v>41612</c:v>
                </c:pt>
                <c:pt idx="1458">
                  <c:v>41613</c:v>
                </c:pt>
                <c:pt idx="1459">
                  <c:v>41614</c:v>
                </c:pt>
                <c:pt idx="1460">
                  <c:v>41617</c:v>
                </c:pt>
                <c:pt idx="1461">
                  <c:v>41618</c:v>
                </c:pt>
                <c:pt idx="1462">
                  <c:v>41619</c:v>
                </c:pt>
                <c:pt idx="1463">
                  <c:v>41620</c:v>
                </c:pt>
                <c:pt idx="1464">
                  <c:v>41621</c:v>
                </c:pt>
                <c:pt idx="1465">
                  <c:v>41624</c:v>
                </c:pt>
                <c:pt idx="1466">
                  <c:v>41625</c:v>
                </c:pt>
                <c:pt idx="1467">
                  <c:v>41626</c:v>
                </c:pt>
                <c:pt idx="1468">
                  <c:v>41627</c:v>
                </c:pt>
                <c:pt idx="1469">
                  <c:v>41628</c:v>
                </c:pt>
                <c:pt idx="1470">
                  <c:v>41631</c:v>
                </c:pt>
                <c:pt idx="1471">
                  <c:v>41632</c:v>
                </c:pt>
                <c:pt idx="1472">
                  <c:v>41633</c:v>
                </c:pt>
                <c:pt idx="1473">
                  <c:v>41634</c:v>
                </c:pt>
                <c:pt idx="1474">
                  <c:v>41635</c:v>
                </c:pt>
                <c:pt idx="1475">
                  <c:v>41638</c:v>
                </c:pt>
                <c:pt idx="1476">
                  <c:v>41639</c:v>
                </c:pt>
                <c:pt idx="1477">
                  <c:v>41641</c:v>
                </c:pt>
                <c:pt idx="1478">
                  <c:v>41642</c:v>
                </c:pt>
                <c:pt idx="1479">
                  <c:v>41645</c:v>
                </c:pt>
                <c:pt idx="1480">
                  <c:v>41646</c:v>
                </c:pt>
                <c:pt idx="1481">
                  <c:v>41647</c:v>
                </c:pt>
                <c:pt idx="1482">
                  <c:v>41648</c:v>
                </c:pt>
                <c:pt idx="1483">
                  <c:v>41649</c:v>
                </c:pt>
                <c:pt idx="1484">
                  <c:v>41652</c:v>
                </c:pt>
                <c:pt idx="1485">
                  <c:v>41653</c:v>
                </c:pt>
                <c:pt idx="1486">
                  <c:v>41654</c:v>
                </c:pt>
                <c:pt idx="1487">
                  <c:v>41655</c:v>
                </c:pt>
                <c:pt idx="1488">
                  <c:v>41656</c:v>
                </c:pt>
                <c:pt idx="1489">
                  <c:v>41659</c:v>
                </c:pt>
                <c:pt idx="1490">
                  <c:v>41660</c:v>
                </c:pt>
                <c:pt idx="1491">
                  <c:v>41661</c:v>
                </c:pt>
                <c:pt idx="1492">
                  <c:v>41662</c:v>
                </c:pt>
                <c:pt idx="1493">
                  <c:v>41663</c:v>
                </c:pt>
                <c:pt idx="1494">
                  <c:v>41666</c:v>
                </c:pt>
                <c:pt idx="1495">
                  <c:v>41667</c:v>
                </c:pt>
                <c:pt idx="1496">
                  <c:v>41668</c:v>
                </c:pt>
                <c:pt idx="1497">
                  <c:v>41669</c:v>
                </c:pt>
                <c:pt idx="1498">
                  <c:v>41677</c:v>
                </c:pt>
                <c:pt idx="1499">
                  <c:v>41680</c:v>
                </c:pt>
                <c:pt idx="1500">
                  <c:v>41681</c:v>
                </c:pt>
                <c:pt idx="1501">
                  <c:v>41682</c:v>
                </c:pt>
                <c:pt idx="1502">
                  <c:v>41683</c:v>
                </c:pt>
                <c:pt idx="1503">
                  <c:v>41684</c:v>
                </c:pt>
                <c:pt idx="1504">
                  <c:v>41687</c:v>
                </c:pt>
                <c:pt idx="1505">
                  <c:v>41688</c:v>
                </c:pt>
                <c:pt idx="1506">
                  <c:v>41689</c:v>
                </c:pt>
                <c:pt idx="1507">
                  <c:v>41690</c:v>
                </c:pt>
                <c:pt idx="1508">
                  <c:v>41691</c:v>
                </c:pt>
                <c:pt idx="1509">
                  <c:v>41694</c:v>
                </c:pt>
                <c:pt idx="1510">
                  <c:v>41695</c:v>
                </c:pt>
                <c:pt idx="1511">
                  <c:v>41696</c:v>
                </c:pt>
                <c:pt idx="1512">
                  <c:v>41697</c:v>
                </c:pt>
                <c:pt idx="1513">
                  <c:v>41698</c:v>
                </c:pt>
                <c:pt idx="1514">
                  <c:v>41701</c:v>
                </c:pt>
                <c:pt idx="1515">
                  <c:v>41702</c:v>
                </c:pt>
                <c:pt idx="1516">
                  <c:v>41703</c:v>
                </c:pt>
                <c:pt idx="1517">
                  <c:v>41704</c:v>
                </c:pt>
                <c:pt idx="1518">
                  <c:v>41705</c:v>
                </c:pt>
                <c:pt idx="1519">
                  <c:v>41708</c:v>
                </c:pt>
                <c:pt idx="1520">
                  <c:v>41709</c:v>
                </c:pt>
                <c:pt idx="1521">
                  <c:v>41710</c:v>
                </c:pt>
                <c:pt idx="1522">
                  <c:v>41711</c:v>
                </c:pt>
                <c:pt idx="1523">
                  <c:v>41712</c:v>
                </c:pt>
                <c:pt idx="1524">
                  <c:v>41715</c:v>
                </c:pt>
                <c:pt idx="1525">
                  <c:v>41716</c:v>
                </c:pt>
                <c:pt idx="1526">
                  <c:v>41717</c:v>
                </c:pt>
                <c:pt idx="1527">
                  <c:v>41718</c:v>
                </c:pt>
                <c:pt idx="1528">
                  <c:v>41719</c:v>
                </c:pt>
                <c:pt idx="1529">
                  <c:v>41722</c:v>
                </c:pt>
                <c:pt idx="1530">
                  <c:v>41723</c:v>
                </c:pt>
                <c:pt idx="1531">
                  <c:v>41724</c:v>
                </c:pt>
                <c:pt idx="1532">
                  <c:v>41725</c:v>
                </c:pt>
                <c:pt idx="1533">
                  <c:v>41726</c:v>
                </c:pt>
                <c:pt idx="1534">
                  <c:v>41729</c:v>
                </c:pt>
                <c:pt idx="1535">
                  <c:v>41730</c:v>
                </c:pt>
                <c:pt idx="1536">
                  <c:v>41731</c:v>
                </c:pt>
                <c:pt idx="1537">
                  <c:v>41732</c:v>
                </c:pt>
                <c:pt idx="1538">
                  <c:v>41733</c:v>
                </c:pt>
                <c:pt idx="1539">
                  <c:v>41737</c:v>
                </c:pt>
                <c:pt idx="1540">
                  <c:v>41738</c:v>
                </c:pt>
                <c:pt idx="1541">
                  <c:v>41739</c:v>
                </c:pt>
                <c:pt idx="1542">
                  <c:v>41740</c:v>
                </c:pt>
                <c:pt idx="1543">
                  <c:v>41743</c:v>
                </c:pt>
                <c:pt idx="1544">
                  <c:v>41744</c:v>
                </c:pt>
                <c:pt idx="1545">
                  <c:v>41745</c:v>
                </c:pt>
                <c:pt idx="1546">
                  <c:v>41746</c:v>
                </c:pt>
                <c:pt idx="1547">
                  <c:v>41747</c:v>
                </c:pt>
                <c:pt idx="1548">
                  <c:v>41750</c:v>
                </c:pt>
                <c:pt idx="1549">
                  <c:v>41751</c:v>
                </c:pt>
                <c:pt idx="1550">
                  <c:v>41752</c:v>
                </c:pt>
                <c:pt idx="1551">
                  <c:v>41753</c:v>
                </c:pt>
                <c:pt idx="1552">
                  <c:v>41754</c:v>
                </c:pt>
                <c:pt idx="1553">
                  <c:v>41757</c:v>
                </c:pt>
                <c:pt idx="1554">
                  <c:v>41758</c:v>
                </c:pt>
                <c:pt idx="1555">
                  <c:v>41759</c:v>
                </c:pt>
                <c:pt idx="1556">
                  <c:v>41764</c:v>
                </c:pt>
                <c:pt idx="1557">
                  <c:v>41765</c:v>
                </c:pt>
                <c:pt idx="1558">
                  <c:v>41766</c:v>
                </c:pt>
                <c:pt idx="1559">
                  <c:v>41767</c:v>
                </c:pt>
                <c:pt idx="1560">
                  <c:v>41768</c:v>
                </c:pt>
                <c:pt idx="1561">
                  <c:v>41771</c:v>
                </c:pt>
                <c:pt idx="1562">
                  <c:v>41772</c:v>
                </c:pt>
                <c:pt idx="1563">
                  <c:v>41773</c:v>
                </c:pt>
                <c:pt idx="1564">
                  <c:v>41774</c:v>
                </c:pt>
                <c:pt idx="1565">
                  <c:v>41775</c:v>
                </c:pt>
                <c:pt idx="1566">
                  <c:v>41778</c:v>
                </c:pt>
                <c:pt idx="1567">
                  <c:v>41779</c:v>
                </c:pt>
                <c:pt idx="1568">
                  <c:v>41780</c:v>
                </c:pt>
                <c:pt idx="1569">
                  <c:v>41781</c:v>
                </c:pt>
                <c:pt idx="1570">
                  <c:v>41782</c:v>
                </c:pt>
                <c:pt idx="1571">
                  <c:v>41785</c:v>
                </c:pt>
                <c:pt idx="1572">
                  <c:v>41786</c:v>
                </c:pt>
                <c:pt idx="1573">
                  <c:v>41787</c:v>
                </c:pt>
                <c:pt idx="1574">
                  <c:v>41788</c:v>
                </c:pt>
                <c:pt idx="1575">
                  <c:v>41789</c:v>
                </c:pt>
                <c:pt idx="1576">
                  <c:v>41793</c:v>
                </c:pt>
                <c:pt idx="1577">
                  <c:v>41794</c:v>
                </c:pt>
                <c:pt idx="1578">
                  <c:v>41795</c:v>
                </c:pt>
                <c:pt idx="1579">
                  <c:v>41796</c:v>
                </c:pt>
                <c:pt idx="1580">
                  <c:v>41799</c:v>
                </c:pt>
                <c:pt idx="1581">
                  <c:v>41800</c:v>
                </c:pt>
                <c:pt idx="1582">
                  <c:v>41801</c:v>
                </c:pt>
                <c:pt idx="1583">
                  <c:v>41802</c:v>
                </c:pt>
                <c:pt idx="1584">
                  <c:v>41803</c:v>
                </c:pt>
                <c:pt idx="1585">
                  <c:v>41806</c:v>
                </c:pt>
                <c:pt idx="1586">
                  <c:v>41807</c:v>
                </c:pt>
                <c:pt idx="1587">
                  <c:v>41808</c:v>
                </c:pt>
                <c:pt idx="1588">
                  <c:v>41809</c:v>
                </c:pt>
                <c:pt idx="1589">
                  <c:v>41810</c:v>
                </c:pt>
                <c:pt idx="1590">
                  <c:v>41813</c:v>
                </c:pt>
                <c:pt idx="1591">
                  <c:v>41814</c:v>
                </c:pt>
                <c:pt idx="1592">
                  <c:v>41815</c:v>
                </c:pt>
                <c:pt idx="1593">
                  <c:v>41816</c:v>
                </c:pt>
                <c:pt idx="1594">
                  <c:v>41817</c:v>
                </c:pt>
                <c:pt idx="1595">
                  <c:v>41820</c:v>
                </c:pt>
                <c:pt idx="1596">
                  <c:v>41821</c:v>
                </c:pt>
                <c:pt idx="1597">
                  <c:v>41822</c:v>
                </c:pt>
                <c:pt idx="1598">
                  <c:v>41823</c:v>
                </c:pt>
                <c:pt idx="1599">
                  <c:v>41824</c:v>
                </c:pt>
                <c:pt idx="1600">
                  <c:v>41827</c:v>
                </c:pt>
                <c:pt idx="1601">
                  <c:v>41828</c:v>
                </c:pt>
                <c:pt idx="1602">
                  <c:v>41829</c:v>
                </c:pt>
                <c:pt idx="1603">
                  <c:v>41830</c:v>
                </c:pt>
                <c:pt idx="1604">
                  <c:v>41831</c:v>
                </c:pt>
                <c:pt idx="1605">
                  <c:v>41834</c:v>
                </c:pt>
                <c:pt idx="1606">
                  <c:v>41835</c:v>
                </c:pt>
                <c:pt idx="1607">
                  <c:v>41836</c:v>
                </c:pt>
                <c:pt idx="1608">
                  <c:v>41837</c:v>
                </c:pt>
                <c:pt idx="1609">
                  <c:v>41838</c:v>
                </c:pt>
                <c:pt idx="1610">
                  <c:v>41841</c:v>
                </c:pt>
                <c:pt idx="1611">
                  <c:v>41842</c:v>
                </c:pt>
                <c:pt idx="1612">
                  <c:v>41843</c:v>
                </c:pt>
                <c:pt idx="1613">
                  <c:v>41844</c:v>
                </c:pt>
                <c:pt idx="1614">
                  <c:v>41845</c:v>
                </c:pt>
                <c:pt idx="1615">
                  <c:v>41848</c:v>
                </c:pt>
                <c:pt idx="1616">
                  <c:v>41849</c:v>
                </c:pt>
                <c:pt idx="1617">
                  <c:v>41850</c:v>
                </c:pt>
                <c:pt idx="1618">
                  <c:v>41851</c:v>
                </c:pt>
                <c:pt idx="1619">
                  <c:v>41852</c:v>
                </c:pt>
                <c:pt idx="1620">
                  <c:v>41855</c:v>
                </c:pt>
                <c:pt idx="1621">
                  <c:v>41856</c:v>
                </c:pt>
                <c:pt idx="1622">
                  <c:v>41857</c:v>
                </c:pt>
                <c:pt idx="1623">
                  <c:v>41858</c:v>
                </c:pt>
                <c:pt idx="1624">
                  <c:v>41859</c:v>
                </c:pt>
                <c:pt idx="1625">
                  <c:v>41862</c:v>
                </c:pt>
                <c:pt idx="1626">
                  <c:v>41863</c:v>
                </c:pt>
                <c:pt idx="1627">
                  <c:v>41864</c:v>
                </c:pt>
                <c:pt idx="1628">
                  <c:v>41865</c:v>
                </c:pt>
                <c:pt idx="1629">
                  <c:v>41866</c:v>
                </c:pt>
                <c:pt idx="1630">
                  <c:v>41869</c:v>
                </c:pt>
                <c:pt idx="1631">
                  <c:v>41870</c:v>
                </c:pt>
                <c:pt idx="1632">
                  <c:v>41871</c:v>
                </c:pt>
                <c:pt idx="1633">
                  <c:v>41872</c:v>
                </c:pt>
                <c:pt idx="1634">
                  <c:v>41873</c:v>
                </c:pt>
                <c:pt idx="1635">
                  <c:v>41876</c:v>
                </c:pt>
                <c:pt idx="1636">
                  <c:v>41877</c:v>
                </c:pt>
                <c:pt idx="1637">
                  <c:v>41878</c:v>
                </c:pt>
                <c:pt idx="1638">
                  <c:v>41879</c:v>
                </c:pt>
                <c:pt idx="1639">
                  <c:v>41880</c:v>
                </c:pt>
                <c:pt idx="1640">
                  <c:v>41883</c:v>
                </c:pt>
                <c:pt idx="1641">
                  <c:v>41884</c:v>
                </c:pt>
                <c:pt idx="1642">
                  <c:v>41885</c:v>
                </c:pt>
                <c:pt idx="1643">
                  <c:v>41886</c:v>
                </c:pt>
                <c:pt idx="1644">
                  <c:v>41887</c:v>
                </c:pt>
                <c:pt idx="1645">
                  <c:v>41891</c:v>
                </c:pt>
                <c:pt idx="1646">
                  <c:v>41892</c:v>
                </c:pt>
                <c:pt idx="1647">
                  <c:v>41893</c:v>
                </c:pt>
                <c:pt idx="1648">
                  <c:v>41894</c:v>
                </c:pt>
                <c:pt idx="1649">
                  <c:v>41897</c:v>
                </c:pt>
                <c:pt idx="1650">
                  <c:v>41898</c:v>
                </c:pt>
                <c:pt idx="1651">
                  <c:v>41899</c:v>
                </c:pt>
                <c:pt idx="1652">
                  <c:v>41900</c:v>
                </c:pt>
                <c:pt idx="1653">
                  <c:v>41901</c:v>
                </c:pt>
                <c:pt idx="1654">
                  <c:v>41904</c:v>
                </c:pt>
                <c:pt idx="1655">
                  <c:v>41905</c:v>
                </c:pt>
                <c:pt idx="1656">
                  <c:v>41906</c:v>
                </c:pt>
                <c:pt idx="1657">
                  <c:v>41907</c:v>
                </c:pt>
                <c:pt idx="1658">
                  <c:v>41908</c:v>
                </c:pt>
                <c:pt idx="1659">
                  <c:v>41911</c:v>
                </c:pt>
                <c:pt idx="1660">
                  <c:v>41912</c:v>
                </c:pt>
                <c:pt idx="1661">
                  <c:v>41920</c:v>
                </c:pt>
                <c:pt idx="1662">
                  <c:v>41921</c:v>
                </c:pt>
                <c:pt idx="1663">
                  <c:v>41922</c:v>
                </c:pt>
                <c:pt idx="1664">
                  <c:v>41925</c:v>
                </c:pt>
                <c:pt idx="1665">
                  <c:v>41926</c:v>
                </c:pt>
                <c:pt idx="1666">
                  <c:v>41927</c:v>
                </c:pt>
                <c:pt idx="1667">
                  <c:v>41928</c:v>
                </c:pt>
                <c:pt idx="1668">
                  <c:v>41929</c:v>
                </c:pt>
                <c:pt idx="1669">
                  <c:v>41932</c:v>
                </c:pt>
                <c:pt idx="1670">
                  <c:v>41933</c:v>
                </c:pt>
                <c:pt idx="1671">
                  <c:v>41934</c:v>
                </c:pt>
                <c:pt idx="1672">
                  <c:v>41935</c:v>
                </c:pt>
                <c:pt idx="1673">
                  <c:v>41936</c:v>
                </c:pt>
                <c:pt idx="1674">
                  <c:v>41939</c:v>
                </c:pt>
                <c:pt idx="1675">
                  <c:v>41940</c:v>
                </c:pt>
                <c:pt idx="1676">
                  <c:v>41941</c:v>
                </c:pt>
                <c:pt idx="1677">
                  <c:v>41942</c:v>
                </c:pt>
                <c:pt idx="1678">
                  <c:v>41943</c:v>
                </c:pt>
                <c:pt idx="1679">
                  <c:v>41946</c:v>
                </c:pt>
                <c:pt idx="1680">
                  <c:v>41947</c:v>
                </c:pt>
                <c:pt idx="1681">
                  <c:v>41948</c:v>
                </c:pt>
                <c:pt idx="1682">
                  <c:v>41949</c:v>
                </c:pt>
                <c:pt idx="1683">
                  <c:v>41950</c:v>
                </c:pt>
                <c:pt idx="1684">
                  <c:v>41953</c:v>
                </c:pt>
                <c:pt idx="1685">
                  <c:v>41954</c:v>
                </c:pt>
                <c:pt idx="1686">
                  <c:v>41955</c:v>
                </c:pt>
                <c:pt idx="1687">
                  <c:v>41956</c:v>
                </c:pt>
                <c:pt idx="1688">
                  <c:v>41957</c:v>
                </c:pt>
                <c:pt idx="1689">
                  <c:v>41960</c:v>
                </c:pt>
                <c:pt idx="1690">
                  <c:v>41961</c:v>
                </c:pt>
                <c:pt idx="1691">
                  <c:v>41962</c:v>
                </c:pt>
                <c:pt idx="1692">
                  <c:v>41963</c:v>
                </c:pt>
                <c:pt idx="1693">
                  <c:v>41964</c:v>
                </c:pt>
                <c:pt idx="1694">
                  <c:v>41967</c:v>
                </c:pt>
                <c:pt idx="1695">
                  <c:v>41968</c:v>
                </c:pt>
                <c:pt idx="1696">
                  <c:v>41969</c:v>
                </c:pt>
                <c:pt idx="1697">
                  <c:v>41970</c:v>
                </c:pt>
                <c:pt idx="1698">
                  <c:v>41971</c:v>
                </c:pt>
                <c:pt idx="1699">
                  <c:v>41974</c:v>
                </c:pt>
                <c:pt idx="1700">
                  <c:v>41975</c:v>
                </c:pt>
                <c:pt idx="1701">
                  <c:v>41976</c:v>
                </c:pt>
                <c:pt idx="1702">
                  <c:v>41977</c:v>
                </c:pt>
                <c:pt idx="1703">
                  <c:v>41978</c:v>
                </c:pt>
                <c:pt idx="1704">
                  <c:v>41981</c:v>
                </c:pt>
                <c:pt idx="1705">
                  <c:v>41982</c:v>
                </c:pt>
                <c:pt idx="1706">
                  <c:v>41983</c:v>
                </c:pt>
                <c:pt idx="1707">
                  <c:v>41984</c:v>
                </c:pt>
                <c:pt idx="1708">
                  <c:v>41985</c:v>
                </c:pt>
                <c:pt idx="1709">
                  <c:v>41988</c:v>
                </c:pt>
                <c:pt idx="1710">
                  <c:v>41989</c:v>
                </c:pt>
                <c:pt idx="1711">
                  <c:v>41990</c:v>
                </c:pt>
                <c:pt idx="1712">
                  <c:v>41991</c:v>
                </c:pt>
                <c:pt idx="1713">
                  <c:v>41992</c:v>
                </c:pt>
                <c:pt idx="1714">
                  <c:v>41995</c:v>
                </c:pt>
                <c:pt idx="1715">
                  <c:v>41996</c:v>
                </c:pt>
                <c:pt idx="1716">
                  <c:v>41997</c:v>
                </c:pt>
                <c:pt idx="1717">
                  <c:v>41998</c:v>
                </c:pt>
                <c:pt idx="1718">
                  <c:v>41999</c:v>
                </c:pt>
                <c:pt idx="1719">
                  <c:v>42002</c:v>
                </c:pt>
                <c:pt idx="1720">
                  <c:v>42003</c:v>
                </c:pt>
                <c:pt idx="1721">
                  <c:v>42004</c:v>
                </c:pt>
                <c:pt idx="1722">
                  <c:v>42009</c:v>
                </c:pt>
                <c:pt idx="1723">
                  <c:v>42010</c:v>
                </c:pt>
                <c:pt idx="1724">
                  <c:v>42011</c:v>
                </c:pt>
                <c:pt idx="1725">
                  <c:v>42012</c:v>
                </c:pt>
                <c:pt idx="1726">
                  <c:v>42013</c:v>
                </c:pt>
                <c:pt idx="1727">
                  <c:v>42016</c:v>
                </c:pt>
                <c:pt idx="1728">
                  <c:v>42017</c:v>
                </c:pt>
                <c:pt idx="1729">
                  <c:v>42018</c:v>
                </c:pt>
                <c:pt idx="1730">
                  <c:v>42019</c:v>
                </c:pt>
                <c:pt idx="1731">
                  <c:v>42020</c:v>
                </c:pt>
                <c:pt idx="1732">
                  <c:v>42023</c:v>
                </c:pt>
                <c:pt idx="1733">
                  <c:v>42024</c:v>
                </c:pt>
                <c:pt idx="1734">
                  <c:v>42025</c:v>
                </c:pt>
                <c:pt idx="1735">
                  <c:v>42026</c:v>
                </c:pt>
                <c:pt idx="1736">
                  <c:v>42027</c:v>
                </c:pt>
                <c:pt idx="1737">
                  <c:v>42030</c:v>
                </c:pt>
                <c:pt idx="1738">
                  <c:v>42031</c:v>
                </c:pt>
                <c:pt idx="1739">
                  <c:v>42032</c:v>
                </c:pt>
                <c:pt idx="1740">
                  <c:v>42033</c:v>
                </c:pt>
                <c:pt idx="1741">
                  <c:v>42034</c:v>
                </c:pt>
                <c:pt idx="1742">
                  <c:v>42037</c:v>
                </c:pt>
                <c:pt idx="1743">
                  <c:v>42038</c:v>
                </c:pt>
                <c:pt idx="1744">
                  <c:v>42039</c:v>
                </c:pt>
                <c:pt idx="1745">
                  <c:v>42040</c:v>
                </c:pt>
                <c:pt idx="1746">
                  <c:v>42041</c:v>
                </c:pt>
                <c:pt idx="1747">
                  <c:v>42044</c:v>
                </c:pt>
                <c:pt idx="1748">
                  <c:v>42045</c:v>
                </c:pt>
                <c:pt idx="1749">
                  <c:v>42046</c:v>
                </c:pt>
                <c:pt idx="1750">
                  <c:v>42047</c:v>
                </c:pt>
                <c:pt idx="1751">
                  <c:v>42048</c:v>
                </c:pt>
                <c:pt idx="1752">
                  <c:v>42051</c:v>
                </c:pt>
                <c:pt idx="1753">
                  <c:v>42052</c:v>
                </c:pt>
                <c:pt idx="1754">
                  <c:v>42060</c:v>
                </c:pt>
                <c:pt idx="1755">
                  <c:v>42061</c:v>
                </c:pt>
                <c:pt idx="1756">
                  <c:v>42062</c:v>
                </c:pt>
                <c:pt idx="1757">
                  <c:v>42065</c:v>
                </c:pt>
                <c:pt idx="1758">
                  <c:v>42066</c:v>
                </c:pt>
                <c:pt idx="1759">
                  <c:v>42067</c:v>
                </c:pt>
                <c:pt idx="1760">
                  <c:v>42068</c:v>
                </c:pt>
                <c:pt idx="1761">
                  <c:v>42069</c:v>
                </c:pt>
                <c:pt idx="1762">
                  <c:v>42072</c:v>
                </c:pt>
                <c:pt idx="1763">
                  <c:v>42073</c:v>
                </c:pt>
                <c:pt idx="1764">
                  <c:v>42074</c:v>
                </c:pt>
                <c:pt idx="1765">
                  <c:v>42075</c:v>
                </c:pt>
                <c:pt idx="1766">
                  <c:v>42076</c:v>
                </c:pt>
                <c:pt idx="1767">
                  <c:v>42079</c:v>
                </c:pt>
                <c:pt idx="1768">
                  <c:v>42080</c:v>
                </c:pt>
                <c:pt idx="1769">
                  <c:v>42081</c:v>
                </c:pt>
                <c:pt idx="1770">
                  <c:v>42082</c:v>
                </c:pt>
                <c:pt idx="1771">
                  <c:v>42083</c:v>
                </c:pt>
                <c:pt idx="1772">
                  <c:v>42086</c:v>
                </c:pt>
                <c:pt idx="1773">
                  <c:v>42087</c:v>
                </c:pt>
                <c:pt idx="1774">
                  <c:v>42088</c:v>
                </c:pt>
                <c:pt idx="1775">
                  <c:v>42089</c:v>
                </c:pt>
                <c:pt idx="1776">
                  <c:v>42090</c:v>
                </c:pt>
                <c:pt idx="1777">
                  <c:v>42093</c:v>
                </c:pt>
                <c:pt idx="1778">
                  <c:v>42094</c:v>
                </c:pt>
                <c:pt idx="1779">
                  <c:v>42095</c:v>
                </c:pt>
                <c:pt idx="1780">
                  <c:v>42096</c:v>
                </c:pt>
                <c:pt idx="1781">
                  <c:v>42097</c:v>
                </c:pt>
                <c:pt idx="1782">
                  <c:v>42101</c:v>
                </c:pt>
                <c:pt idx="1783">
                  <c:v>42102</c:v>
                </c:pt>
                <c:pt idx="1784">
                  <c:v>42103</c:v>
                </c:pt>
                <c:pt idx="1785">
                  <c:v>42104</c:v>
                </c:pt>
                <c:pt idx="1786">
                  <c:v>42107</c:v>
                </c:pt>
                <c:pt idx="1787">
                  <c:v>42108</c:v>
                </c:pt>
                <c:pt idx="1788">
                  <c:v>42109</c:v>
                </c:pt>
                <c:pt idx="1789">
                  <c:v>42110</c:v>
                </c:pt>
                <c:pt idx="1790">
                  <c:v>42111</c:v>
                </c:pt>
                <c:pt idx="1791">
                  <c:v>42114</c:v>
                </c:pt>
                <c:pt idx="1792">
                  <c:v>42115</c:v>
                </c:pt>
                <c:pt idx="1793">
                  <c:v>42116</c:v>
                </c:pt>
                <c:pt idx="1794">
                  <c:v>42117</c:v>
                </c:pt>
                <c:pt idx="1795">
                  <c:v>42118</c:v>
                </c:pt>
                <c:pt idx="1796">
                  <c:v>42121</c:v>
                </c:pt>
                <c:pt idx="1797">
                  <c:v>42122</c:v>
                </c:pt>
                <c:pt idx="1798">
                  <c:v>42123</c:v>
                </c:pt>
                <c:pt idx="1799">
                  <c:v>42124</c:v>
                </c:pt>
                <c:pt idx="1800">
                  <c:v>42128</c:v>
                </c:pt>
                <c:pt idx="1801">
                  <c:v>42129</c:v>
                </c:pt>
                <c:pt idx="1802">
                  <c:v>42130</c:v>
                </c:pt>
                <c:pt idx="1803">
                  <c:v>42131</c:v>
                </c:pt>
                <c:pt idx="1804">
                  <c:v>42132</c:v>
                </c:pt>
                <c:pt idx="1805">
                  <c:v>42135</c:v>
                </c:pt>
                <c:pt idx="1806">
                  <c:v>42136</c:v>
                </c:pt>
                <c:pt idx="1807">
                  <c:v>42137</c:v>
                </c:pt>
                <c:pt idx="1808">
                  <c:v>42138</c:v>
                </c:pt>
                <c:pt idx="1809">
                  <c:v>42139</c:v>
                </c:pt>
                <c:pt idx="1810">
                  <c:v>42142</c:v>
                </c:pt>
                <c:pt idx="1811">
                  <c:v>42143</c:v>
                </c:pt>
                <c:pt idx="1812">
                  <c:v>42144</c:v>
                </c:pt>
                <c:pt idx="1813">
                  <c:v>42145</c:v>
                </c:pt>
                <c:pt idx="1814">
                  <c:v>42146</c:v>
                </c:pt>
                <c:pt idx="1815">
                  <c:v>42149</c:v>
                </c:pt>
                <c:pt idx="1816">
                  <c:v>42150</c:v>
                </c:pt>
                <c:pt idx="1817">
                  <c:v>42151</c:v>
                </c:pt>
                <c:pt idx="1818">
                  <c:v>42152</c:v>
                </c:pt>
                <c:pt idx="1819">
                  <c:v>42153</c:v>
                </c:pt>
                <c:pt idx="1820">
                  <c:v>42156</c:v>
                </c:pt>
                <c:pt idx="1821">
                  <c:v>42157</c:v>
                </c:pt>
                <c:pt idx="1822">
                  <c:v>42158</c:v>
                </c:pt>
                <c:pt idx="1823">
                  <c:v>42159</c:v>
                </c:pt>
                <c:pt idx="1824">
                  <c:v>42160</c:v>
                </c:pt>
                <c:pt idx="1825">
                  <c:v>42163</c:v>
                </c:pt>
                <c:pt idx="1826">
                  <c:v>42164</c:v>
                </c:pt>
                <c:pt idx="1827">
                  <c:v>42165</c:v>
                </c:pt>
                <c:pt idx="1828">
                  <c:v>42166</c:v>
                </c:pt>
                <c:pt idx="1829">
                  <c:v>42167</c:v>
                </c:pt>
                <c:pt idx="1830">
                  <c:v>42170</c:v>
                </c:pt>
                <c:pt idx="1831">
                  <c:v>42171</c:v>
                </c:pt>
                <c:pt idx="1832">
                  <c:v>42172</c:v>
                </c:pt>
                <c:pt idx="1833">
                  <c:v>42173</c:v>
                </c:pt>
                <c:pt idx="1834">
                  <c:v>42174</c:v>
                </c:pt>
                <c:pt idx="1835">
                  <c:v>42178</c:v>
                </c:pt>
                <c:pt idx="1836">
                  <c:v>42179</c:v>
                </c:pt>
                <c:pt idx="1837">
                  <c:v>42180</c:v>
                </c:pt>
                <c:pt idx="1838">
                  <c:v>42181</c:v>
                </c:pt>
                <c:pt idx="1839">
                  <c:v>42184</c:v>
                </c:pt>
                <c:pt idx="1840">
                  <c:v>42185</c:v>
                </c:pt>
                <c:pt idx="1841">
                  <c:v>42186</c:v>
                </c:pt>
                <c:pt idx="1842">
                  <c:v>42187</c:v>
                </c:pt>
                <c:pt idx="1843">
                  <c:v>42188</c:v>
                </c:pt>
                <c:pt idx="1844">
                  <c:v>42191</c:v>
                </c:pt>
                <c:pt idx="1845">
                  <c:v>42192</c:v>
                </c:pt>
                <c:pt idx="1846">
                  <c:v>42193</c:v>
                </c:pt>
                <c:pt idx="1847">
                  <c:v>42194</c:v>
                </c:pt>
                <c:pt idx="1848">
                  <c:v>42195</c:v>
                </c:pt>
                <c:pt idx="1849">
                  <c:v>42198</c:v>
                </c:pt>
                <c:pt idx="1850">
                  <c:v>42199</c:v>
                </c:pt>
                <c:pt idx="1851">
                  <c:v>42200</c:v>
                </c:pt>
                <c:pt idx="1852">
                  <c:v>42201</c:v>
                </c:pt>
                <c:pt idx="1853">
                  <c:v>42202</c:v>
                </c:pt>
                <c:pt idx="1854">
                  <c:v>42205</c:v>
                </c:pt>
                <c:pt idx="1855">
                  <c:v>42206</c:v>
                </c:pt>
                <c:pt idx="1856">
                  <c:v>42207</c:v>
                </c:pt>
                <c:pt idx="1857">
                  <c:v>42208</c:v>
                </c:pt>
                <c:pt idx="1858">
                  <c:v>42209</c:v>
                </c:pt>
                <c:pt idx="1859">
                  <c:v>42212</c:v>
                </c:pt>
                <c:pt idx="1860">
                  <c:v>42213</c:v>
                </c:pt>
                <c:pt idx="1861">
                  <c:v>42214</c:v>
                </c:pt>
                <c:pt idx="1862">
                  <c:v>42215</c:v>
                </c:pt>
                <c:pt idx="1863">
                  <c:v>42216</c:v>
                </c:pt>
                <c:pt idx="1864">
                  <c:v>42219</c:v>
                </c:pt>
                <c:pt idx="1865">
                  <c:v>42220</c:v>
                </c:pt>
                <c:pt idx="1866">
                  <c:v>42221</c:v>
                </c:pt>
                <c:pt idx="1867">
                  <c:v>42222</c:v>
                </c:pt>
                <c:pt idx="1868">
                  <c:v>42223</c:v>
                </c:pt>
                <c:pt idx="1869">
                  <c:v>42226</c:v>
                </c:pt>
                <c:pt idx="1870">
                  <c:v>42227</c:v>
                </c:pt>
                <c:pt idx="1871">
                  <c:v>42228</c:v>
                </c:pt>
                <c:pt idx="1872">
                  <c:v>42229</c:v>
                </c:pt>
                <c:pt idx="1873">
                  <c:v>42230</c:v>
                </c:pt>
                <c:pt idx="1874">
                  <c:v>42233</c:v>
                </c:pt>
                <c:pt idx="1875">
                  <c:v>42234</c:v>
                </c:pt>
                <c:pt idx="1876">
                  <c:v>42235</c:v>
                </c:pt>
                <c:pt idx="1877">
                  <c:v>42236</c:v>
                </c:pt>
                <c:pt idx="1878">
                  <c:v>42237</c:v>
                </c:pt>
                <c:pt idx="1879">
                  <c:v>42240</c:v>
                </c:pt>
                <c:pt idx="1880">
                  <c:v>42241</c:v>
                </c:pt>
                <c:pt idx="1881">
                  <c:v>42242</c:v>
                </c:pt>
                <c:pt idx="1882">
                  <c:v>42243</c:v>
                </c:pt>
                <c:pt idx="1883">
                  <c:v>42244</c:v>
                </c:pt>
                <c:pt idx="1884">
                  <c:v>42247</c:v>
                </c:pt>
                <c:pt idx="1885">
                  <c:v>42248</c:v>
                </c:pt>
                <c:pt idx="1886">
                  <c:v>42249</c:v>
                </c:pt>
                <c:pt idx="1887">
                  <c:v>42254</c:v>
                </c:pt>
                <c:pt idx="1888">
                  <c:v>42255</c:v>
                </c:pt>
                <c:pt idx="1889">
                  <c:v>42256</c:v>
                </c:pt>
                <c:pt idx="1890">
                  <c:v>42257</c:v>
                </c:pt>
                <c:pt idx="1891">
                  <c:v>42258</c:v>
                </c:pt>
                <c:pt idx="1892">
                  <c:v>42261</c:v>
                </c:pt>
                <c:pt idx="1893">
                  <c:v>42262</c:v>
                </c:pt>
                <c:pt idx="1894">
                  <c:v>42263</c:v>
                </c:pt>
                <c:pt idx="1895">
                  <c:v>42264</c:v>
                </c:pt>
                <c:pt idx="1896">
                  <c:v>42265</c:v>
                </c:pt>
                <c:pt idx="1897">
                  <c:v>42268</c:v>
                </c:pt>
                <c:pt idx="1898">
                  <c:v>42269</c:v>
                </c:pt>
                <c:pt idx="1899">
                  <c:v>42270</c:v>
                </c:pt>
                <c:pt idx="1900">
                  <c:v>42271</c:v>
                </c:pt>
                <c:pt idx="1901">
                  <c:v>42272</c:v>
                </c:pt>
                <c:pt idx="1902">
                  <c:v>42275</c:v>
                </c:pt>
                <c:pt idx="1903">
                  <c:v>42276</c:v>
                </c:pt>
                <c:pt idx="1904">
                  <c:v>42277</c:v>
                </c:pt>
                <c:pt idx="1905">
                  <c:v>42285</c:v>
                </c:pt>
                <c:pt idx="1906">
                  <c:v>42286</c:v>
                </c:pt>
                <c:pt idx="1907">
                  <c:v>42289</c:v>
                </c:pt>
                <c:pt idx="1908">
                  <c:v>42290</c:v>
                </c:pt>
                <c:pt idx="1909">
                  <c:v>42291</c:v>
                </c:pt>
                <c:pt idx="1910">
                  <c:v>42292</c:v>
                </c:pt>
                <c:pt idx="1911">
                  <c:v>42293</c:v>
                </c:pt>
                <c:pt idx="1912">
                  <c:v>42296</c:v>
                </c:pt>
                <c:pt idx="1913">
                  <c:v>42297</c:v>
                </c:pt>
                <c:pt idx="1914">
                  <c:v>42298</c:v>
                </c:pt>
                <c:pt idx="1915">
                  <c:v>42299</c:v>
                </c:pt>
                <c:pt idx="1916">
                  <c:v>42300</c:v>
                </c:pt>
                <c:pt idx="1917">
                  <c:v>42303</c:v>
                </c:pt>
                <c:pt idx="1918">
                  <c:v>42304</c:v>
                </c:pt>
                <c:pt idx="1919">
                  <c:v>42305</c:v>
                </c:pt>
                <c:pt idx="1920">
                  <c:v>42306</c:v>
                </c:pt>
                <c:pt idx="1921">
                  <c:v>42307</c:v>
                </c:pt>
                <c:pt idx="1922">
                  <c:v>42310</c:v>
                </c:pt>
                <c:pt idx="1923">
                  <c:v>42311</c:v>
                </c:pt>
                <c:pt idx="1924">
                  <c:v>42312</c:v>
                </c:pt>
                <c:pt idx="1925">
                  <c:v>42313</c:v>
                </c:pt>
                <c:pt idx="1926">
                  <c:v>42314</c:v>
                </c:pt>
                <c:pt idx="1927">
                  <c:v>42317</c:v>
                </c:pt>
                <c:pt idx="1928">
                  <c:v>42318</c:v>
                </c:pt>
                <c:pt idx="1929">
                  <c:v>42319</c:v>
                </c:pt>
                <c:pt idx="1930">
                  <c:v>42320</c:v>
                </c:pt>
                <c:pt idx="1931">
                  <c:v>42321</c:v>
                </c:pt>
                <c:pt idx="1932">
                  <c:v>42324</c:v>
                </c:pt>
                <c:pt idx="1933">
                  <c:v>42325</c:v>
                </c:pt>
                <c:pt idx="1934">
                  <c:v>42326</c:v>
                </c:pt>
                <c:pt idx="1935">
                  <c:v>42327</c:v>
                </c:pt>
                <c:pt idx="1936">
                  <c:v>42328</c:v>
                </c:pt>
                <c:pt idx="1937">
                  <c:v>42331</c:v>
                </c:pt>
                <c:pt idx="1938">
                  <c:v>42332</c:v>
                </c:pt>
                <c:pt idx="1939">
                  <c:v>42333</c:v>
                </c:pt>
                <c:pt idx="1940">
                  <c:v>42334</c:v>
                </c:pt>
                <c:pt idx="1941">
                  <c:v>42335</c:v>
                </c:pt>
                <c:pt idx="1942">
                  <c:v>42338</c:v>
                </c:pt>
                <c:pt idx="1943">
                  <c:v>42339</c:v>
                </c:pt>
                <c:pt idx="1944">
                  <c:v>42340</c:v>
                </c:pt>
                <c:pt idx="1945">
                  <c:v>42341</c:v>
                </c:pt>
                <c:pt idx="1946">
                  <c:v>42342</c:v>
                </c:pt>
                <c:pt idx="1947">
                  <c:v>42345</c:v>
                </c:pt>
                <c:pt idx="1948">
                  <c:v>42346</c:v>
                </c:pt>
                <c:pt idx="1949">
                  <c:v>42347</c:v>
                </c:pt>
                <c:pt idx="1950">
                  <c:v>42348</c:v>
                </c:pt>
                <c:pt idx="1951">
                  <c:v>42349</c:v>
                </c:pt>
                <c:pt idx="1952">
                  <c:v>42352</c:v>
                </c:pt>
                <c:pt idx="1953">
                  <c:v>42353</c:v>
                </c:pt>
                <c:pt idx="1954">
                  <c:v>42354</c:v>
                </c:pt>
                <c:pt idx="1955">
                  <c:v>42355</c:v>
                </c:pt>
                <c:pt idx="1956">
                  <c:v>42356</c:v>
                </c:pt>
                <c:pt idx="1957">
                  <c:v>42359</c:v>
                </c:pt>
                <c:pt idx="1958">
                  <c:v>42360</c:v>
                </c:pt>
                <c:pt idx="1959">
                  <c:v>42361</c:v>
                </c:pt>
                <c:pt idx="1960">
                  <c:v>42362</c:v>
                </c:pt>
                <c:pt idx="1961">
                  <c:v>42363</c:v>
                </c:pt>
                <c:pt idx="1962">
                  <c:v>42366</c:v>
                </c:pt>
                <c:pt idx="1963">
                  <c:v>42367</c:v>
                </c:pt>
                <c:pt idx="1964">
                  <c:v>42368</c:v>
                </c:pt>
                <c:pt idx="1965">
                  <c:v>42369</c:v>
                </c:pt>
                <c:pt idx="1966">
                  <c:v>42373</c:v>
                </c:pt>
                <c:pt idx="1967">
                  <c:v>42374</c:v>
                </c:pt>
                <c:pt idx="1968">
                  <c:v>42375</c:v>
                </c:pt>
                <c:pt idx="1969">
                  <c:v>42376</c:v>
                </c:pt>
                <c:pt idx="1970">
                  <c:v>42377</c:v>
                </c:pt>
                <c:pt idx="1971">
                  <c:v>42380</c:v>
                </c:pt>
                <c:pt idx="1972">
                  <c:v>42381</c:v>
                </c:pt>
                <c:pt idx="1973">
                  <c:v>42382</c:v>
                </c:pt>
                <c:pt idx="1974">
                  <c:v>42383</c:v>
                </c:pt>
                <c:pt idx="1975">
                  <c:v>42384</c:v>
                </c:pt>
                <c:pt idx="1976">
                  <c:v>42387</c:v>
                </c:pt>
                <c:pt idx="1977">
                  <c:v>42388</c:v>
                </c:pt>
                <c:pt idx="1978">
                  <c:v>42389</c:v>
                </c:pt>
                <c:pt idx="1979">
                  <c:v>42390</c:v>
                </c:pt>
                <c:pt idx="1980">
                  <c:v>42391</c:v>
                </c:pt>
                <c:pt idx="1981">
                  <c:v>42394</c:v>
                </c:pt>
                <c:pt idx="1982">
                  <c:v>42395</c:v>
                </c:pt>
                <c:pt idx="1983">
                  <c:v>42396</c:v>
                </c:pt>
                <c:pt idx="1984">
                  <c:v>42397</c:v>
                </c:pt>
                <c:pt idx="1985">
                  <c:v>42398</c:v>
                </c:pt>
                <c:pt idx="1986">
                  <c:v>42401</c:v>
                </c:pt>
                <c:pt idx="1987">
                  <c:v>42402</c:v>
                </c:pt>
                <c:pt idx="1988">
                  <c:v>42403</c:v>
                </c:pt>
                <c:pt idx="1989">
                  <c:v>42404</c:v>
                </c:pt>
                <c:pt idx="1990">
                  <c:v>42405</c:v>
                </c:pt>
                <c:pt idx="1991">
                  <c:v>42415</c:v>
                </c:pt>
                <c:pt idx="1992">
                  <c:v>42416</c:v>
                </c:pt>
                <c:pt idx="1993">
                  <c:v>42417</c:v>
                </c:pt>
                <c:pt idx="1994">
                  <c:v>42418</c:v>
                </c:pt>
                <c:pt idx="1995">
                  <c:v>42419</c:v>
                </c:pt>
                <c:pt idx="1996">
                  <c:v>42422</c:v>
                </c:pt>
                <c:pt idx="1997">
                  <c:v>42423</c:v>
                </c:pt>
                <c:pt idx="1998">
                  <c:v>42424</c:v>
                </c:pt>
                <c:pt idx="1999">
                  <c:v>42425</c:v>
                </c:pt>
                <c:pt idx="2000">
                  <c:v>42426</c:v>
                </c:pt>
                <c:pt idx="2001">
                  <c:v>42429</c:v>
                </c:pt>
                <c:pt idx="2002">
                  <c:v>42430</c:v>
                </c:pt>
                <c:pt idx="2003">
                  <c:v>42431</c:v>
                </c:pt>
                <c:pt idx="2004">
                  <c:v>42432</c:v>
                </c:pt>
                <c:pt idx="2005">
                  <c:v>42433</c:v>
                </c:pt>
                <c:pt idx="2006">
                  <c:v>42436</c:v>
                </c:pt>
                <c:pt idx="2007">
                  <c:v>42437</c:v>
                </c:pt>
                <c:pt idx="2008">
                  <c:v>42438</c:v>
                </c:pt>
                <c:pt idx="2009">
                  <c:v>42439</c:v>
                </c:pt>
                <c:pt idx="2010">
                  <c:v>42440</c:v>
                </c:pt>
                <c:pt idx="2011">
                  <c:v>42443</c:v>
                </c:pt>
                <c:pt idx="2012">
                  <c:v>42444</c:v>
                </c:pt>
                <c:pt idx="2013">
                  <c:v>42445</c:v>
                </c:pt>
                <c:pt idx="2014">
                  <c:v>42446</c:v>
                </c:pt>
                <c:pt idx="2015">
                  <c:v>42447</c:v>
                </c:pt>
                <c:pt idx="2016">
                  <c:v>42450</c:v>
                </c:pt>
                <c:pt idx="2017">
                  <c:v>42451</c:v>
                </c:pt>
                <c:pt idx="2018">
                  <c:v>42452</c:v>
                </c:pt>
                <c:pt idx="2019">
                  <c:v>42453</c:v>
                </c:pt>
                <c:pt idx="2020">
                  <c:v>42454</c:v>
                </c:pt>
                <c:pt idx="2021">
                  <c:v>42457</c:v>
                </c:pt>
                <c:pt idx="2022">
                  <c:v>42458</c:v>
                </c:pt>
                <c:pt idx="2023">
                  <c:v>42459</c:v>
                </c:pt>
                <c:pt idx="2024">
                  <c:v>42460</c:v>
                </c:pt>
                <c:pt idx="2025">
                  <c:v>42461</c:v>
                </c:pt>
                <c:pt idx="2026">
                  <c:v>42465</c:v>
                </c:pt>
                <c:pt idx="2027">
                  <c:v>42466</c:v>
                </c:pt>
                <c:pt idx="2028">
                  <c:v>42467</c:v>
                </c:pt>
                <c:pt idx="2029">
                  <c:v>42468</c:v>
                </c:pt>
                <c:pt idx="2030">
                  <c:v>42471</c:v>
                </c:pt>
                <c:pt idx="2031">
                  <c:v>42472</c:v>
                </c:pt>
                <c:pt idx="2032">
                  <c:v>42473</c:v>
                </c:pt>
                <c:pt idx="2033">
                  <c:v>42474</c:v>
                </c:pt>
                <c:pt idx="2034">
                  <c:v>42475</c:v>
                </c:pt>
                <c:pt idx="2035">
                  <c:v>42478</c:v>
                </c:pt>
                <c:pt idx="2036">
                  <c:v>42479</c:v>
                </c:pt>
                <c:pt idx="2037">
                  <c:v>42480</c:v>
                </c:pt>
                <c:pt idx="2038">
                  <c:v>42481</c:v>
                </c:pt>
                <c:pt idx="2039">
                  <c:v>42482</c:v>
                </c:pt>
                <c:pt idx="2040">
                  <c:v>42485</c:v>
                </c:pt>
                <c:pt idx="2041">
                  <c:v>42486</c:v>
                </c:pt>
                <c:pt idx="2042">
                  <c:v>42487</c:v>
                </c:pt>
                <c:pt idx="2043">
                  <c:v>42488</c:v>
                </c:pt>
                <c:pt idx="2044">
                  <c:v>42489</c:v>
                </c:pt>
                <c:pt idx="2045">
                  <c:v>42493</c:v>
                </c:pt>
                <c:pt idx="2046">
                  <c:v>42494</c:v>
                </c:pt>
                <c:pt idx="2047">
                  <c:v>42495</c:v>
                </c:pt>
                <c:pt idx="2048">
                  <c:v>42496</c:v>
                </c:pt>
                <c:pt idx="2049">
                  <c:v>42499</c:v>
                </c:pt>
                <c:pt idx="2050">
                  <c:v>42500</c:v>
                </c:pt>
                <c:pt idx="2051">
                  <c:v>42501</c:v>
                </c:pt>
                <c:pt idx="2052">
                  <c:v>42502</c:v>
                </c:pt>
                <c:pt idx="2053">
                  <c:v>42503</c:v>
                </c:pt>
                <c:pt idx="2054">
                  <c:v>42506</c:v>
                </c:pt>
                <c:pt idx="2055">
                  <c:v>42507</c:v>
                </c:pt>
                <c:pt idx="2056">
                  <c:v>42508</c:v>
                </c:pt>
                <c:pt idx="2057">
                  <c:v>42509</c:v>
                </c:pt>
                <c:pt idx="2058">
                  <c:v>42510</c:v>
                </c:pt>
                <c:pt idx="2059">
                  <c:v>42513</c:v>
                </c:pt>
                <c:pt idx="2060">
                  <c:v>42514</c:v>
                </c:pt>
                <c:pt idx="2061">
                  <c:v>42515</c:v>
                </c:pt>
                <c:pt idx="2062">
                  <c:v>42516</c:v>
                </c:pt>
                <c:pt idx="2063">
                  <c:v>42517</c:v>
                </c:pt>
                <c:pt idx="2064">
                  <c:v>42520</c:v>
                </c:pt>
                <c:pt idx="2065">
                  <c:v>42521</c:v>
                </c:pt>
                <c:pt idx="2066">
                  <c:v>42522</c:v>
                </c:pt>
                <c:pt idx="2067">
                  <c:v>42523</c:v>
                </c:pt>
                <c:pt idx="2068">
                  <c:v>42524</c:v>
                </c:pt>
                <c:pt idx="2069">
                  <c:v>42527</c:v>
                </c:pt>
                <c:pt idx="2070">
                  <c:v>42528</c:v>
                </c:pt>
                <c:pt idx="2071">
                  <c:v>42529</c:v>
                </c:pt>
                <c:pt idx="2072">
                  <c:v>42534</c:v>
                </c:pt>
                <c:pt idx="2073">
                  <c:v>42535</c:v>
                </c:pt>
                <c:pt idx="2074">
                  <c:v>42536</c:v>
                </c:pt>
                <c:pt idx="2075">
                  <c:v>42537</c:v>
                </c:pt>
                <c:pt idx="2076">
                  <c:v>42538</c:v>
                </c:pt>
                <c:pt idx="2077">
                  <c:v>42541</c:v>
                </c:pt>
                <c:pt idx="2078">
                  <c:v>42542</c:v>
                </c:pt>
                <c:pt idx="2079">
                  <c:v>42543</c:v>
                </c:pt>
                <c:pt idx="2080">
                  <c:v>42544</c:v>
                </c:pt>
                <c:pt idx="2081">
                  <c:v>42545</c:v>
                </c:pt>
                <c:pt idx="2082">
                  <c:v>42548</c:v>
                </c:pt>
                <c:pt idx="2083">
                  <c:v>42549</c:v>
                </c:pt>
                <c:pt idx="2084">
                  <c:v>42550</c:v>
                </c:pt>
                <c:pt idx="2085">
                  <c:v>42551</c:v>
                </c:pt>
                <c:pt idx="2086">
                  <c:v>42552</c:v>
                </c:pt>
                <c:pt idx="2087">
                  <c:v>42555</c:v>
                </c:pt>
                <c:pt idx="2088">
                  <c:v>42556</c:v>
                </c:pt>
                <c:pt idx="2089">
                  <c:v>42557</c:v>
                </c:pt>
                <c:pt idx="2090">
                  <c:v>42558</c:v>
                </c:pt>
                <c:pt idx="2091">
                  <c:v>42559</c:v>
                </c:pt>
                <c:pt idx="2092">
                  <c:v>42562</c:v>
                </c:pt>
                <c:pt idx="2093">
                  <c:v>42563</c:v>
                </c:pt>
                <c:pt idx="2094">
                  <c:v>42564</c:v>
                </c:pt>
                <c:pt idx="2095">
                  <c:v>42565</c:v>
                </c:pt>
                <c:pt idx="2096">
                  <c:v>42566</c:v>
                </c:pt>
                <c:pt idx="2097">
                  <c:v>42569</c:v>
                </c:pt>
                <c:pt idx="2098">
                  <c:v>42570</c:v>
                </c:pt>
                <c:pt idx="2099">
                  <c:v>42571</c:v>
                </c:pt>
                <c:pt idx="2100">
                  <c:v>42572</c:v>
                </c:pt>
                <c:pt idx="2101">
                  <c:v>42573</c:v>
                </c:pt>
                <c:pt idx="2102">
                  <c:v>42576</c:v>
                </c:pt>
                <c:pt idx="2103">
                  <c:v>42577</c:v>
                </c:pt>
                <c:pt idx="2104">
                  <c:v>42578</c:v>
                </c:pt>
                <c:pt idx="2105">
                  <c:v>42579</c:v>
                </c:pt>
                <c:pt idx="2106">
                  <c:v>42580</c:v>
                </c:pt>
                <c:pt idx="2107">
                  <c:v>42583</c:v>
                </c:pt>
                <c:pt idx="2108">
                  <c:v>42584</c:v>
                </c:pt>
                <c:pt idx="2109">
                  <c:v>42585</c:v>
                </c:pt>
                <c:pt idx="2110">
                  <c:v>42586</c:v>
                </c:pt>
                <c:pt idx="2111">
                  <c:v>42587</c:v>
                </c:pt>
                <c:pt idx="2112">
                  <c:v>42590</c:v>
                </c:pt>
                <c:pt idx="2113">
                  <c:v>42591</c:v>
                </c:pt>
                <c:pt idx="2114">
                  <c:v>42592</c:v>
                </c:pt>
                <c:pt idx="2115">
                  <c:v>42593</c:v>
                </c:pt>
                <c:pt idx="2116">
                  <c:v>42594</c:v>
                </c:pt>
                <c:pt idx="2117">
                  <c:v>42597</c:v>
                </c:pt>
                <c:pt idx="2118">
                  <c:v>42598</c:v>
                </c:pt>
                <c:pt idx="2119">
                  <c:v>42599</c:v>
                </c:pt>
                <c:pt idx="2120">
                  <c:v>42600</c:v>
                </c:pt>
                <c:pt idx="2121">
                  <c:v>42601</c:v>
                </c:pt>
                <c:pt idx="2122">
                  <c:v>42604</c:v>
                </c:pt>
                <c:pt idx="2123">
                  <c:v>42605</c:v>
                </c:pt>
                <c:pt idx="2124">
                  <c:v>42606</c:v>
                </c:pt>
                <c:pt idx="2125">
                  <c:v>42607</c:v>
                </c:pt>
                <c:pt idx="2126">
                  <c:v>42608</c:v>
                </c:pt>
                <c:pt idx="2127">
                  <c:v>42611</c:v>
                </c:pt>
                <c:pt idx="2128">
                  <c:v>42612</c:v>
                </c:pt>
                <c:pt idx="2129">
                  <c:v>42613</c:v>
                </c:pt>
                <c:pt idx="2130">
                  <c:v>42614</c:v>
                </c:pt>
                <c:pt idx="2131">
                  <c:v>42615</c:v>
                </c:pt>
                <c:pt idx="2132">
                  <c:v>42618</c:v>
                </c:pt>
                <c:pt idx="2133">
                  <c:v>42619</c:v>
                </c:pt>
                <c:pt idx="2134">
                  <c:v>42620</c:v>
                </c:pt>
                <c:pt idx="2135">
                  <c:v>42621</c:v>
                </c:pt>
                <c:pt idx="2136">
                  <c:v>42622</c:v>
                </c:pt>
                <c:pt idx="2137">
                  <c:v>42625</c:v>
                </c:pt>
                <c:pt idx="2138">
                  <c:v>42626</c:v>
                </c:pt>
                <c:pt idx="2139">
                  <c:v>42627</c:v>
                </c:pt>
                <c:pt idx="2140">
                  <c:v>42632</c:v>
                </c:pt>
                <c:pt idx="2141">
                  <c:v>42633</c:v>
                </c:pt>
                <c:pt idx="2142">
                  <c:v>42634</c:v>
                </c:pt>
                <c:pt idx="2143">
                  <c:v>42635</c:v>
                </c:pt>
                <c:pt idx="2144">
                  <c:v>42636</c:v>
                </c:pt>
                <c:pt idx="2145">
                  <c:v>42639</c:v>
                </c:pt>
                <c:pt idx="2146">
                  <c:v>42640</c:v>
                </c:pt>
                <c:pt idx="2147">
                  <c:v>42641</c:v>
                </c:pt>
                <c:pt idx="2148">
                  <c:v>42642</c:v>
                </c:pt>
                <c:pt idx="2149">
                  <c:v>42643</c:v>
                </c:pt>
                <c:pt idx="2150">
                  <c:v>42653</c:v>
                </c:pt>
                <c:pt idx="2151">
                  <c:v>42654</c:v>
                </c:pt>
                <c:pt idx="2152">
                  <c:v>42655</c:v>
                </c:pt>
                <c:pt idx="2153">
                  <c:v>42656</c:v>
                </c:pt>
                <c:pt idx="2154">
                  <c:v>42657</c:v>
                </c:pt>
                <c:pt idx="2155">
                  <c:v>42660</c:v>
                </c:pt>
                <c:pt idx="2156">
                  <c:v>42661</c:v>
                </c:pt>
                <c:pt idx="2157">
                  <c:v>42662</c:v>
                </c:pt>
                <c:pt idx="2158">
                  <c:v>42663</c:v>
                </c:pt>
                <c:pt idx="2159">
                  <c:v>42664</c:v>
                </c:pt>
                <c:pt idx="2160">
                  <c:v>42667</c:v>
                </c:pt>
                <c:pt idx="2161">
                  <c:v>42668</c:v>
                </c:pt>
                <c:pt idx="2162">
                  <c:v>42669</c:v>
                </c:pt>
                <c:pt idx="2163">
                  <c:v>42670</c:v>
                </c:pt>
                <c:pt idx="2164">
                  <c:v>42671</c:v>
                </c:pt>
                <c:pt idx="2165">
                  <c:v>42674</c:v>
                </c:pt>
                <c:pt idx="2166">
                  <c:v>42675</c:v>
                </c:pt>
                <c:pt idx="2167">
                  <c:v>42676</c:v>
                </c:pt>
                <c:pt idx="2168">
                  <c:v>42677</c:v>
                </c:pt>
                <c:pt idx="2169">
                  <c:v>42678</c:v>
                </c:pt>
                <c:pt idx="2170">
                  <c:v>42681</c:v>
                </c:pt>
                <c:pt idx="2171">
                  <c:v>42682</c:v>
                </c:pt>
                <c:pt idx="2172">
                  <c:v>42683</c:v>
                </c:pt>
                <c:pt idx="2173">
                  <c:v>42684</c:v>
                </c:pt>
                <c:pt idx="2174">
                  <c:v>42685</c:v>
                </c:pt>
                <c:pt idx="2175">
                  <c:v>42688</c:v>
                </c:pt>
                <c:pt idx="2176">
                  <c:v>42689</c:v>
                </c:pt>
                <c:pt idx="2177">
                  <c:v>42690</c:v>
                </c:pt>
                <c:pt idx="2178">
                  <c:v>42691</c:v>
                </c:pt>
                <c:pt idx="2179">
                  <c:v>42692</c:v>
                </c:pt>
                <c:pt idx="2180">
                  <c:v>42695</c:v>
                </c:pt>
                <c:pt idx="2181">
                  <c:v>42696</c:v>
                </c:pt>
                <c:pt idx="2182">
                  <c:v>42697</c:v>
                </c:pt>
                <c:pt idx="2183">
                  <c:v>42698</c:v>
                </c:pt>
                <c:pt idx="2184">
                  <c:v>42699</c:v>
                </c:pt>
                <c:pt idx="2185">
                  <c:v>42702</c:v>
                </c:pt>
                <c:pt idx="2186">
                  <c:v>42703</c:v>
                </c:pt>
                <c:pt idx="2187">
                  <c:v>42704</c:v>
                </c:pt>
                <c:pt idx="2188">
                  <c:v>42705</c:v>
                </c:pt>
                <c:pt idx="2189">
                  <c:v>42706</c:v>
                </c:pt>
                <c:pt idx="2190">
                  <c:v>42709</c:v>
                </c:pt>
                <c:pt idx="2191">
                  <c:v>42710</c:v>
                </c:pt>
                <c:pt idx="2192">
                  <c:v>42711</c:v>
                </c:pt>
                <c:pt idx="2193">
                  <c:v>42712</c:v>
                </c:pt>
                <c:pt idx="2194">
                  <c:v>42713</c:v>
                </c:pt>
                <c:pt idx="2195">
                  <c:v>42716</c:v>
                </c:pt>
                <c:pt idx="2196">
                  <c:v>42717</c:v>
                </c:pt>
                <c:pt idx="2197">
                  <c:v>42718</c:v>
                </c:pt>
                <c:pt idx="2198">
                  <c:v>42719</c:v>
                </c:pt>
                <c:pt idx="2199">
                  <c:v>42720</c:v>
                </c:pt>
                <c:pt idx="2200">
                  <c:v>42723</c:v>
                </c:pt>
                <c:pt idx="2201">
                  <c:v>42724</c:v>
                </c:pt>
                <c:pt idx="2202">
                  <c:v>42725</c:v>
                </c:pt>
                <c:pt idx="2203">
                  <c:v>42726</c:v>
                </c:pt>
                <c:pt idx="2204">
                  <c:v>42727</c:v>
                </c:pt>
                <c:pt idx="2205">
                  <c:v>42730</c:v>
                </c:pt>
                <c:pt idx="2206">
                  <c:v>42731</c:v>
                </c:pt>
                <c:pt idx="2207">
                  <c:v>42732</c:v>
                </c:pt>
                <c:pt idx="2208">
                  <c:v>42733</c:v>
                </c:pt>
                <c:pt idx="2209">
                  <c:v>42734</c:v>
                </c:pt>
                <c:pt idx="2210">
                  <c:v>42738</c:v>
                </c:pt>
                <c:pt idx="2211">
                  <c:v>42739</c:v>
                </c:pt>
                <c:pt idx="2212">
                  <c:v>42740</c:v>
                </c:pt>
                <c:pt idx="2213">
                  <c:v>42741</c:v>
                </c:pt>
                <c:pt idx="2214">
                  <c:v>42744</c:v>
                </c:pt>
                <c:pt idx="2215">
                  <c:v>42745</c:v>
                </c:pt>
                <c:pt idx="2216">
                  <c:v>42746</c:v>
                </c:pt>
                <c:pt idx="2217">
                  <c:v>42747</c:v>
                </c:pt>
                <c:pt idx="2218">
                  <c:v>42748</c:v>
                </c:pt>
                <c:pt idx="2219">
                  <c:v>42751</c:v>
                </c:pt>
                <c:pt idx="2220">
                  <c:v>42752</c:v>
                </c:pt>
                <c:pt idx="2221">
                  <c:v>42753</c:v>
                </c:pt>
                <c:pt idx="2222">
                  <c:v>42754</c:v>
                </c:pt>
                <c:pt idx="2223">
                  <c:v>42755</c:v>
                </c:pt>
                <c:pt idx="2224">
                  <c:v>42758</c:v>
                </c:pt>
                <c:pt idx="2225">
                  <c:v>42759</c:v>
                </c:pt>
                <c:pt idx="2226">
                  <c:v>42760</c:v>
                </c:pt>
                <c:pt idx="2227">
                  <c:v>42761</c:v>
                </c:pt>
                <c:pt idx="2228">
                  <c:v>42769</c:v>
                </c:pt>
                <c:pt idx="2229">
                  <c:v>42772</c:v>
                </c:pt>
                <c:pt idx="2230">
                  <c:v>42773</c:v>
                </c:pt>
                <c:pt idx="2231">
                  <c:v>42774</c:v>
                </c:pt>
                <c:pt idx="2232">
                  <c:v>42775</c:v>
                </c:pt>
                <c:pt idx="2233">
                  <c:v>42776</c:v>
                </c:pt>
                <c:pt idx="2234">
                  <c:v>42779</c:v>
                </c:pt>
                <c:pt idx="2235">
                  <c:v>42780</c:v>
                </c:pt>
                <c:pt idx="2236">
                  <c:v>42781</c:v>
                </c:pt>
                <c:pt idx="2237">
                  <c:v>42782</c:v>
                </c:pt>
                <c:pt idx="2238">
                  <c:v>42783</c:v>
                </c:pt>
                <c:pt idx="2239">
                  <c:v>42786</c:v>
                </c:pt>
                <c:pt idx="2240">
                  <c:v>42787</c:v>
                </c:pt>
                <c:pt idx="2241">
                  <c:v>42788</c:v>
                </c:pt>
                <c:pt idx="2242">
                  <c:v>42789</c:v>
                </c:pt>
                <c:pt idx="2243">
                  <c:v>42790</c:v>
                </c:pt>
                <c:pt idx="2244">
                  <c:v>42793</c:v>
                </c:pt>
                <c:pt idx="2245">
                  <c:v>42794</c:v>
                </c:pt>
                <c:pt idx="2246">
                  <c:v>42795</c:v>
                </c:pt>
                <c:pt idx="2247">
                  <c:v>42796</c:v>
                </c:pt>
                <c:pt idx="2248">
                  <c:v>42797</c:v>
                </c:pt>
                <c:pt idx="2249">
                  <c:v>42800</c:v>
                </c:pt>
                <c:pt idx="2250">
                  <c:v>42801</c:v>
                </c:pt>
                <c:pt idx="2251">
                  <c:v>42802</c:v>
                </c:pt>
                <c:pt idx="2252">
                  <c:v>42803</c:v>
                </c:pt>
                <c:pt idx="2253">
                  <c:v>42804</c:v>
                </c:pt>
                <c:pt idx="2254">
                  <c:v>42807</c:v>
                </c:pt>
                <c:pt idx="2255">
                  <c:v>42808</c:v>
                </c:pt>
                <c:pt idx="2256">
                  <c:v>42809</c:v>
                </c:pt>
                <c:pt idx="2257">
                  <c:v>42810</c:v>
                </c:pt>
                <c:pt idx="2258">
                  <c:v>42811</c:v>
                </c:pt>
                <c:pt idx="2259">
                  <c:v>42814</c:v>
                </c:pt>
                <c:pt idx="2260">
                  <c:v>42815</c:v>
                </c:pt>
                <c:pt idx="2261">
                  <c:v>42816</c:v>
                </c:pt>
                <c:pt idx="2262">
                  <c:v>42817</c:v>
                </c:pt>
                <c:pt idx="2263">
                  <c:v>42818</c:v>
                </c:pt>
                <c:pt idx="2264">
                  <c:v>42821</c:v>
                </c:pt>
                <c:pt idx="2265">
                  <c:v>42822</c:v>
                </c:pt>
                <c:pt idx="2266">
                  <c:v>42823</c:v>
                </c:pt>
                <c:pt idx="2267">
                  <c:v>42824</c:v>
                </c:pt>
                <c:pt idx="2268">
                  <c:v>42825</c:v>
                </c:pt>
                <c:pt idx="2269">
                  <c:v>42830</c:v>
                </c:pt>
                <c:pt idx="2270">
                  <c:v>42831</c:v>
                </c:pt>
                <c:pt idx="2271">
                  <c:v>42832</c:v>
                </c:pt>
                <c:pt idx="2272">
                  <c:v>42835</c:v>
                </c:pt>
                <c:pt idx="2273">
                  <c:v>42836</c:v>
                </c:pt>
                <c:pt idx="2274">
                  <c:v>42837</c:v>
                </c:pt>
                <c:pt idx="2275">
                  <c:v>42838</c:v>
                </c:pt>
                <c:pt idx="2276">
                  <c:v>42839</c:v>
                </c:pt>
                <c:pt idx="2277">
                  <c:v>42842</c:v>
                </c:pt>
                <c:pt idx="2278">
                  <c:v>42843</c:v>
                </c:pt>
                <c:pt idx="2279">
                  <c:v>42844</c:v>
                </c:pt>
                <c:pt idx="2280">
                  <c:v>42845</c:v>
                </c:pt>
                <c:pt idx="2281">
                  <c:v>42846</c:v>
                </c:pt>
                <c:pt idx="2282">
                  <c:v>42849</c:v>
                </c:pt>
                <c:pt idx="2283">
                  <c:v>42850</c:v>
                </c:pt>
                <c:pt idx="2284">
                  <c:v>42851</c:v>
                </c:pt>
                <c:pt idx="2285">
                  <c:v>42852</c:v>
                </c:pt>
                <c:pt idx="2286">
                  <c:v>42853</c:v>
                </c:pt>
                <c:pt idx="2287">
                  <c:v>42857</c:v>
                </c:pt>
                <c:pt idx="2288">
                  <c:v>42858</c:v>
                </c:pt>
                <c:pt idx="2289">
                  <c:v>42859</c:v>
                </c:pt>
                <c:pt idx="2290">
                  <c:v>42860</c:v>
                </c:pt>
                <c:pt idx="2291">
                  <c:v>42863</c:v>
                </c:pt>
                <c:pt idx="2292">
                  <c:v>42864</c:v>
                </c:pt>
                <c:pt idx="2293">
                  <c:v>42865</c:v>
                </c:pt>
                <c:pt idx="2294">
                  <c:v>42866</c:v>
                </c:pt>
                <c:pt idx="2295">
                  <c:v>42867</c:v>
                </c:pt>
                <c:pt idx="2296">
                  <c:v>42870</c:v>
                </c:pt>
                <c:pt idx="2297">
                  <c:v>42871</c:v>
                </c:pt>
                <c:pt idx="2298">
                  <c:v>42872</c:v>
                </c:pt>
                <c:pt idx="2299">
                  <c:v>42873</c:v>
                </c:pt>
                <c:pt idx="2300">
                  <c:v>42874</c:v>
                </c:pt>
                <c:pt idx="2301">
                  <c:v>42877</c:v>
                </c:pt>
                <c:pt idx="2302">
                  <c:v>42878</c:v>
                </c:pt>
                <c:pt idx="2303">
                  <c:v>42879</c:v>
                </c:pt>
                <c:pt idx="2304">
                  <c:v>42880</c:v>
                </c:pt>
                <c:pt idx="2305">
                  <c:v>42881</c:v>
                </c:pt>
                <c:pt idx="2306">
                  <c:v>42886</c:v>
                </c:pt>
                <c:pt idx="2307">
                  <c:v>42887</c:v>
                </c:pt>
                <c:pt idx="2308">
                  <c:v>42888</c:v>
                </c:pt>
                <c:pt idx="2309">
                  <c:v>42891</c:v>
                </c:pt>
                <c:pt idx="2310">
                  <c:v>42892</c:v>
                </c:pt>
                <c:pt idx="2311">
                  <c:v>42893</c:v>
                </c:pt>
                <c:pt idx="2312">
                  <c:v>42894</c:v>
                </c:pt>
                <c:pt idx="2313">
                  <c:v>42895</c:v>
                </c:pt>
                <c:pt idx="2314">
                  <c:v>42898</c:v>
                </c:pt>
                <c:pt idx="2315">
                  <c:v>42899</c:v>
                </c:pt>
                <c:pt idx="2316">
                  <c:v>42900</c:v>
                </c:pt>
                <c:pt idx="2317">
                  <c:v>42901</c:v>
                </c:pt>
                <c:pt idx="2318">
                  <c:v>42902</c:v>
                </c:pt>
                <c:pt idx="2319">
                  <c:v>42905</c:v>
                </c:pt>
                <c:pt idx="2320">
                  <c:v>42906</c:v>
                </c:pt>
                <c:pt idx="2321">
                  <c:v>42907</c:v>
                </c:pt>
                <c:pt idx="2322">
                  <c:v>42908</c:v>
                </c:pt>
                <c:pt idx="2323">
                  <c:v>42909</c:v>
                </c:pt>
                <c:pt idx="2324">
                  <c:v>42912</c:v>
                </c:pt>
                <c:pt idx="2325">
                  <c:v>42913</c:v>
                </c:pt>
                <c:pt idx="2326">
                  <c:v>42914</c:v>
                </c:pt>
                <c:pt idx="2327">
                  <c:v>42915</c:v>
                </c:pt>
                <c:pt idx="2328">
                  <c:v>42916</c:v>
                </c:pt>
                <c:pt idx="2329">
                  <c:v>42919</c:v>
                </c:pt>
                <c:pt idx="2330">
                  <c:v>42920</c:v>
                </c:pt>
                <c:pt idx="2331">
                  <c:v>42921</c:v>
                </c:pt>
                <c:pt idx="2332">
                  <c:v>42922</c:v>
                </c:pt>
                <c:pt idx="2333">
                  <c:v>42923</c:v>
                </c:pt>
                <c:pt idx="2334">
                  <c:v>42926</c:v>
                </c:pt>
                <c:pt idx="2335">
                  <c:v>42927</c:v>
                </c:pt>
                <c:pt idx="2336">
                  <c:v>42928</c:v>
                </c:pt>
                <c:pt idx="2337">
                  <c:v>42929</c:v>
                </c:pt>
                <c:pt idx="2338">
                  <c:v>42930</c:v>
                </c:pt>
                <c:pt idx="2339">
                  <c:v>42933</c:v>
                </c:pt>
                <c:pt idx="2340">
                  <c:v>42934</c:v>
                </c:pt>
                <c:pt idx="2341">
                  <c:v>42935</c:v>
                </c:pt>
                <c:pt idx="2342">
                  <c:v>42936</c:v>
                </c:pt>
                <c:pt idx="2343">
                  <c:v>42937</c:v>
                </c:pt>
                <c:pt idx="2344">
                  <c:v>42940</c:v>
                </c:pt>
                <c:pt idx="2345">
                  <c:v>42941</c:v>
                </c:pt>
                <c:pt idx="2346">
                  <c:v>42942</c:v>
                </c:pt>
                <c:pt idx="2347">
                  <c:v>42943</c:v>
                </c:pt>
                <c:pt idx="2348">
                  <c:v>42944</c:v>
                </c:pt>
                <c:pt idx="2349">
                  <c:v>42947</c:v>
                </c:pt>
                <c:pt idx="2350">
                  <c:v>42948</c:v>
                </c:pt>
                <c:pt idx="2351">
                  <c:v>42949</c:v>
                </c:pt>
                <c:pt idx="2352">
                  <c:v>42950</c:v>
                </c:pt>
                <c:pt idx="2353">
                  <c:v>42951</c:v>
                </c:pt>
                <c:pt idx="2354">
                  <c:v>42954</c:v>
                </c:pt>
                <c:pt idx="2355">
                  <c:v>42955</c:v>
                </c:pt>
                <c:pt idx="2356">
                  <c:v>42956</c:v>
                </c:pt>
                <c:pt idx="2357">
                  <c:v>42957</c:v>
                </c:pt>
                <c:pt idx="2358">
                  <c:v>42958</c:v>
                </c:pt>
                <c:pt idx="2359">
                  <c:v>42961</c:v>
                </c:pt>
                <c:pt idx="2360">
                  <c:v>42962</c:v>
                </c:pt>
                <c:pt idx="2361">
                  <c:v>42963</c:v>
                </c:pt>
                <c:pt idx="2362">
                  <c:v>42964</c:v>
                </c:pt>
                <c:pt idx="2363">
                  <c:v>42965</c:v>
                </c:pt>
                <c:pt idx="2364">
                  <c:v>42968</c:v>
                </c:pt>
                <c:pt idx="2365">
                  <c:v>42969</c:v>
                </c:pt>
                <c:pt idx="2366">
                  <c:v>42970</c:v>
                </c:pt>
                <c:pt idx="2367">
                  <c:v>42971</c:v>
                </c:pt>
                <c:pt idx="2368">
                  <c:v>42972</c:v>
                </c:pt>
                <c:pt idx="2369">
                  <c:v>42975</c:v>
                </c:pt>
                <c:pt idx="2370">
                  <c:v>42976</c:v>
                </c:pt>
                <c:pt idx="2371">
                  <c:v>42977</c:v>
                </c:pt>
                <c:pt idx="2372">
                  <c:v>42978</c:v>
                </c:pt>
                <c:pt idx="2373">
                  <c:v>42979</c:v>
                </c:pt>
                <c:pt idx="2374">
                  <c:v>42982</c:v>
                </c:pt>
                <c:pt idx="2375">
                  <c:v>42983</c:v>
                </c:pt>
                <c:pt idx="2376">
                  <c:v>42984</c:v>
                </c:pt>
                <c:pt idx="2377">
                  <c:v>42985</c:v>
                </c:pt>
                <c:pt idx="2378">
                  <c:v>42986</c:v>
                </c:pt>
                <c:pt idx="2379">
                  <c:v>42989</c:v>
                </c:pt>
                <c:pt idx="2380">
                  <c:v>42990</c:v>
                </c:pt>
                <c:pt idx="2381">
                  <c:v>42991</c:v>
                </c:pt>
                <c:pt idx="2382">
                  <c:v>42992</c:v>
                </c:pt>
                <c:pt idx="2383">
                  <c:v>42993</c:v>
                </c:pt>
                <c:pt idx="2384">
                  <c:v>42996</c:v>
                </c:pt>
                <c:pt idx="2385">
                  <c:v>42997</c:v>
                </c:pt>
                <c:pt idx="2386">
                  <c:v>42998</c:v>
                </c:pt>
                <c:pt idx="2387">
                  <c:v>42999</c:v>
                </c:pt>
                <c:pt idx="2388">
                  <c:v>43000</c:v>
                </c:pt>
                <c:pt idx="2389">
                  <c:v>43003</c:v>
                </c:pt>
                <c:pt idx="2390">
                  <c:v>43004</c:v>
                </c:pt>
                <c:pt idx="2391">
                  <c:v>43005</c:v>
                </c:pt>
                <c:pt idx="2392">
                  <c:v>43006</c:v>
                </c:pt>
                <c:pt idx="2393">
                  <c:v>43007</c:v>
                </c:pt>
                <c:pt idx="2394">
                  <c:v>43017</c:v>
                </c:pt>
                <c:pt idx="2395">
                  <c:v>43018</c:v>
                </c:pt>
                <c:pt idx="2396">
                  <c:v>43019</c:v>
                </c:pt>
                <c:pt idx="2397">
                  <c:v>43020</c:v>
                </c:pt>
                <c:pt idx="2398">
                  <c:v>43021</c:v>
                </c:pt>
                <c:pt idx="2399">
                  <c:v>43024</c:v>
                </c:pt>
                <c:pt idx="2400">
                  <c:v>43025</c:v>
                </c:pt>
                <c:pt idx="2401">
                  <c:v>43026</c:v>
                </c:pt>
                <c:pt idx="2402">
                  <c:v>43027</c:v>
                </c:pt>
                <c:pt idx="2403">
                  <c:v>43028</c:v>
                </c:pt>
                <c:pt idx="2404">
                  <c:v>43031</c:v>
                </c:pt>
                <c:pt idx="2405">
                  <c:v>43032</c:v>
                </c:pt>
                <c:pt idx="2406">
                  <c:v>43033</c:v>
                </c:pt>
                <c:pt idx="2407">
                  <c:v>43034</c:v>
                </c:pt>
                <c:pt idx="2408">
                  <c:v>43035</c:v>
                </c:pt>
                <c:pt idx="2409">
                  <c:v>43038</c:v>
                </c:pt>
                <c:pt idx="2410">
                  <c:v>43039</c:v>
                </c:pt>
                <c:pt idx="2411">
                  <c:v>43040</c:v>
                </c:pt>
                <c:pt idx="2412">
                  <c:v>43041</c:v>
                </c:pt>
                <c:pt idx="2413">
                  <c:v>43042</c:v>
                </c:pt>
                <c:pt idx="2414">
                  <c:v>43045</c:v>
                </c:pt>
                <c:pt idx="2415">
                  <c:v>43046</c:v>
                </c:pt>
                <c:pt idx="2416">
                  <c:v>43047</c:v>
                </c:pt>
                <c:pt idx="2417">
                  <c:v>43048</c:v>
                </c:pt>
                <c:pt idx="2418">
                  <c:v>43049</c:v>
                </c:pt>
                <c:pt idx="2419">
                  <c:v>43052</c:v>
                </c:pt>
                <c:pt idx="2420">
                  <c:v>43053</c:v>
                </c:pt>
                <c:pt idx="2421">
                  <c:v>43054</c:v>
                </c:pt>
                <c:pt idx="2422">
                  <c:v>43055</c:v>
                </c:pt>
                <c:pt idx="2423">
                  <c:v>43056</c:v>
                </c:pt>
                <c:pt idx="2424">
                  <c:v>43059</c:v>
                </c:pt>
                <c:pt idx="2425">
                  <c:v>43060</c:v>
                </c:pt>
                <c:pt idx="2426">
                  <c:v>43061</c:v>
                </c:pt>
                <c:pt idx="2427">
                  <c:v>43062</c:v>
                </c:pt>
                <c:pt idx="2428">
                  <c:v>43063</c:v>
                </c:pt>
                <c:pt idx="2429">
                  <c:v>43066</c:v>
                </c:pt>
                <c:pt idx="2430">
                  <c:v>43067</c:v>
                </c:pt>
                <c:pt idx="2431">
                  <c:v>43068</c:v>
                </c:pt>
                <c:pt idx="2432">
                  <c:v>43069</c:v>
                </c:pt>
                <c:pt idx="2433">
                  <c:v>43070</c:v>
                </c:pt>
                <c:pt idx="2434">
                  <c:v>43073</c:v>
                </c:pt>
                <c:pt idx="2435">
                  <c:v>43074</c:v>
                </c:pt>
                <c:pt idx="2436">
                  <c:v>43075</c:v>
                </c:pt>
                <c:pt idx="2437">
                  <c:v>43076</c:v>
                </c:pt>
                <c:pt idx="2438">
                  <c:v>43077</c:v>
                </c:pt>
                <c:pt idx="2439">
                  <c:v>43080</c:v>
                </c:pt>
                <c:pt idx="2440">
                  <c:v>43081</c:v>
                </c:pt>
                <c:pt idx="2441">
                  <c:v>43082</c:v>
                </c:pt>
                <c:pt idx="2442">
                  <c:v>43083</c:v>
                </c:pt>
                <c:pt idx="2443">
                  <c:v>43084</c:v>
                </c:pt>
                <c:pt idx="2444">
                  <c:v>43087</c:v>
                </c:pt>
                <c:pt idx="2445">
                  <c:v>43088</c:v>
                </c:pt>
                <c:pt idx="2446">
                  <c:v>43089</c:v>
                </c:pt>
                <c:pt idx="2447">
                  <c:v>43090</c:v>
                </c:pt>
                <c:pt idx="2448">
                  <c:v>43091</c:v>
                </c:pt>
                <c:pt idx="2449">
                  <c:v>43094</c:v>
                </c:pt>
                <c:pt idx="2450">
                  <c:v>43095</c:v>
                </c:pt>
                <c:pt idx="2451">
                  <c:v>43096</c:v>
                </c:pt>
                <c:pt idx="2452">
                  <c:v>43097</c:v>
                </c:pt>
                <c:pt idx="2453">
                  <c:v>43098</c:v>
                </c:pt>
                <c:pt idx="2454">
                  <c:v>43102</c:v>
                </c:pt>
                <c:pt idx="2455">
                  <c:v>43103</c:v>
                </c:pt>
                <c:pt idx="2456">
                  <c:v>43104</c:v>
                </c:pt>
                <c:pt idx="2457">
                  <c:v>43105</c:v>
                </c:pt>
                <c:pt idx="2458">
                  <c:v>43108</c:v>
                </c:pt>
                <c:pt idx="2459">
                  <c:v>43109</c:v>
                </c:pt>
                <c:pt idx="2460">
                  <c:v>43110</c:v>
                </c:pt>
                <c:pt idx="2461">
                  <c:v>43111</c:v>
                </c:pt>
                <c:pt idx="2462">
                  <c:v>43112</c:v>
                </c:pt>
                <c:pt idx="2463">
                  <c:v>43115</c:v>
                </c:pt>
                <c:pt idx="2464">
                  <c:v>43116</c:v>
                </c:pt>
                <c:pt idx="2465">
                  <c:v>43117</c:v>
                </c:pt>
                <c:pt idx="2466">
                  <c:v>43118</c:v>
                </c:pt>
                <c:pt idx="2467">
                  <c:v>43119</c:v>
                </c:pt>
                <c:pt idx="2468">
                  <c:v>43122</c:v>
                </c:pt>
                <c:pt idx="2469">
                  <c:v>43123</c:v>
                </c:pt>
                <c:pt idx="2470">
                  <c:v>43124</c:v>
                </c:pt>
                <c:pt idx="2471">
                  <c:v>43125</c:v>
                </c:pt>
                <c:pt idx="2472">
                  <c:v>43126</c:v>
                </c:pt>
                <c:pt idx="2473">
                  <c:v>43129</c:v>
                </c:pt>
                <c:pt idx="2474">
                  <c:v>43130</c:v>
                </c:pt>
                <c:pt idx="2475">
                  <c:v>43131</c:v>
                </c:pt>
                <c:pt idx="2476">
                  <c:v>43132</c:v>
                </c:pt>
                <c:pt idx="2477">
                  <c:v>43133</c:v>
                </c:pt>
                <c:pt idx="2478">
                  <c:v>43136</c:v>
                </c:pt>
                <c:pt idx="2479">
                  <c:v>43137</c:v>
                </c:pt>
                <c:pt idx="2480">
                  <c:v>43138</c:v>
                </c:pt>
                <c:pt idx="2481">
                  <c:v>43139</c:v>
                </c:pt>
                <c:pt idx="2482">
                  <c:v>43140</c:v>
                </c:pt>
                <c:pt idx="2483">
                  <c:v>43143</c:v>
                </c:pt>
                <c:pt idx="2484">
                  <c:v>43144</c:v>
                </c:pt>
                <c:pt idx="2485">
                  <c:v>43145</c:v>
                </c:pt>
                <c:pt idx="2486">
                  <c:v>43153</c:v>
                </c:pt>
                <c:pt idx="2487">
                  <c:v>43154</c:v>
                </c:pt>
                <c:pt idx="2488">
                  <c:v>43157</c:v>
                </c:pt>
                <c:pt idx="2489">
                  <c:v>43158</c:v>
                </c:pt>
                <c:pt idx="2490">
                  <c:v>43159</c:v>
                </c:pt>
                <c:pt idx="2491">
                  <c:v>43160</c:v>
                </c:pt>
                <c:pt idx="2492">
                  <c:v>43161</c:v>
                </c:pt>
                <c:pt idx="2493">
                  <c:v>43164</c:v>
                </c:pt>
                <c:pt idx="2494">
                  <c:v>43165</c:v>
                </c:pt>
                <c:pt idx="2495">
                  <c:v>43166</c:v>
                </c:pt>
                <c:pt idx="2496">
                  <c:v>43167</c:v>
                </c:pt>
                <c:pt idx="2497">
                  <c:v>43168</c:v>
                </c:pt>
                <c:pt idx="2498">
                  <c:v>43171</c:v>
                </c:pt>
                <c:pt idx="2499">
                  <c:v>43172</c:v>
                </c:pt>
                <c:pt idx="2500">
                  <c:v>43173</c:v>
                </c:pt>
                <c:pt idx="2501">
                  <c:v>43174</c:v>
                </c:pt>
                <c:pt idx="2502">
                  <c:v>43175</c:v>
                </c:pt>
                <c:pt idx="2503">
                  <c:v>43178</c:v>
                </c:pt>
                <c:pt idx="2504">
                  <c:v>43179</c:v>
                </c:pt>
                <c:pt idx="2505">
                  <c:v>43180</c:v>
                </c:pt>
                <c:pt idx="2506">
                  <c:v>43181</c:v>
                </c:pt>
                <c:pt idx="2507">
                  <c:v>43182</c:v>
                </c:pt>
                <c:pt idx="2508">
                  <c:v>43185</c:v>
                </c:pt>
                <c:pt idx="2509">
                  <c:v>43186</c:v>
                </c:pt>
                <c:pt idx="2510">
                  <c:v>43187</c:v>
                </c:pt>
                <c:pt idx="2511">
                  <c:v>43188</c:v>
                </c:pt>
                <c:pt idx="2512">
                  <c:v>43189</c:v>
                </c:pt>
                <c:pt idx="2513">
                  <c:v>43192</c:v>
                </c:pt>
                <c:pt idx="2514">
                  <c:v>43193</c:v>
                </c:pt>
                <c:pt idx="2515">
                  <c:v>43194</c:v>
                </c:pt>
                <c:pt idx="2516">
                  <c:v>43199</c:v>
                </c:pt>
                <c:pt idx="2517">
                  <c:v>43200</c:v>
                </c:pt>
                <c:pt idx="2518">
                  <c:v>43201</c:v>
                </c:pt>
                <c:pt idx="2519">
                  <c:v>43202</c:v>
                </c:pt>
                <c:pt idx="2520">
                  <c:v>43203</c:v>
                </c:pt>
                <c:pt idx="2521">
                  <c:v>43206</c:v>
                </c:pt>
                <c:pt idx="2522">
                  <c:v>43207</c:v>
                </c:pt>
                <c:pt idx="2523">
                  <c:v>43208</c:v>
                </c:pt>
                <c:pt idx="2524">
                  <c:v>43209</c:v>
                </c:pt>
                <c:pt idx="2525">
                  <c:v>43210</c:v>
                </c:pt>
                <c:pt idx="2526">
                  <c:v>43213</c:v>
                </c:pt>
                <c:pt idx="2527">
                  <c:v>43214</c:v>
                </c:pt>
                <c:pt idx="2528">
                  <c:v>43215</c:v>
                </c:pt>
                <c:pt idx="2529">
                  <c:v>43216</c:v>
                </c:pt>
                <c:pt idx="2530">
                  <c:v>43217</c:v>
                </c:pt>
                <c:pt idx="2531">
                  <c:v>43222</c:v>
                </c:pt>
                <c:pt idx="2532">
                  <c:v>43223</c:v>
                </c:pt>
                <c:pt idx="2533">
                  <c:v>43224</c:v>
                </c:pt>
                <c:pt idx="2534">
                  <c:v>43227</c:v>
                </c:pt>
                <c:pt idx="2535">
                  <c:v>43228</c:v>
                </c:pt>
                <c:pt idx="2536">
                  <c:v>43229</c:v>
                </c:pt>
                <c:pt idx="2537">
                  <c:v>43230</c:v>
                </c:pt>
                <c:pt idx="2538">
                  <c:v>43231</c:v>
                </c:pt>
                <c:pt idx="2539">
                  <c:v>43234</c:v>
                </c:pt>
                <c:pt idx="2540">
                  <c:v>43235</c:v>
                </c:pt>
                <c:pt idx="2541">
                  <c:v>43236</c:v>
                </c:pt>
                <c:pt idx="2542">
                  <c:v>43237</c:v>
                </c:pt>
                <c:pt idx="2543">
                  <c:v>43238</c:v>
                </c:pt>
                <c:pt idx="2544">
                  <c:v>43241</c:v>
                </c:pt>
                <c:pt idx="2545">
                  <c:v>43242</c:v>
                </c:pt>
                <c:pt idx="2546">
                  <c:v>43243</c:v>
                </c:pt>
                <c:pt idx="2547">
                  <c:v>43244</c:v>
                </c:pt>
                <c:pt idx="2548">
                  <c:v>43245</c:v>
                </c:pt>
                <c:pt idx="2549">
                  <c:v>43248</c:v>
                </c:pt>
                <c:pt idx="2550">
                  <c:v>43249</c:v>
                </c:pt>
                <c:pt idx="2551">
                  <c:v>43250</c:v>
                </c:pt>
                <c:pt idx="2552">
                  <c:v>43251</c:v>
                </c:pt>
                <c:pt idx="2553">
                  <c:v>43252</c:v>
                </c:pt>
                <c:pt idx="2554">
                  <c:v>43255</c:v>
                </c:pt>
                <c:pt idx="2555">
                  <c:v>43256</c:v>
                </c:pt>
                <c:pt idx="2556">
                  <c:v>43257</c:v>
                </c:pt>
                <c:pt idx="2557">
                  <c:v>43258</c:v>
                </c:pt>
                <c:pt idx="2558">
                  <c:v>43259</c:v>
                </c:pt>
                <c:pt idx="2559">
                  <c:v>43262</c:v>
                </c:pt>
                <c:pt idx="2560">
                  <c:v>43263</c:v>
                </c:pt>
                <c:pt idx="2561">
                  <c:v>43264</c:v>
                </c:pt>
                <c:pt idx="2562">
                  <c:v>43265</c:v>
                </c:pt>
                <c:pt idx="2563">
                  <c:v>43266</c:v>
                </c:pt>
                <c:pt idx="2564">
                  <c:v>43270</c:v>
                </c:pt>
                <c:pt idx="2565">
                  <c:v>43271</c:v>
                </c:pt>
                <c:pt idx="2566">
                  <c:v>43272</c:v>
                </c:pt>
                <c:pt idx="2567">
                  <c:v>43273</c:v>
                </c:pt>
                <c:pt idx="2568">
                  <c:v>43276</c:v>
                </c:pt>
                <c:pt idx="2569">
                  <c:v>43277</c:v>
                </c:pt>
                <c:pt idx="2570">
                  <c:v>43278</c:v>
                </c:pt>
                <c:pt idx="2571">
                  <c:v>43279</c:v>
                </c:pt>
                <c:pt idx="2572">
                  <c:v>43280</c:v>
                </c:pt>
                <c:pt idx="2573">
                  <c:v>43283</c:v>
                </c:pt>
                <c:pt idx="2574">
                  <c:v>43284</c:v>
                </c:pt>
                <c:pt idx="2575">
                  <c:v>43285</c:v>
                </c:pt>
                <c:pt idx="2576">
                  <c:v>43286</c:v>
                </c:pt>
                <c:pt idx="2577">
                  <c:v>43287</c:v>
                </c:pt>
                <c:pt idx="2578">
                  <c:v>43290</c:v>
                </c:pt>
                <c:pt idx="2579">
                  <c:v>43291</c:v>
                </c:pt>
                <c:pt idx="2580">
                  <c:v>43292</c:v>
                </c:pt>
                <c:pt idx="2581">
                  <c:v>43293</c:v>
                </c:pt>
                <c:pt idx="2582">
                  <c:v>43294</c:v>
                </c:pt>
                <c:pt idx="2583">
                  <c:v>43297</c:v>
                </c:pt>
                <c:pt idx="2584">
                  <c:v>43298</c:v>
                </c:pt>
                <c:pt idx="2585">
                  <c:v>43299</c:v>
                </c:pt>
                <c:pt idx="2586">
                  <c:v>43300</c:v>
                </c:pt>
                <c:pt idx="2587">
                  <c:v>43301</c:v>
                </c:pt>
                <c:pt idx="2588">
                  <c:v>43304</c:v>
                </c:pt>
                <c:pt idx="2589">
                  <c:v>43305</c:v>
                </c:pt>
                <c:pt idx="2590">
                  <c:v>43306</c:v>
                </c:pt>
                <c:pt idx="2591">
                  <c:v>43307</c:v>
                </c:pt>
                <c:pt idx="2592">
                  <c:v>43308</c:v>
                </c:pt>
                <c:pt idx="2593">
                  <c:v>43311</c:v>
                </c:pt>
                <c:pt idx="2594">
                  <c:v>43312</c:v>
                </c:pt>
                <c:pt idx="2595">
                  <c:v>43313</c:v>
                </c:pt>
                <c:pt idx="2596">
                  <c:v>43314</c:v>
                </c:pt>
                <c:pt idx="2597">
                  <c:v>43315</c:v>
                </c:pt>
                <c:pt idx="2598">
                  <c:v>43318</c:v>
                </c:pt>
                <c:pt idx="2599">
                  <c:v>43319</c:v>
                </c:pt>
                <c:pt idx="2600">
                  <c:v>43320</c:v>
                </c:pt>
                <c:pt idx="2601">
                  <c:v>43321</c:v>
                </c:pt>
                <c:pt idx="2602">
                  <c:v>43322</c:v>
                </c:pt>
                <c:pt idx="2603">
                  <c:v>43325</c:v>
                </c:pt>
                <c:pt idx="2604">
                  <c:v>43326</c:v>
                </c:pt>
                <c:pt idx="2605">
                  <c:v>43327</c:v>
                </c:pt>
                <c:pt idx="2606">
                  <c:v>43328</c:v>
                </c:pt>
                <c:pt idx="2607">
                  <c:v>43329</c:v>
                </c:pt>
                <c:pt idx="2608">
                  <c:v>43332</c:v>
                </c:pt>
                <c:pt idx="2609">
                  <c:v>43333</c:v>
                </c:pt>
                <c:pt idx="2610">
                  <c:v>43334</c:v>
                </c:pt>
                <c:pt idx="2611">
                  <c:v>43335</c:v>
                </c:pt>
                <c:pt idx="2612">
                  <c:v>43336</c:v>
                </c:pt>
                <c:pt idx="2613">
                  <c:v>43339</c:v>
                </c:pt>
                <c:pt idx="2614">
                  <c:v>43340</c:v>
                </c:pt>
                <c:pt idx="2615">
                  <c:v>43341</c:v>
                </c:pt>
                <c:pt idx="2616">
                  <c:v>43342</c:v>
                </c:pt>
                <c:pt idx="2617">
                  <c:v>43343</c:v>
                </c:pt>
                <c:pt idx="2618">
                  <c:v>43346</c:v>
                </c:pt>
                <c:pt idx="2619">
                  <c:v>43347</c:v>
                </c:pt>
                <c:pt idx="2620">
                  <c:v>43348</c:v>
                </c:pt>
                <c:pt idx="2621">
                  <c:v>43349</c:v>
                </c:pt>
                <c:pt idx="2622">
                  <c:v>43350</c:v>
                </c:pt>
                <c:pt idx="2623">
                  <c:v>43353</c:v>
                </c:pt>
                <c:pt idx="2624">
                  <c:v>43354</c:v>
                </c:pt>
                <c:pt idx="2625">
                  <c:v>43355</c:v>
                </c:pt>
                <c:pt idx="2626">
                  <c:v>43356</c:v>
                </c:pt>
                <c:pt idx="2627">
                  <c:v>43357</c:v>
                </c:pt>
                <c:pt idx="2628">
                  <c:v>43360</c:v>
                </c:pt>
                <c:pt idx="2629">
                  <c:v>43361</c:v>
                </c:pt>
                <c:pt idx="2630">
                  <c:v>43362</c:v>
                </c:pt>
                <c:pt idx="2631">
                  <c:v>43363</c:v>
                </c:pt>
                <c:pt idx="2632">
                  <c:v>43364</c:v>
                </c:pt>
                <c:pt idx="2633">
                  <c:v>43368</c:v>
                </c:pt>
                <c:pt idx="2634">
                  <c:v>43369</c:v>
                </c:pt>
                <c:pt idx="2635">
                  <c:v>43370</c:v>
                </c:pt>
                <c:pt idx="2636">
                  <c:v>43371</c:v>
                </c:pt>
                <c:pt idx="2637">
                  <c:v>43381</c:v>
                </c:pt>
                <c:pt idx="2638">
                  <c:v>43382</c:v>
                </c:pt>
                <c:pt idx="2639">
                  <c:v>43383</c:v>
                </c:pt>
                <c:pt idx="2640">
                  <c:v>43384</c:v>
                </c:pt>
                <c:pt idx="2641">
                  <c:v>43385</c:v>
                </c:pt>
                <c:pt idx="2642">
                  <c:v>43388</c:v>
                </c:pt>
                <c:pt idx="2643">
                  <c:v>43389</c:v>
                </c:pt>
                <c:pt idx="2644">
                  <c:v>43390</c:v>
                </c:pt>
                <c:pt idx="2645">
                  <c:v>43391</c:v>
                </c:pt>
                <c:pt idx="2646">
                  <c:v>43392</c:v>
                </c:pt>
                <c:pt idx="2647">
                  <c:v>43395</c:v>
                </c:pt>
                <c:pt idx="2648">
                  <c:v>43396</c:v>
                </c:pt>
                <c:pt idx="2649">
                  <c:v>43397</c:v>
                </c:pt>
                <c:pt idx="2650">
                  <c:v>43398</c:v>
                </c:pt>
                <c:pt idx="2651">
                  <c:v>43399</c:v>
                </c:pt>
                <c:pt idx="2652">
                  <c:v>43402</c:v>
                </c:pt>
                <c:pt idx="2653">
                  <c:v>43403</c:v>
                </c:pt>
                <c:pt idx="2654">
                  <c:v>43404</c:v>
                </c:pt>
                <c:pt idx="2655">
                  <c:v>43405</c:v>
                </c:pt>
                <c:pt idx="2656">
                  <c:v>43406</c:v>
                </c:pt>
                <c:pt idx="2657">
                  <c:v>43409</c:v>
                </c:pt>
                <c:pt idx="2658">
                  <c:v>43410</c:v>
                </c:pt>
                <c:pt idx="2659">
                  <c:v>43411</c:v>
                </c:pt>
                <c:pt idx="2660">
                  <c:v>43412</c:v>
                </c:pt>
                <c:pt idx="2661">
                  <c:v>43413</c:v>
                </c:pt>
                <c:pt idx="2662">
                  <c:v>43416</c:v>
                </c:pt>
                <c:pt idx="2663">
                  <c:v>43417</c:v>
                </c:pt>
                <c:pt idx="2664">
                  <c:v>43418</c:v>
                </c:pt>
                <c:pt idx="2665">
                  <c:v>43419</c:v>
                </c:pt>
                <c:pt idx="2666">
                  <c:v>43420</c:v>
                </c:pt>
                <c:pt idx="2667">
                  <c:v>43423</c:v>
                </c:pt>
                <c:pt idx="2668">
                  <c:v>43424</c:v>
                </c:pt>
                <c:pt idx="2669">
                  <c:v>43425</c:v>
                </c:pt>
                <c:pt idx="2670">
                  <c:v>43426</c:v>
                </c:pt>
                <c:pt idx="2671">
                  <c:v>43427</c:v>
                </c:pt>
                <c:pt idx="2672">
                  <c:v>43430</c:v>
                </c:pt>
                <c:pt idx="2673">
                  <c:v>43431</c:v>
                </c:pt>
                <c:pt idx="2674">
                  <c:v>43432</c:v>
                </c:pt>
                <c:pt idx="2675">
                  <c:v>43433</c:v>
                </c:pt>
                <c:pt idx="2676">
                  <c:v>43434</c:v>
                </c:pt>
                <c:pt idx="2677">
                  <c:v>43437</c:v>
                </c:pt>
                <c:pt idx="2678">
                  <c:v>43438</c:v>
                </c:pt>
                <c:pt idx="2679">
                  <c:v>43439</c:v>
                </c:pt>
                <c:pt idx="2680">
                  <c:v>43440</c:v>
                </c:pt>
                <c:pt idx="2681">
                  <c:v>43441</c:v>
                </c:pt>
                <c:pt idx="2682">
                  <c:v>43444</c:v>
                </c:pt>
                <c:pt idx="2683">
                  <c:v>43445</c:v>
                </c:pt>
                <c:pt idx="2684">
                  <c:v>43446</c:v>
                </c:pt>
                <c:pt idx="2685">
                  <c:v>43447</c:v>
                </c:pt>
                <c:pt idx="2686">
                  <c:v>43448</c:v>
                </c:pt>
                <c:pt idx="2687">
                  <c:v>43451</c:v>
                </c:pt>
                <c:pt idx="2688">
                  <c:v>43452</c:v>
                </c:pt>
                <c:pt idx="2689">
                  <c:v>43453</c:v>
                </c:pt>
                <c:pt idx="2690">
                  <c:v>43454</c:v>
                </c:pt>
                <c:pt idx="2691">
                  <c:v>43455</c:v>
                </c:pt>
                <c:pt idx="2692">
                  <c:v>43458</c:v>
                </c:pt>
                <c:pt idx="2693">
                  <c:v>43459</c:v>
                </c:pt>
                <c:pt idx="2694">
                  <c:v>43460</c:v>
                </c:pt>
                <c:pt idx="2695">
                  <c:v>43461</c:v>
                </c:pt>
                <c:pt idx="2696">
                  <c:v>43462</c:v>
                </c:pt>
                <c:pt idx="2697">
                  <c:v>43467</c:v>
                </c:pt>
                <c:pt idx="2698">
                  <c:v>43468</c:v>
                </c:pt>
                <c:pt idx="2699">
                  <c:v>43469</c:v>
                </c:pt>
                <c:pt idx="2700">
                  <c:v>43472</c:v>
                </c:pt>
                <c:pt idx="2701">
                  <c:v>43473</c:v>
                </c:pt>
                <c:pt idx="2702">
                  <c:v>43474</c:v>
                </c:pt>
                <c:pt idx="2703">
                  <c:v>43475</c:v>
                </c:pt>
                <c:pt idx="2704">
                  <c:v>43476</c:v>
                </c:pt>
                <c:pt idx="2705">
                  <c:v>43479</c:v>
                </c:pt>
                <c:pt idx="2706">
                  <c:v>43480</c:v>
                </c:pt>
                <c:pt idx="2707">
                  <c:v>43481</c:v>
                </c:pt>
                <c:pt idx="2708">
                  <c:v>43482</c:v>
                </c:pt>
                <c:pt idx="2709">
                  <c:v>43483</c:v>
                </c:pt>
                <c:pt idx="2710">
                  <c:v>43486</c:v>
                </c:pt>
                <c:pt idx="2711">
                  <c:v>43487</c:v>
                </c:pt>
                <c:pt idx="2712">
                  <c:v>43488</c:v>
                </c:pt>
                <c:pt idx="2713">
                  <c:v>43489</c:v>
                </c:pt>
                <c:pt idx="2714">
                  <c:v>43490</c:v>
                </c:pt>
                <c:pt idx="2715">
                  <c:v>43493</c:v>
                </c:pt>
                <c:pt idx="2716">
                  <c:v>43494</c:v>
                </c:pt>
                <c:pt idx="2717">
                  <c:v>43495</c:v>
                </c:pt>
                <c:pt idx="2718">
                  <c:v>43496</c:v>
                </c:pt>
                <c:pt idx="2719">
                  <c:v>43497</c:v>
                </c:pt>
                <c:pt idx="2720">
                  <c:v>43507</c:v>
                </c:pt>
                <c:pt idx="2721">
                  <c:v>43508</c:v>
                </c:pt>
                <c:pt idx="2722">
                  <c:v>43509</c:v>
                </c:pt>
                <c:pt idx="2723">
                  <c:v>43510</c:v>
                </c:pt>
                <c:pt idx="2724">
                  <c:v>43511</c:v>
                </c:pt>
                <c:pt idx="2725">
                  <c:v>43514</c:v>
                </c:pt>
                <c:pt idx="2726">
                  <c:v>43515</c:v>
                </c:pt>
                <c:pt idx="2727">
                  <c:v>43516</c:v>
                </c:pt>
                <c:pt idx="2728">
                  <c:v>43517</c:v>
                </c:pt>
                <c:pt idx="2729">
                  <c:v>43518</c:v>
                </c:pt>
                <c:pt idx="2730">
                  <c:v>43521</c:v>
                </c:pt>
                <c:pt idx="2731">
                  <c:v>43522</c:v>
                </c:pt>
                <c:pt idx="2732">
                  <c:v>43523</c:v>
                </c:pt>
                <c:pt idx="2733">
                  <c:v>43524</c:v>
                </c:pt>
                <c:pt idx="2734">
                  <c:v>43525</c:v>
                </c:pt>
                <c:pt idx="2735">
                  <c:v>43528</c:v>
                </c:pt>
                <c:pt idx="2736">
                  <c:v>43529</c:v>
                </c:pt>
                <c:pt idx="2737">
                  <c:v>43530</c:v>
                </c:pt>
                <c:pt idx="2738">
                  <c:v>43531</c:v>
                </c:pt>
                <c:pt idx="2739">
                  <c:v>43532</c:v>
                </c:pt>
                <c:pt idx="2740">
                  <c:v>43535</c:v>
                </c:pt>
                <c:pt idx="2741">
                  <c:v>43536</c:v>
                </c:pt>
                <c:pt idx="2742">
                  <c:v>43537</c:v>
                </c:pt>
                <c:pt idx="2743">
                  <c:v>43538</c:v>
                </c:pt>
                <c:pt idx="2744">
                  <c:v>43539</c:v>
                </c:pt>
                <c:pt idx="2745">
                  <c:v>43542</c:v>
                </c:pt>
                <c:pt idx="2746">
                  <c:v>43543</c:v>
                </c:pt>
                <c:pt idx="2747">
                  <c:v>43544</c:v>
                </c:pt>
                <c:pt idx="2748">
                  <c:v>43545</c:v>
                </c:pt>
                <c:pt idx="2749">
                  <c:v>43546</c:v>
                </c:pt>
                <c:pt idx="2750">
                  <c:v>43549</c:v>
                </c:pt>
                <c:pt idx="2751">
                  <c:v>43550</c:v>
                </c:pt>
                <c:pt idx="2752">
                  <c:v>43551</c:v>
                </c:pt>
                <c:pt idx="2753">
                  <c:v>43552</c:v>
                </c:pt>
                <c:pt idx="2754">
                  <c:v>43553</c:v>
                </c:pt>
                <c:pt idx="2755">
                  <c:v>43556</c:v>
                </c:pt>
                <c:pt idx="2756">
                  <c:v>43557</c:v>
                </c:pt>
                <c:pt idx="2757">
                  <c:v>43558</c:v>
                </c:pt>
                <c:pt idx="2758">
                  <c:v>43559</c:v>
                </c:pt>
                <c:pt idx="2759">
                  <c:v>43563</c:v>
                </c:pt>
                <c:pt idx="2760">
                  <c:v>43564</c:v>
                </c:pt>
                <c:pt idx="2761">
                  <c:v>43565</c:v>
                </c:pt>
                <c:pt idx="2762">
                  <c:v>43566</c:v>
                </c:pt>
                <c:pt idx="2763">
                  <c:v>43567</c:v>
                </c:pt>
                <c:pt idx="2764">
                  <c:v>43570</c:v>
                </c:pt>
                <c:pt idx="2765">
                  <c:v>43571</c:v>
                </c:pt>
                <c:pt idx="2766">
                  <c:v>43572</c:v>
                </c:pt>
                <c:pt idx="2767">
                  <c:v>43573</c:v>
                </c:pt>
                <c:pt idx="2768">
                  <c:v>43574</c:v>
                </c:pt>
                <c:pt idx="2769">
                  <c:v>43577</c:v>
                </c:pt>
                <c:pt idx="2770">
                  <c:v>43578</c:v>
                </c:pt>
                <c:pt idx="2771">
                  <c:v>43579</c:v>
                </c:pt>
                <c:pt idx="2772">
                  <c:v>43580</c:v>
                </c:pt>
                <c:pt idx="2773">
                  <c:v>43581</c:v>
                </c:pt>
                <c:pt idx="2774">
                  <c:v>43584</c:v>
                </c:pt>
                <c:pt idx="2775">
                  <c:v>43585</c:v>
                </c:pt>
                <c:pt idx="2776">
                  <c:v>43591</c:v>
                </c:pt>
                <c:pt idx="2777">
                  <c:v>43592</c:v>
                </c:pt>
                <c:pt idx="2778">
                  <c:v>43593</c:v>
                </c:pt>
                <c:pt idx="2779">
                  <c:v>43594</c:v>
                </c:pt>
                <c:pt idx="2780">
                  <c:v>43595</c:v>
                </c:pt>
                <c:pt idx="2781">
                  <c:v>43598</c:v>
                </c:pt>
                <c:pt idx="2782">
                  <c:v>43599</c:v>
                </c:pt>
                <c:pt idx="2783">
                  <c:v>43600</c:v>
                </c:pt>
                <c:pt idx="2784">
                  <c:v>43601</c:v>
                </c:pt>
                <c:pt idx="2785">
                  <c:v>43602</c:v>
                </c:pt>
                <c:pt idx="2786">
                  <c:v>43605</c:v>
                </c:pt>
                <c:pt idx="2787">
                  <c:v>43606</c:v>
                </c:pt>
                <c:pt idx="2788">
                  <c:v>43607</c:v>
                </c:pt>
                <c:pt idx="2789">
                  <c:v>43608</c:v>
                </c:pt>
                <c:pt idx="2790">
                  <c:v>43609</c:v>
                </c:pt>
                <c:pt idx="2791">
                  <c:v>43612</c:v>
                </c:pt>
                <c:pt idx="2792">
                  <c:v>43613</c:v>
                </c:pt>
                <c:pt idx="2793">
                  <c:v>43614</c:v>
                </c:pt>
                <c:pt idx="2794">
                  <c:v>43615</c:v>
                </c:pt>
                <c:pt idx="2795">
                  <c:v>43616</c:v>
                </c:pt>
                <c:pt idx="2796">
                  <c:v>43619</c:v>
                </c:pt>
                <c:pt idx="2797">
                  <c:v>43620</c:v>
                </c:pt>
                <c:pt idx="2798">
                  <c:v>43621</c:v>
                </c:pt>
                <c:pt idx="2799">
                  <c:v>43622</c:v>
                </c:pt>
                <c:pt idx="2800">
                  <c:v>43626</c:v>
                </c:pt>
                <c:pt idx="2801">
                  <c:v>43627</c:v>
                </c:pt>
                <c:pt idx="2802">
                  <c:v>43628</c:v>
                </c:pt>
                <c:pt idx="2803">
                  <c:v>43629</c:v>
                </c:pt>
                <c:pt idx="2804">
                  <c:v>43630</c:v>
                </c:pt>
                <c:pt idx="2805">
                  <c:v>43633</c:v>
                </c:pt>
                <c:pt idx="2806">
                  <c:v>43634</c:v>
                </c:pt>
                <c:pt idx="2807">
                  <c:v>43635</c:v>
                </c:pt>
                <c:pt idx="2808">
                  <c:v>43636</c:v>
                </c:pt>
                <c:pt idx="2809">
                  <c:v>43637</c:v>
                </c:pt>
                <c:pt idx="2810">
                  <c:v>43640</c:v>
                </c:pt>
                <c:pt idx="2811">
                  <c:v>43641</c:v>
                </c:pt>
                <c:pt idx="2812">
                  <c:v>43642</c:v>
                </c:pt>
                <c:pt idx="2813">
                  <c:v>43643</c:v>
                </c:pt>
                <c:pt idx="2814">
                  <c:v>43644</c:v>
                </c:pt>
                <c:pt idx="2815">
                  <c:v>43647</c:v>
                </c:pt>
                <c:pt idx="2816">
                  <c:v>43648</c:v>
                </c:pt>
                <c:pt idx="2817">
                  <c:v>43649</c:v>
                </c:pt>
                <c:pt idx="2818">
                  <c:v>43650</c:v>
                </c:pt>
                <c:pt idx="2819">
                  <c:v>43651</c:v>
                </c:pt>
                <c:pt idx="2820">
                  <c:v>43654</c:v>
                </c:pt>
                <c:pt idx="2821">
                  <c:v>43655</c:v>
                </c:pt>
                <c:pt idx="2822">
                  <c:v>43656</c:v>
                </c:pt>
                <c:pt idx="2823">
                  <c:v>43657</c:v>
                </c:pt>
                <c:pt idx="2824">
                  <c:v>43658</c:v>
                </c:pt>
                <c:pt idx="2825">
                  <c:v>43661</c:v>
                </c:pt>
                <c:pt idx="2826">
                  <c:v>43662</c:v>
                </c:pt>
                <c:pt idx="2827">
                  <c:v>43663</c:v>
                </c:pt>
                <c:pt idx="2828">
                  <c:v>43664</c:v>
                </c:pt>
                <c:pt idx="2829">
                  <c:v>43665</c:v>
                </c:pt>
                <c:pt idx="2830">
                  <c:v>43668</c:v>
                </c:pt>
                <c:pt idx="2831">
                  <c:v>43669</c:v>
                </c:pt>
                <c:pt idx="2832">
                  <c:v>43670</c:v>
                </c:pt>
                <c:pt idx="2833">
                  <c:v>43671</c:v>
                </c:pt>
                <c:pt idx="2834">
                  <c:v>43672</c:v>
                </c:pt>
                <c:pt idx="2835">
                  <c:v>43675</c:v>
                </c:pt>
                <c:pt idx="2836">
                  <c:v>43676</c:v>
                </c:pt>
                <c:pt idx="2837">
                  <c:v>43677</c:v>
                </c:pt>
                <c:pt idx="2838">
                  <c:v>43678</c:v>
                </c:pt>
                <c:pt idx="2839">
                  <c:v>43679</c:v>
                </c:pt>
                <c:pt idx="2840">
                  <c:v>43682</c:v>
                </c:pt>
                <c:pt idx="2841">
                  <c:v>43683</c:v>
                </c:pt>
                <c:pt idx="2842">
                  <c:v>43684</c:v>
                </c:pt>
                <c:pt idx="2843">
                  <c:v>43685</c:v>
                </c:pt>
                <c:pt idx="2844">
                  <c:v>43686</c:v>
                </c:pt>
                <c:pt idx="2845">
                  <c:v>43689</c:v>
                </c:pt>
                <c:pt idx="2846">
                  <c:v>43690</c:v>
                </c:pt>
                <c:pt idx="2847">
                  <c:v>43691</c:v>
                </c:pt>
                <c:pt idx="2848">
                  <c:v>43692</c:v>
                </c:pt>
                <c:pt idx="2849">
                  <c:v>43693</c:v>
                </c:pt>
                <c:pt idx="2850">
                  <c:v>43696</c:v>
                </c:pt>
                <c:pt idx="2851">
                  <c:v>43697</c:v>
                </c:pt>
                <c:pt idx="2852">
                  <c:v>43698</c:v>
                </c:pt>
                <c:pt idx="2853">
                  <c:v>43699</c:v>
                </c:pt>
                <c:pt idx="2854">
                  <c:v>43700</c:v>
                </c:pt>
                <c:pt idx="2855">
                  <c:v>43703</c:v>
                </c:pt>
                <c:pt idx="2856">
                  <c:v>43704</c:v>
                </c:pt>
                <c:pt idx="2857">
                  <c:v>43705</c:v>
                </c:pt>
                <c:pt idx="2858">
                  <c:v>43706</c:v>
                </c:pt>
                <c:pt idx="2859">
                  <c:v>43707</c:v>
                </c:pt>
                <c:pt idx="2860">
                  <c:v>43710</c:v>
                </c:pt>
                <c:pt idx="2861">
                  <c:v>43711</c:v>
                </c:pt>
                <c:pt idx="2862">
                  <c:v>43712</c:v>
                </c:pt>
                <c:pt idx="2863">
                  <c:v>43713</c:v>
                </c:pt>
                <c:pt idx="2864">
                  <c:v>43714</c:v>
                </c:pt>
                <c:pt idx="2865">
                  <c:v>43717</c:v>
                </c:pt>
                <c:pt idx="2866">
                  <c:v>43718</c:v>
                </c:pt>
                <c:pt idx="2867">
                  <c:v>43719</c:v>
                </c:pt>
                <c:pt idx="2868">
                  <c:v>43720</c:v>
                </c:pt>
                <c:pt idx="2869">
                  <c:v>43724</c:v>
                </c:pt>
                <c:pt idx="2870">
                  <c:v>43725</c:v>
                </c:pt>
                <c:pt idx="2871">
                  <c:v>43726</c:v>
                </c:pt>
                <c:pt idx="2872">
                  <c:v>43727</c:v>
                </c:pt>
                <c:pt idx="2873">
                  <c:v>43728</c:v>
                </c:pt>
                <c:pt idx="2874">
                  <c:v>43731</c:v>
                </c:pt>
                <c:pt idx="2875">
                  <c:v>43732</c:v>
                </c:pt>
                <c:pt idx="2876">
                  <c:v>43733</c:v>
                </c:pt>
                <c:pt idx="2877">
                  <c:v>43734</c:v>
                </c:pt>
                <c:pt idx="2878">
                  <c:v>43735</c:v>
                </c:pt>
                <c:pt idx="2879">
                  <c:v>43738</c:v>
                </c:pt>
                <c:pt idx="2880">
                  <c:v>43746</c:v>
                </c:pt>
                <c:pt idx="2881">
                  <c:v>43747</c:v>
                </c:pt>
                <c:pt idx="2882">
                  <c:v>43748</c:v>
                </c:pt>
                <c:pt idx="2883">
                  <c:v>43749</c:v>
                </c:pt>
                <c:pt idx="2884">
                  <c:v>43752</c:v>
                </c:pt>
                <c:pt idx="2885">
                  <c:v>43753</c:v>
                </c:pt>
                <c:pt idx="2886">
                  <c:v>43754</c:v>
                </c:pt>
                <c:pt idx="2887">
                  <c:v>43755</c:v>
                </c:pt>
                <c:pt idx="2888">
                  <c:v>43756</c:v>
                </c:pt>
                <c:pt idx="2889">
                  <c:v>43759</c:v>
                </c:pt>
                <c:pt idx="2890">
                  <c:v>43760</c:v>
                </c:pt>
                <c:pt idx="2891">
                  <c:v>43761</c:v>
                </c:pt>
                <c:pt idx="2892">
                  <c:v>43762</c:v>
                </c:pt>
                <c:pt idx="2893">
                  <c:v>43763</c:v>
                </c:pt>
                <c:pt idx="2894">
                  <c:v>43766</c:v>
                </c:pt>
                <c:pt idx="2895">
                  <c:v>43767</c:v>
                </c:pt>
                <c:pt idx="2896">
                  <c:v>43768</c:v>
                </c:pt>
                <c:pt idx="2897">
                  <c:v>43769</c:v>
                </c:pt>
                <c:pt idx="2898">
                  <c:v>43770</c:v>
                </c:pt>
                <c:pt idx="2899">
                  <c:v>43773</c:v>
                </c:pt>
                <c:pt idx="2900">
                  <c:v>43774</c:v>
                </c:pt>
                <c:pt idx="2901">
                  <c:v>43775</c:v>
                </c:pt>
                <c:pt idx="2902">
                  <c:v>43776</c:v>
                </c:pt>
                <c:pt idx="2903">
                  <c:v>43777</c:v>
                </c:pt>
                <c:pt idx="2904">
                  <c:v>43780</c:v>
                </c:pt>
                <c:pt idx="2905">
                  <c:v>43781</c:v>
                </c:pt>
                <c:pt idx="2906">
                  <c:v>43782</c:v>
                </c:pt>
                <c:pt idx="2907">
                  <c:v>43783</c:v>
                </c:pt>
                <c:pt idx="2908">
                  <c:v>43784</c:v>
                </c:pt>
                <c:pt idx="2909">
                  <c:v>43787</c:v>
                </c:pt>
                <c:pt idx="2910">
                  <c:v>43788</c:v>
                </c:pt>
                <c:pt idx="2911">
                  <c:v>43789</c:v>
                </c:pt>
                <c:pt idx="2912">
                  <c:v>43790</c:v>
                </c:pt>
                <c:pt idx="2913">
                  <c:v>43791</c:v>
                </c:pt>
                <c:pt idx="2914">
                  <c:v>43794</c:v>
                </c:pt>
                <c:pt idx="2915">
                  <c:v>43795</c:v>
                </c:pt>
                <c:pt idx="2916">
                  <c:v>43796</c:v>
                </c:pt>
                <c:pt idx="2917">
                  <c:v>43797</c:v>
                </c:pt>
                <c:pt idx="2918">
                  <c:v>43798</c:v>
                </c:pt>
                <c:pt idx="2919">
                  <c:v>43801</c:v>
                </c:pt>
                <c:pt idx="2920">
                  <c:v>43802</c:v>
                </c:pt>
                <c:pt idx="2921">
                  <c:v>43803</c:v>
                </c:pt>
                <c:pt idx="2922">
                  <c:v>43804</c:v>
                </c:pt>
                <c:pt idx="2923">
                  <c:v>43805</c:v>
                </c:pt>
                <c:pt idx="2924">
                  <c:v>43808</c:v>
                </c:pt>
                <c:pt idx="2925">
                  <c:v>43809</c:v>
                </c:pt>
                <c:pt idx="2926">
                  <c:v>43810</c:v>
                </c:pt>
                <c:pt idx="2927">
                  <c:v>43811</c:v>
                </c:pt>
                <c:pt idx="2928">
                  <c:v>43812</c:v>
                </c:pt>
                <c:pt idx="2929">
                  <c:v>43815</c:v>
                </c:pt>
                <c:pt idx="2930">
                  <c:v>43816</c:v>
                </c:pt>
                <c:pt idx="2931">
                  <c:v>43817</c:v>
                </c:pt>
                <c:pt idx="2932">
                  <c:v>43818</c:v>
                </c:pt>
                <c:pt idx="2933">
                  <c:v>43819</c:v>
                </c:pt>
                <c:pt idx="2934">
                  <c:v>43822</c:v>
                </c:pt>
                <c:pt idx="2935">
                  <c:v>43823</c:v>
                </c:pt>
                <c:pt idx="2936">
                  <c:v>43824</c:v>
                </c:pt>
                <c:pt idx="2937">
                  <c:v>43825</c:v>
                </c:pt>
                <c:pt idx="2938">
                  <c:v>43826</c:v>
                </c:pt>
                <c:pt idx="2939">
                  <c:v>43829</c:v>
                </c:pt>
                <c:pt idx="2940">
                  <c:v>43830</c:v>
                </c:pt>
                <c:pt idx="2941">
                  <c:v>43832</c:v>
                </c:pt>
                <c:pt idx="2942">
                  <c:v>43833</c:v>
                </c:pt>
                <c:pt idx="2943">
                  <c:v>43836</c:v>
                </c:pt>
                <c:pt idx="2944">
                  <c:v>43837</c:v>
                </c:pt>
                <c:pt idx="2945">
                  <c:v>43838</c:v>
                </c:pt>
                <c:pt idx="2946">
                  <c:v>43839</c:v>
                </c:pt>
                <c:pt idx="2947">
                  <c:v>43840</c:v>
                </c:pt>
                <c:pt idx="2948">
                  <c:v>43843</c:v>
                </c:pt>
                <c:pt idx="2949">
                  <c:v>43844</c:v>
                </c:pt>
                <c:pt idx="2950">
                  <c:v>43845</c:v>
                </c:pt>
                <c:pt idx="2951">
                  <c:v>43846</c:v>
                </c:pt>
                <c:pt idx="2952">
                  <c:v>43847</c:v>
                </c:pt>
                <c:pt idx="2953">
                  <c:v>43850</c:v>
                </c:pt>
                <c:pt idx="2954">
                  <c:v>43851</c:v>
                </c:pt>
                <c:pt idx="2955">
                  <c:v>43852</c:v>
                </c:pt>
                <c:pt idx="2956">
                  <c:v>43853</c:v>
                </c:pt>
                <c:pt idx="2957">
                  <c:v>43864</c:v>
                </c:pt>
                <c:pt idx="2958">
                  <c:v>43865</c:v>
                </c:pt>
                <c:pt idx="2959">
                  <c:v>43866</c:v>
                </c:pt>
                <c:pt idx="2960">
                  <c:v>43867</c:v>
                </c:pt>
                <c:pt idx="2961">
                  <c:v>43868</c:v>
                </c:pt>
                <c:pt idx="2962">
                  <c:v>43871</c:v>
                </c:pt>
                <c:pt idx="2963">
                  <c:v>43872</c:v>
                </c:pt>
                <c:pt idx="2964">
                  <c:v>43873</c:v>
                </c:pt>
                <c:pt idx="2965">
                  <c:v>43874</c:v>
                </c:pt>
                <c:pt idx="2966">
                  <c:v>43875</c:v>
                </c:pt>
                <c:pt idx="2967">
                  <c:v>43878</c:v>
                </c:pt>
                <c:pt idx="2968">
                  <c:v>43879</c:v>
                </c:pt>
                <c:pt idx="2969">
                  <c:v>43880</c:v>
                </c:pt>
                <c:pt idx="2970">
                  <c:v>43881</c:v>
                </c:pt>
                <c:pt idx="2971">
                  <c:v>43882</c:v>
                </c:pt>
                <c:pt idx="2972">
                  <c:v>43885</c:v>
                </c:pt>
                <c:pt idx="2973">
                  <c:v>43886</c:v>
                </c:pt>
                <c:pt idx="2974">
                  <c:v>43887</c:v>
                </c:pt>
                <c:pt idx="2975">
                  <c:v>43888</c:v>
                </c:pt>
                <c:pt idx="2976">
                  <c:v>43889</c:v>
                </c:pt>
                <c:pt idx="2977">
                  <c:v>43892</c:v>
                </c:pt>
                <c:pt idx="2978">
                  <c:v>43893</c:v>
                </c:pt>
                <c:pt idx="2979">
                  <c:v>43894</c:v>
                </c:pt>
                <c:pt idx="2980">
                  <c:v>43895</c:v>
                </c:pt>
                <c:pt idx="2981">
                  <c:v>43896</c:v>
                </c:pt>
                <c:pt idx="2982">
                  <c:v>43899</c:v>
                </c:pt>
                <c:pt idx="2983">
                  <c:v>43900</c:v>
                </c:pt>
                <c:pt idx="2984">
                  <c:v>43901</c:v>
                </c:pt>
                <c:pt idx="2985">
                  <c:v>43902</c:v>
                </c:pt>
                <c:pt idx="2986">
                  <c:v>43903</c:v>
                </c:pt>
                <c:pt idx="2987">
                  <c:v>43906</c:v>
                </c:pt>
                <c:pt idx="2988">
                  <c:v>43907</c:v>
                </c:pt>
                <c:pt idx="2989">
                  <c:v>43908</c:v>
                </c:pt>
                <c:pt idx="2990">
                  <c:v>43909</c:v>
                </c:pt>
                <c:pt idx="2991">
                  <c:v>43910</c:v>
                </c:pt>
                <c:pt idx="2992">
                  <c:v>43913</c:v>
                </c:pt>
                <c:pt idx="2993">
                  <c:v>43914</c:v>
                </c:pt>
                <c:pt idx="2994">
                  <c:v>43915</c:v>
                </c:pt>
                <c:pt idx="2995">
                  <c:v>43916</c:v>
                </c:pt>
                <c:pt idx="2996">
                  <c:v>43917</c:v>
                </c:pt>
                <c:pt idx="2997">
                  <c:v>43920</c:v>
                </c:pt>
                <c:pt idx="2998">
                  <c:v>43921</c:v>
                </c:pt>
                <c:pt idx="2999">
                  <c:v>43922</c:v>
                </c:pt>
                <c:pt idx="3000">
                  <c:v>43923</c:v>
                </c:pt>
                <c:pt idx="3001">
                  <c:v>43924</c:v>
                </c:pt>
                <c:pt idx="3002">
                  <c:v>43928</c:v>
                </c:pt>
                <c:pt idx="3003">
                  <c:v>43929</c:v>
                </c:pt>
                <c:pt idx="3004">
                  <c:v>43930</c:v>
                </c:pt>
                <c:pt idx="3005">
                  <c:v>43931</c:v>
                </c:pt>
                <c:pt idx="3006">
                  <c:v>43934</c:v>
                </c:pt>
                <c:pt idx="3007">
                  <c:v>43935</c:v>
                </c:pt>
                <c:pt idx="3008">
                  <c:v>43936</c:v>
                </c:pt>
                <c:pt idx="3009">
                  <c:v>43937</c:v>
                </c:pt>
                <c:pt idx="3010">
                  <c:v>43938</c:v>
                </c:pt>
                <c:pt idx="3011">
                  <c:v>43941</c:v>
                </c:pt>
                <c:pt idx="3012">
                  <c:v>43942</c:v>
                </c:pt>
                <c:pt idx="3013">
                  <c:v>43943</c:v>
                </c:pt>
                <c:pt idx="3014">
                  <c:v>43944</c:v>
                </c:pt>
                <c:pt idx="3015">
                  <c:v>43945</c:v>
                </c:pt>
                <c:pt idx="3016">
                  <c:v>43948</c:v>
                </c:pt>
                <c:pt idx="3017">
                  <c:v>43949</c:v>
                </c:pt>
                <c:pt idx="3018">
                  <c:v>43950</c:v>
                </c:pt>
                <c:pt idx="3019">
                  <c:v>43951</c:v>
                </c:pt>
                <c:pt idx="3020">
                  <c:v>43957</c:v>
                </c:pt>
                <c:pt idx="3021">
                  <c:v>43958</c:v>
                </c:pt>
                <c:pt idx="3022">
                  <c:v>43959</c:v>
                </c:pt>
                <c:pt idx="3023">
                  <c:v>43962</c:v>
                </c:pt>
                <c:pt idx="3024">
                  <c:v>43963</c:v>
                </c:pt>
                <c:pt idx="3025">
                  <c:v>43964</c:v>
                </c:pt>
                <c:pt idx="3026">
                  <c:v>43965</c:v>
                </c:pt>
                <c:pt idx="3027">
                  <c:v>43966</c:v>
                </c:pt>
                <c:pt idx="3028">
                  <c:v>43969</c:v>
                </c:pt>
                <c:pt idx="3029">
                  <c:v>43970</c:v>
                </c:pt>
                <c:pt idx="3030">
                  <c:v>43971</c:v>
                </c:pt>
                <c:pt idx="3031">
                  <c:v>43972</c:v>
                </c:pt>
                <c:pt idx="3032">
                  <c:v>43973</c:v>
                </c:pt>
                <c:pt idx="3033">
                  <c:v>43976</c:v>
                </c:pt>
                <c:pt idx="3034">
                  <c:v>43977</c:v>
                </c:pt>
                <c:pt idx="3035">
                  <c:v>43978</c:v>
                </c:pt>
                <c:pt idx="3036">
                  <c:v>43979</c:v>
                </c:pt>
                <c:pt idx="3037">
                  <c:v>43980</c:v>
                </c:pt>
                <c:pt idx="3038">
                  <c:v>43983</c:v>
                </c:pt>
                <c:pt idx="3039">
                  <c:v>43984</c:v>
                </c:pt>
                <c:pt idx="3040">
                  <c:v>43985</c:v>
                </c:pt>
                <c:pt idx="3041">
                  <c:v>43986</c:v>
                </c:pt>
                <c:pt idx="3042">
                  <c:v>43987</c:v>
                </c:pt>
                <c:pt idx="3043">
                  <c:v>43990</c:v>
                </c:pt>
                <c:pt idx="3044">
                  <c:v>43991</c:v>
                </c:pt>
                <c:pt idx="3045">
                  <c:v>43992</c:v>
                </c:pt>
                <c:pt idx="3046">
                  <c:v>43993</c:v>
                </c:pt>
                <c:pt idx="3047">
                  <c:v>43994</c:v>
                </c:pt>
                <c:pt idx="3048">
                  <c:v>43997</c:v>
                </c:pt>
                <c:pt idx="3049">
                  <c:v>43998</c:v>
                </c:pt>
                <c:pt idx="3050">
                  <c:v>43999</c:v>
                </c:pt>
                <c:pt idx="3051">
                  <c:v>44000</c:v>
                </c:pt>
                <c:pt idx="3052">
                  <c:v>44001</c:v>
                </c:pt>
                <c:pt idx="3053">
                  <c:v>44004</c:v>
                </c:pt>
                <c:pt idx="3054">
                  <c:v>44005</c:v>
                </c:pt>
                <c:pt idx="3055">
                  <c:v>44006</c:v>
                </c:pt>
                <c:pt idx="3056">
                  <c:v>44011</c:v>
                </c:pt>
                <c:pt idx="3057">
                  <c:v>44012</c:v>
                </c:pt>
                <c:pt idx="3058">
                  <c:v>44013</c:v>
                </c:pt>
                <c:pt idx="3059">
                  <c:v>44014</c:v>
                </c:pt>
                <c:pt idx="3060">
                  <c:v>44015</c:v>
                </c:pt>
                <c:pt idx="3061">
                  <c:v>44018</c:v>
                </c:pt>
                <c:pt idx="3062">
                  <c:v>44019</c:v>
                </c:pt>
                <c:pt idx="3063">
                  <c:v>44020</c:v>
                </c:pt>
                <c:pt idx="3064">
                  <c:v>44021</c:v>
                </c:pt>
                <c:pt idx="3065">
                  <c:v>44022</c:v>
                </c:pt>
                <c:pt idx="3066">
                  <c:v>44025</c:v>
                </c:pt>
                <c:pt idx="3067">
                  <c:v>44026</c:v>
                </c:pt>
              </c:numCache>
            </c:numRef>
          </c:cat>
          <c:val>
            <c:numRef>
              <c:f>Wind!$G$3:$G$3070</c:f>
            </c:numRef>
          </c:val>
          <c:extLst>
            <c:ext xmlns:c16="http://schemas.microsoft.com/office/drawing/2014/chart" uri="{C3380CC4-5D6E-409C-BE32-E72D297353CC}">
              <c16:uniqueId val="{00000000-F5DB-48C1-A897-55CC3048A01F}"/>
            </c:ext>
          </c:extLst>
        </c:ser>
        <c:dLbls>
          <c:showLegendKey val="0"/>
          <c:showVal val="0"/>
          <c:showCatName val="0"/>
          <c:showSerName val="0"/>
          <c:showPercent val="0"/>
          <c:showBubbleSize val="0"/>
        </c:dLbls>
        <c:gapWidth val="150"/>
        <c:axId val="659855344"/>
        <c:axId val="1"/>
      </c:barChart>
      <c:lineChart>
        <c:grouping val="standard"/>
        <c:varyColors val="0"/>
        <c:ser>
          <c:idx val="2"/>
          <c:order val="2"/>
          <c:tx>
            <c:strRef>
              <c:f>Wind!$H$2</c:f>
              <c:strCache>
                <c:ptCount val="1"/>
                <c:pt idx="0">
                  <c:v>CSI 300 total return</c:v>
                </c:pt>
              </c:strCache>
            </c:strRef>
          </c:tx>
          <c:spPr>
            <a:ln w="28575" cap="rnd">
              <a:solidFill>
                <a:schemeClr val="accent3"/>
              </a:solidFill>
              <a:round/>
            </a:ln>
            <a:effectLst/>
          </c:spPr>
          <c:marker>
            <c:symbol val="none"/>
          </c:marker>
          <c:cat>
            <c:numRef>
              <c:f>Wind!$E$3:$E$3070</c:f>
              <c:numCache>
                <c:formatCode>yyyy\-mm\-dd</c:formatCode>
                <c:ptCount val="3068"/>
                <c:pt idx="0" formatCode="m/d/yyyy">
                  <c:v>39419</c:v>
                </c:pt>
                <c:pt idx="1">
                  <c:v>39420</c:v>
                </c:pt>
                <c:pt idx="2">
                  <c:v>39421</c:v>
                </c:pt>
                <c:pt idx="3">
                  <c:v>39422</c:v>
                </c:pt>
                <c:pt idx="4">
                  <c:v>39423</c:v>
                </c:pt>
                <c:pt idx="5">
                  <c:v>39426</c:v>
                </c:pt>
                <c:pt idx="6">
                  <c:v>39427</c:v>
                </c:pt>
                <c:pt idx="7">
                  <c:v>39428</c:v>
                </c:pt>
                <c:pt idx="8">
                  <c:v>39429</c:v>
                </c:pt>
                <c:pt idx="9">
                  <c:v>39430</c:v>
                </c:pt>
                <c:pt idx="10">
                  <c:v>39433</c:v>
                </c:pt>
                <c:pt idx="11">
                  <c:v>39434</c:v>
                </c:pt>
                <c:pt idx="12">
                  <c:v>39435</c:v>
                </c:pt>
                <c:pt idx="13">
                  <c:v>39436</c:v>
                </c:pt>
                <c:pt idx="14">
                  <c:v>39437</c:v>
                </c:pt>
                <c:pt idx="15">
                  <c:v>39440</c:v>
                </c:pt>
                <c:pt idx="16">
                  <c:v>39441</c:v>
                </c:pt>
                <c:pt idx="17">
                  <c:v>39442</c:v>
                </c:pt>
                <c:pt idx="18">
                  <c:v>39443</c:v>
                </c:pt>
                <c:pt idx="19">
                  <c:v>39444</c:v>
                </c:pt>
                <c:pt idx="20">
                  <c:v>39449</c:v>
                </c:pt>
                <c:pt idx="21">
                  <c:v>39450</c:v>
                </c:pt>
                <c:pt idx="22">
                  <c:v>39451</c:v>
                </c:pt>
                <c:pt idx="23">
                  <c:v>39454</c:v>
                </c:pt>
                <c:pt idx="24">
                  <c:v>39455</c:v>
                </c:pt>
                <c:pt idx="25">
                  <c:v>39456</c:v>
                </c:pt>
                <c:pt idx="26">
                  <c:v>39457</c:v>
                </c:pt>
                <c:pt idx="27">
                  <c:v>39458</c:v>
                </c:pt>
                <c:pt idx="28">
                  <c:v>39461</c:v>
                </c:pt>
                <c:pt idx="29">
                  <c:v>39462</c:v>
                </c:pt>
                <c:pt idx="30">
                  <c:v>39463</c:v>
                </c:pt>
                <c:pt idx="31">
                  <c:v>39464</c:v>
                </c:pt>
                <c:pt idx="32">
                  <c:v>39465</c:v>
                </c:pt>
                <c:pt idx="33">
                  <c:v>39468</c:v>
                </c:pt>
                <c:pt idx="34">
                  <c:v>39469</c:v>
                </c:pt>
                <c:pt idx="35">
                  <c:v>39470</c:v>
                </c:pt>
                <c:pt idx="36">
                  <c:v>39471</c:v>
                </c:pt>
                <c:pt idx="37">
                  <c:v>39472</c:v>
                </c:pt>
                <c:pt idx="38">
                  <c:v>39475</c:v>
                </c:pt>
                <c:pt idx="39">
                  <c:v>39476</c:v>
                </c:pt>
                <c:pt idx="40">
                  <c:v>39477</c:v>
                </c:pt>
                <c:pt idx="41">
                  <c:v>39478</c:v>
                </c:pt>
                <c:pt idx="42">
                  <c:v>39479</c:v>
                </c:pt>
                <c:pt idx="43">
                  <c:v>39482</c:v>
                </c:pt>
                <c:pt idx="44">
                  <c:v>39483</c:v>
                </c:pt>
                <c:pt idx="45">
                  <c:v>39491</c:v>
                </c:pt>
                <c:pt idx="46">
                  <c:v>39492</c:v>
                </c:pt>
                <c:pt idx="47">
                  <c:v>39493</c:v>
                </c:pt>
                <c:pt idx="48">
                  <c:v>39496</c:v>
                </c:pt>
                <c:pt idx="49">
                  <c:v>39497</c:v>
                </c:pt>
                <c:pt idx="50">
                  <c:v>39498</c:v>
                </c:pt>
                <c:pt idx="51">
                  <c:v>39499</c:v>
                </c:pt>
                <c:pt idx="52">
                  <c:v>39500</c:v>
                </c:pt>
                <c:pt idx="53">
                  <c:v>39503</c:v>
                </c:pt>
                <c:pt idx="54">
                  <c:v>39504</c:v>
                </c:pt>
                <c:pt idx="55">
                  <c:v>39505</c:v>
                </c:pt>
                <c:pt idx="56">
                  <c:v>39506</c:v>
                </c:pt>
                <c:pt idx="57">
                  <c:v>39507</c:v>
                </c:pt>
                <c:pt idx="58">
                  <c:v>39510</c:v>
                </c:pt>
                <c:pt idx="59">
                  <c:v>39511</c:v>
                </c:pt>
                <c:pt idx="60">
                  <c:v>39512</c:v>
                </c:pt>
                <c:pt idx="61">
                  <c:v>39513</c:v>
                </c:pt>
                <c:pt idx="62">
                  <c:v>39514</c:v>
                </c:pt>
                <c:pt idx="63">
                  <c:v>39517</c:v>
                </c:pt>
                <c:pt idx="64">
                  <c:v>39518</c:v>
                </c:pt>
                <c:pt idx="65">
                  <c:v>39519</c:v>
                </c:pt>
                <c:pt idx="66">
                  <c:v>39520</c:v>
                </c:pt>
                <c:pt idx="67">
                  <c:v>39521</c:v>
                </c:pt>
                <c:pt idx="68">
                  <c:v>39524</c:v>
                </c:pt>
                <c:pt idx="69">
                  <c:v>39525</c:v>
                </c:pt>
                <c:pt idx="70">
                  <c:v>39526</c:v>
                </c:pt>
                <c:pt idx="71">
                  <c:v>39527</c:v>
                </c:pt>
                <c:pt idx="72">
                  <c:v>39528</c:v>
                </c:pt>
                <c:pt idx="73">
                  <c:v>39531</c:v>
                </c:pt>
                <c:pt idx="74">
                  <c:v>39532</c:v>
                </c:pt>
                <c:pt idx="75">
                  <c:v>39533</c:v>
                </c:pt>
                <c:pt idx="76">
                  <c:v>39534</c:v>
                </c:pt>
                <c:pt idx="77">
                  <c:v>39535</c:v>
                </c:pt>
                <c:pt idx="78">
                  <c:v>39538</c:v>
                </c:pt>
                <c:pt idx="79">
                  <c:v>39539</c:v>
                </c:pt>
                <c:pt idx="80">
                  <c:v>39540</c:v>
                </c:pt>
                <c:pt idx="81">
                  <c:v>39541</c:v>
                </c:pt>
                <c:pt idx="82">
                  <c:v>39545</c:v>
                </c:pt>
                <c:pt idx="83">
                  <c:v>39546</c:v>
                </c:pt>
                <c:pt idx="84">
                  <c:v>39547</c:v>
                </c:pt>
                <c:pt idx="85">
                  <c:v>39548</c:v>
                </c:pt>
                <c:pt idx="86">
                  <c:v>39549</c:v>
                </c:pt>
                <c:pt idx="87">
                  <c:v>39552</c:v>
                </c:pt>
                <c:pt idx="88">
                  <c:v>39553</c:v>
                </c:pt>
                <c:pt idx="89">
                  <c:v>39554</c:v>
                </c:pt>
                <c:pt idx="90">
                  <c:v>39555</c:v>
                </c:pt>
                <c:pt idx="91">
                  <c:v>39556</c:v>
                </c:pt>
                <c:pt idx="92">
                  <c:v>39559</c:v>
                </c:pt>
                <c:pt idx="93">
                  <c:v>39560</c:v>
                </c:pt>
                <c:pt idx="94">
                  <c:v>39561</c:v>
                </c:pt>
                <c:pt idx="95">
                  <c:v>39562</c:v>
                </c:pt>
                <c:pt idx="96">
                  <c:v>39563</c:v>
                </c:pt>
                <c:pt idx="97">
                  <c:v>39566</c:v>
                </c:pt>
                <c:pt idx="98">
                  <c:v>39567</c:v>
                </c:pt>
                <c:pt idx="99">
                  <c:v>39568</c:v>
                </c:pt>
                <c:pt idx="100">
                  <c:v>39573</c:v>
                </c:pt>
                <c:pt idx="101">
                  <c:v>39574</c:v>
                </c:pt>
                <c:pt idx="102">
                  <c:v>39575</c:v>
                </c:pt>
                <c:pt idx="103">
                  <c:v>39576</c:v>
                </c:pt>
                <c:pt idx="104">
                  <c:v>39577</c:v>
                </c:pt>
                <c:pt idx="105">
                  <c:v>39580</c:v>
                </c:pt>
                <c:pt idx="106">
                  <c:v>39581</c:v>
                </c:pt>
                <c:pt idx="107">
                  <c:v>39582</c:v>
                </c:pt>
                <c:pt idx="108">
                  <c:v>39583</c:v>
                </c:pt>
                <c:pt idx="109">
                  <c:v>39584</c:v>
                </c:pt>
                <c:pt idx="110">
                  <c:v>39587</c:v>
                </c:pt>
                <c:pt idx="111">
                  <c:v>39588</c:v>
                </c:pt>
                <c:pt idx="112">
                  <c:v>39589</c:v>
                </c:pt>
                <c:pt idx="113">
                  <c:v>39590</c:v>
                </c:pt>
                <c:pt idx="114">
                  <c:v>39591</c:v>
                </c:pt>
                <c:pt idx="115">
                  <c:v>39594</c:v>
                </c:pt>
                <c:pt idx="116">
                  <c:v>39595</c:v>
                </c:pt>
                <c:pt idx="117">
                  <c:v>39596</c:v>
                </c:pt>
                <c:pt idx="118">
                  <c:v>39597</c:v>
                </c:pt>
                <c:pt idx="119">
                  <c:v>39598</c:v>
                </c:pt>
                <c:pt idx="120">
                  <c:v>39601</c:v>
                </c:pt>
                <c:pt idx="121">
                  <c:v>39602</c:v>
                </c:pt>
                <c:pt idx="122">
                  <c:v>39603</c:v>
                </c:pt>
                <c:pt idx="123">
                  <c:v>39604</c:v>
                </c:pt>
                <c:pt idx="124">
                  <c:v>39605</c:v>
                </c:pt>
                <c:pt idx="125">
                  <c:v>39609</c:v>
                </c:pt>
                <c:pt idx="126">
                  <c:v>39610</c:v>
                </c:pt>
                <c:pt idx="127">
                  <c:v>39611</c:v>
                </c:pt>
                <c:pt idx="128">
                  <c:v>39612</c:v>
                </c:pt>
                <c:pt idx="129">
                  <c:v>39615</c:v>
                </c:pt>
                <c:pt idx="130">
                  <c:v>39616</c:v>
                </c:pt>
                <c:pt idx="131">
                  <c:v>39617</c:v>
                </c:pt>
                <c:pt idx="132">
                  <c:v>39618</c:v>
                </c:pt>
                <c:pt idx="133">
                  <c:v>39619</c:v>
                </c:pt>
                <c:pt idx="134">
                  <c:v>39622</c:v>
                </c:pt>
                <c:pt idx="135">
                  <c:v>39623</c:v>
                </c:pt>
                <c:pt idx="136">
                  <c:v>39624</c:v>
                </c:pt>
                <c:pt idx="137">
                  <c:v>39625</c:v>
                </c:pt>
                <c:pt idx="138">
                  <c:v>39626</c:v>
                </c:pt>
                <c:pt idx="139">
                  <c:v>39629</c:v>
                </c:pt>
                <c:pt idx="140">
                  <c:v>39630</c:v>
                </c:pt>
                <c:pt idx="141">
                  <c:v>39631</c:v>
                </c:pt>
                <c:pt idx="142">
                  <c:v>39632</c:v>
                </c:pt>
                <c:pt idx="143">
                  <c:v>39633</c:v>
                </c:pt>
                <c:pt idx="144">
                  <c:v>39636</c:v>
                </c:pt>
                <c:pt idx="145">
                  <c:v>39637</c:v>
                </c:pt>
                <c:pt idx="146">
                  <c:v>39638</c:v>
                </c:pt>
                <c:pt idx="147">
                  <c:v>39639</c:v>
                </c:pt>
                <c:pt idx="148">
                  <c:v>39640</c:v>
                </c:pt>
                <c:pt idx="149">
                  <c:v>39643</c:v>
                </c:pt>
                <c:pt idx="150">
                  <c:v>39644</c:v>
                </c:pt>
                <c:pt idx="151">
                  <c:v>39645</c:v>
                </c:pt>
                <c:pt idx="152">
                  <c:v>39646</c:v>
                </c:pt>
                <c:pt idx="153">
                  <c:v>39647</c:v>
                </c:pt>
                <c:pt idx="154">
                  <c:v>39650</c:v>
                </c:pt>
                <c:pt idx="155">
                  <c:v>39651</c:v>
                </c:pt>
                <c:pt idx="156">
                  <c:v>39652</c:v>
                </c:pt>
                <c:pt idx="157">
                  <c:v>39653</c:v>
                </c:pt>
                <c:pt idx="158">
                  <c:v>39654</c:v>
                </c:pt>
                <c:pt idx="159">
                  <c:v>39657</c:v>
                </c:pt>
                <c:pt idx="160">
                  <c:v>39658</c:v>
                </c:pt>
                <c:pt idx="161">
                  <c:v>39659</c:v>
                </c:pt>
                <c:pt idx="162">
                  <c:v>39660</c:v>
                </c:pt>
                <c:pt idx="163">
                  <c:v>39661</c:v>
                </c:pt>
                <c:pt idx="164">
                  <c:v>39664</c:v>
                </c:pt>
                <c:pt idx="165">
                  <c:v>39665</c:v>
                </c:pt>
                <c:pt idx="166">
                  <c:v>39666</c:v>
                </c:pt>
                <c:pt idx="167">
                  <c:v>39667</c:v>
                </c:pt>
                <c:pt idx="168">
                  <c:v>39668</c:v>
                </c:pt>
                <c:pt idx="169">
                  <c:v>39671</c:v>
                </c:pt>
                <c:pt idx="170">
                  <c:v>39672</c:v>
                </c:pt>
                <c:pt idx="171">
                  <c:v>39673</c:v>
                </c:pt>
                <c:pt idx="172">
                  <c:v>39674</c:v>
                </c:pt>
                <c:pt idx="173">
                  <c:v>39675</c:v>
                </c:pt>
                <c:pt idx="174">
                  <c:v>39678</c:v>
                </c:pt>
                <c:pt idx="175">
                  <c:v>39679</c:v>
                </c:pt>
                <c:pt idx="176">
                  <c:v>39680</c:v>
                </c:pt>
                <c:pt idx="177">
                  <c:v>39681</c:v>
                </c:pt>
                <c:pt idx="178">
                  <c:v>39682</c:v>
                </c:pt>
                <c:pt idx="179">
                  <c:v>39685</c:v>
                </c:pt>
                <c:pt idx="180">
                  <c:v>39686</c:v>
                </c:pt>
                <c:pt idx="181">
                  <c:v>39687</c:v>
                </c:pt>
                <c:pt idx="182">
                  <c:v>39688</c:v>
                </c:pt>
                <c:pt idx="183">
                  <c:v>39689</c:v>
                </c:pt>
                <c:pt idx="184">
                  <c:v>39692</c:v>
                </c:pt>
                <c:pt idx="185">
                  <c:v>39693</c:v>
                </c:pt>
                <c:pt idx="186">
                  <c:v>39694</c:v>
                </c:pt>
                <c:pt idx="187">
                  <c:v>39695</c:v>
                </c:pt>
                <c:pt idx="188">
                  <c:v>39696</c:v>
                </c:pt>
                <c:pt idx="189">
                  <c:v>39699</c:v>
                </c:pt>
                <c:pt idx="190">
                  <c:v>39700</c:v>
                </c:pt>
                <c:pt idx="191">
                  <c:v>39701</c:v>
                </c:pt>
                <c:pt idx="192">
                  <c:v>39702</c:v>
                </c:pt>
                <c:pt idx="193">
                  <c:v>39703</c:v>
                </c:pt>
                <c:pt idx="194">
                  <c:v>39707</c:v>
                </c:pt>
                <c:pt idx="195">
                  <c:v>39708</c:v>
                </c:pt>
                <c:pt idx="196">
                  <c:v>39709</c:v>
                </c:pt>
                <c:pt idx="197">
                  <c:v>39710</c:v>
                </c:pt>
                <c:pt idx="198">
                  <c:v>39713</c:v>
                </c:pt>
                <c:pt idx="199">
                  <c:v>39714</c:v>
                </c:pt>
                <c:pt idx="200">
                  <c:v>39715</c:v>
                </c:pt>
                <c:pt idx="201">
                  <c:v>39716</c:v>
                </c:pt>
                <c:pt idx="202">
                  <c:v>39717</c:v>
                </c:pt>
                <c:pt idx="203">
                  <c:v>39727</c:v>
                </c:pt>
                <c:pt idx="204">
                  <c:v>39728</c:v>
                </c:pt>
                <c:pt idx="205">
                  <c:v>39729</c:v>
                </c:pt>
                <c:pt idx="206">
                  <c:v>39730</c:v>
                </c:pt>
                <c:pt idx="207">
                  <c:v>39731</c:v>
                </c:pt>
                <c:pt idx="208">
                  <c:v>39734</c:v>
                </c:pt>
                <c:pt idx="209">
                  <c:v>39735</c:v>
                </c:pt>
                <c:pt idx="210">
                  <c:v>39736</c:v>
                </c:pt>
                <c:pt idx="211">
                  <c:v>39737</c:v>
                </c:pt>
                <c:pt idx="212">
                  <c:v>39738</c:v>
                </c:pt>
                <c:pt idx="213">
                  <c:v>39741</c:v>
                </c:pt>
                <c:pt idx="214">
                  <c:v>39742</c:v>
                </c:pt>
                <c:pt idx="215">
                  <c:v>39743</c:v>
                </c:pt>
                <c:pt idx="216">
                  <c:v>39744</c:v>
                </c:pt>
                <c:pt idx="217">
                  <c:v>39745</c:v>
                </c:pt>
                <c:pt idx="218">
                  <c:v>39748</c:v>
                </c:pt>
                <c:pt idx="219">
                  <c:v>39749</c:v>
                </c:pt>
                <c:pt idx="220">
                  <c:v>39750</c:v>
                </c:pt>
                <c:pt idx="221">
                  <c:v>39751</c:v>
                </c:pt>
                <c:pt idx="222">
                  <c:v>39752</c:v>
                </c:pt>
                <c:pt idx="223">
                  <c:v>39755</c:v>
                </c:pt>
                <c:pt idx="224">
                  <c:v>39756</c:v>
                </c:pt>
                <c:pt idx="225">
                  <c:v>39757</c:v>
                </c:pt>
                <c:pt idx="226">
                  <c:v>39758</c:v>
                </c:pt>
                <c:pt idx="227">
                  <c:v>39759</c:v>
                </c:pt>
                <c:pt idx="228">
                  <c:v>39762</c:v>
                </c:pt>
                <c:pt idx="229">
                  <c:v>39763</c:v>
                </c:pt>
                <c:pt idx="230">
                  <c:v>39764</c:v>
                </c:pt>
                <c:pt idx="231">
                  <c:v>39765</c:v>
                </c:pt>
                <c:pt idx="232">
                  <c:v>39766</c:v>
                </c:pt>
                <c:pt idx="233">
                  <c:v>39769</c:v>
                </c:pt>
                <c:pt idx="234">
                  <c:v>39770</c:v>
                </c:pt>
                <c:pt idx="235">
                  <c:v>39771</c:v>
                </c:pt>
                <c:pt idx="236">
                  <c:v>39772</c:v>
                </c:pt>
                <c:pt idx="237">
                  <c:v>39773</c:v>
                </c:pt>
                <c:pt idx="238">
                  <c:v>39776</c:v>
                </c:pt>
                <c:pt idx="239">
                  <c:v>39777</c:v>
                </c:pt>
                <c:pt idx="240">
                  <c:v>39778</c:v>
                </c:pt>
                <c:pt idx="241">
                  <c:v>39779</c:v>
                </c:pt>
                <c:pt idx="242">
                  <c:v>39780</c:v>
                </c:pt>
                <c:pt idx="243">
                  <c:v>39783</c:v>
                </c:pt>
                <c:pt idx="244">
                  <c:v>39784</c:v>
                </c:pt>
                <c:pt idx="245">
                  <c:v>39785</c:v>
                </c:pt>
                <c:pt idx="246">
                  <c:v>39786</c:v>
                </c:pt>
                <c:pt idx="247">
                  <c:v>39787</c:v>
                </c:pt>
                <c:pt idx="248">
                  <c:v>39790</c:v>
                </c:pt>
                <c:pt idx="249">
                  <c:v>39791</c:v>
                </c:pt>
                <c:pt idx="250">
                  <c:v>39792</c:v>
                </c:pt>
                <c:pt idx="251">
                  <c:v>39793</c:v>
                </c:pt>
                <c:pt idx="252">
                  <c:v>39794</c:v>
                </c:pt>
                <c:pt idx="253">
                  <c:v>39797</c:v>
                </c:pt>
                <c:pt idx="254">
                  <c:v>39798</c:v>
                </c:pt>
                <c:pt idx="255">
                  <c:v>39799</c:v>
                </c:pt>
                <c:pt idx="256">
                  <c:v>39800</c:v>
                </c:pt>
                <c:pt idx="257">
                  <c:v>39801</c:v>
                </c:pt>
                <c:pt idx="258">
                  <c:v>39804</c:v>
                </c:pt>
                <c:pt idx="259">
                  <c:v>39805</c:v>
                </c:pt>
                <c:pt idx="260">
                  <c:v>39806</c:v>
                </c:pt>
                <c:pt idx="261">
                  <c:v>39807</c:v>
                </c:pt>
                <c:pt idx="262">
                  <c:v>39808</c:v>
                </c:pt>
                <c:pt idx="263">
                  <c:v>39811</c:v>
                </c:pt>
                <c:pt idx="264">
                  <c:v>39812</c:v>
                </c:pt>
                <c:pt idx="265">
                  <c:v>39813</c:v>
                </c:pt>
                <c:pt idx="266">
                  <c:v>39818</c:v>
                </c:pt>
                <c:pt idx="267">
                  <c:v>39819</c:v>
                </c:pt>
                <c:pt idx="268">
                  <c:v>39820</c:v>
                </c:pt>
                <c:pt idx="269">
                  <c:v>39821</c:v>
                </c:pt>
                <c:pt idx="270">
                  <c:v>39822</c:v>
                </c:pt>
                <c:pt idx="271">
                  <c:v>39825</c:v>
                </c:pt>
                <c:pt idx="272">
                  <c:v>39826</c:v>
                </c:pt>
                <c:pt idx="273">
                  <c:v>39827</c:v>
                </c:pt>
                <c:pt idx="274">
                  <c:v>39828</c:v>
                </c:pt>
                <c:pt idx="275">
                  <c:v>39829</c:v>
                </c:pt>
                <c:pt idx="276">
                  <c:v>39832</c:v>
                </c:pt>
                <c:pt idx="277">
                  <c:v>39833</c:v>
                </c:pt>
                <c:pt idx="278">
                  <c:v>39834</c:v>
                </c:pt>
                <c:pt idx="279">
                  <c:v>39835</c:v>
                </c:pt>
                <c:pt idx="280">
                  <c:v>39836</c:v>
                </c:pt>
                <c:pt idx="281">
                  <c:v>39846</c:v>
                </c:pt>
                <c:pt idx="282">
                  <c:v>39847</c:v>
                </c:pt>
                <c:pt idx="283">
                  <c:v>39848</c:v>
                </c:pt>
                <c:pt idx="284">
                  <c:v>39849</c:v>
                </c:pt>
                <c:pt idx="285">
                  <c:v>39850</c:v>
                </c:pt>
                <c:pt idx="286">
                  <c:v>39853</c:v>
                </c:pt>
                <c:pt idx="287">
                  <c:v>39854</c:v>
                </c:pt>
                <c:pt idx="288">
                  <c:v>39855</c:v>
                </c:pt>
                <c:pt idx="289">
                  <c:v>39856</c:v>
                </c:pt>
                <c:pt idx="290">
                  <c:v>39857</c:v>
                </c:pt>
                <c:pt idx="291">
                  <c:v>39860</c:v>
                </c:pt>
                <c:pt idx="292">
                  <c:v>39861</c:v>
                </c:pt>
                <c:pt idx="293">
                  <c:v>39862</c:v>
                </c:pt>
                <c:pt idx="294">
                  <c:v>39863</c:v>
                </c:pt>
                <c:pt idx="295">
                  <c:v>39864</c:v>
                </c:pt>
                <c:pt idx="296">
                  <c:v>39867</c:v>
                </c:pt>
                <c:pt idx="297">
                  <c:v>39868</c:v>
                </c:pt>
                <c:pt idx="298">
                  <c:v>39869</c:v>
                </c:pt>
                <c:pt idx="299">
                  <c:v>39870</c:v>
                </c:pt>
                <c:pt idx="300">
                  <c:v>39871</c:v>
                </c:pt>
                <c:pt idx="301">
                  <c:v>39874</c:v>
                </c:pt>
                <c:pt idx="302">
                  <c:v>39875</c:v>
                </c:pt>
                <c:pt idx="303">
                  <c:v>39876</c:v>
                </c:pt>
                <c:pt idx="304">
                  <c:v>39877</c:v>
                </c:pt>
                <c:pt idx="305">
                  <c:v>39878</c:v>
                </c:pt>
                <c:pt idx="306">
                  <c:v>39881</c:v>
                </c:pt>
                <c:pt idx="307">
                  <c:v>39882</c:v>
                </c:pt>
                <c:pt idx="308">
                  <c:v>39883</c:v>
                </c:pt>
                <c:pt idx="309">
                  <c:v>39884</c:v>
                </c:pt>
                <c:pt idx="310">
                  <c:v>39885</c:v>
                </c:pt>
                <c:pt idx="311">
                  <c:v>39888</c:v>
                </c:pt>
                <c:pt idx="312">
                  <c:v>39889</c:v>
                </c:pt>
                <c:pt idx="313">
                  <c:v>39890</c:v>
                </c:pt>
                <c:pt idx="314">
                  <c:v>39891</c:v>
                </c:pt>
                <c:pt idx="315">
                  <c:v>39892</c:v>
                </c:pt>
                <c:pt idx="316">
                  <c:v>39895</c:v>
                </c:pt>
                <c:pt idx="317">
                  <c:v>39896</c:v>
                </c:pt>
                <c:pt idx="318">
                  <c:v>39897</c:v>
                </c:pt>
                <c:pt idx="319">
                  <c:v>39898</c:v>
                </c:pt>
                <c:pt idx="320">
                  <c:v>39899</c:v>
                </c:pt>
                <c:pt idx="321">
                  <c:v>39902</c:v>
                </c:pt>
                <c:pt idx="322">
                  <c:v>39903</c:v>
                </c:pt>
                <c:pt idx="323">
                  <c:v>39904</c:v>
                </c:pt>
                <c:pt idx="324">
                  <c:v>39905</c:v>
                </c:pt>
                <c:pt idx="325">
                  <c:v>39906</c:v>
                </c:pt>
                <c:pt idx="326">
                  <c:v>39910</c:v>
                </c:pt>
                <c:pt idx="327">
                  <c:v>39911</c:v>
                </c:pt>
                <c:pt idx="328">
                  <c:v>39912</c:v>
                </c:pt>
                <c:pt idx="329">
                  <c:v>39913</c:v>
                </c:pt>
                <c:pt idx="330">
                  <c:v>39916</c:v>
                </c:pt>
                <c:pt idx="331">
                  <c:v>39917</c:v>
                </c:pt>
                <c:pt idx="332">
                  <c:v>39918</c:v>
                </c:pt>
                <c:pt idx="333">
                  <c:v>39919</c:v>
                </c:pt>
                <c:pt idx="334">
                  <c:v>39920</c:v>
                </c:pt>
                <c:pt idx="335">
                  <c:v>39923</c:v>
                </c:pt>
                <c:pt idx="336">
                  <c:v>39924</c:v>
                </c:pt>
                <c:pt idx="337">
                  <c:v>39925</c:v>
                </c:pt>
                <c:pt idx="338">
                  <c:v>39926</c:v>
                </c:pt>
                <c:pt idx="339">
                  <c:v>39927</c:v>
                </c:pt>
                <c:pt idx="340">
                  <c:v>39930</c:v>
                </c:pt>
                <c:pt idx="341">
                  <c:v>39931</c:v>
                </c:pt>
                <c:pt idx="342">
                  <c:v>39932</c:v>
                </c:pt>
                <c:pt idx="343">
                  <c:v>39933</c:v>
                </c:pt>
                <c:pt idx="344">
                  <c:v>39937</c:v>
                </c:pt>
                <c:pt idx="345">
                  <c:v>39938</c:v>
                </c:pt>
                <c:pt idx="346">
                  <c:v>39939</c:v>
                </c:pt>
                <c:pt idx="347">
                  <c:v>39940</c:v>
                </c:pt>
                <c:pt idx="348">
                  <c:v>39941</c:v>
                </c:pt>
                <c:pt idx="349">
                  <c:v>39944</c:v>
                </c:pt>
                <c:pt idx="350">
                  <c:v>39945</c:v>
                </c:pt>
                <c:pt idx="351">
                  <c:v>39946</c:v>
                </c:pt>
                <c:pt idx="352">
                  <c:v>39947</c:v>
                </c:pt>
                <c:pt idx="353">
                  <c:v>39948</c:v>
                </c:pt>
                <c:pt idx="354">
                  <c:v>39951</c:v>
                </c:pt>
                <c:pt idx="355">
                  <c:v>39952</c:v>
                </c:pt>
                <c:pt idx="356">
                  <c:v>39953</c:v>
                </c:pt>
                <c:pt idx="357">
                  <c:v>39954</c:v>
                </c:pt>
                <c:pt idx="358">
                  <c:v>39955</c:v>
                </c:pt>
                <c:pt idx="359">
                  <c:v>39958</c:v>
                </c:pt>
                <c:pt idx="360">
                  <c:v>39959</c:v>
                </c:pt>
                <c:pt idx="361">
                  <c:v>39960</c:v>
                </c:pt>
                <c:pt idx="362">
                  <c:v>39965</c:v>
                </c:pt>
                <c:pt idx="363">
                  <c:v>39966</c:v>
                </c:pt>
                <c:pt idx="364">
                  <c:v>39967</c:v>
                </c:pt>
                <c:pt idx="365">
                  <c:v>39968</c:v>
                </c:pt>
                <c:pt idx="366">
                  <c:v>39969</c:v>
                </c:pt>
                <c:pt idx="367">
                  <c:v>39972</c:v>
                </c:pt>
                <c:pt idx="368">
                  <c:v>39973</c:v>
                </c:pt>
                <c:pt idx="369">
                  <c:v>39974</c:v>
                </c:pt>
                <c:pt idx="370">
                  <c:v>39975</c:v>
                </c:pt>
                <c:pt idx="371">
                  <c:v>39976</c:v>
                </c:pt>
                <c:pt idx="372">
                  <c:v>39979</c:v>
                </c:pt>
                <c:pt idx="373">
                  <c:v>39980</c:v>
                </c:pt>
                <c:pt idx="374">
                  <c:v>39981</c:v>
                </c:pt>
                <c:pt idx="375">
                  <c:v>39982</c:v>
                </c:pt>
                <c:pt idx="376">
                  <c:v>39983</c:v>
                </c:pt>
                <c:pt idx="377">
                  <c:v>39986</c:v>
                </c:pt>
                <c:pt idx="378">
                  <c:v>39987</c:v>
                </c:pt>
                <c:pt idx="379">
                  <c:v>39988</c:v>
                </c:pt>
                <c:pt idx="380">
                  <c:v>39989</c:v>
                </c:pt>
                <c:pt idx="381">
                  <c:v>39990</c:v>
                </c:pt>
                <c:pt idx="382">
                  <c:v>39993</c:v>
                </c:pt>
                <c:pt idx="383">
                  <c:v>39994</c:v>
                </c:pt>
                <c:pt idx="384">
                  <c:v>39995</c:v>
                </c:pt>
                <c:pt idx="385">
                  <c:v>39996</c:v>
                </c:pt>
                <c:pt idx="386">
                  <c:v>39997</c:v>
                </c:pt>
                <c:pt idx="387">
                  <c:v>40000</c:v>
                </c:pt>
                <c:pt idx="388">
                  <c:v>40001</c:v>
                </c:pt>
                <c:pt idx="389">
                  <c:v>40002</c:v>
                </c:pt>
                <c:pt idx="390">
                  <c:v>40003</c:v>
                </c:pt>
                <c:pt idx="391">
                  <c:v>40004</c:v>
                </c:pt>
                <c:pt idx="392">
                  <c:v>40007</c:v>
                </c:pt>
                <c:pt idx="393">
                  <c:v>40008</c:v>
                </c:pt>
                <c:pt idx="394">
                  <c:v>40009</c:v>
                </c:pt>
                <c:pt idx="395">
                  <c:v>40010</c:v>
                </c:pt>
                <c:pt idx="396">
                  <c:v>40011</c:v>
                </c:pt>
                <c:pt idx="397">
                  <c:v>40014</c:v>
                </c:pt>
                <c:pt idx="398">
                  <c:v>40015</c:v>
                </c:pt>
                <c:pt idx="399">
                  <c:v>40016</c:v>
                </c:pt>
                <c:pt idx="400">
                  <c:v>40017</c:v>
                </c:pt>
                <c:pt idx="401">
                  <c:v>40018</c:v>
                </c:pt>
                <c:pt idx="402">
                  <c:v>40021</c:v>
                </c:pt>
                <c:pt idx="403">
                  <c:v>40022</c:v>
                </c:pt>
                <c:pt idx="404">
                  <c:v>40023</c:v>
                </c:pt>
                <c:pt idx="405">
                  <c:v>40024</c:v>
                </c:pt>
                <c:pt idx="406">
                  <c:v>40025</c:v>
                </c:pt>
                <c:pt idx="407">
                  <c:v>40028</c:v>
                </c:pt>
                <c:pt idx="408">
                  <c:v>40029</c:v>
                </c:pt>
                <c:pt idx="409">
                  <c:v>40030</c:v>
                </c:pt>
                <c:pt idx="410">
                  <c:v>40031</c:v>
                </c:pt>
                <c:pt idx="411">
                  <c:v>40032</c:v>
                </c:pt>
                <c:pt idx="412">
                  <c:v>40035</c:v>
                </c:pt>
                <c:pt idx="413">
                  <c:v>40036</c:v>
                </c:pt>
                <c:pt idx="414">
                  <c:v>40037</c:v>
                </c:pt>
                <c:pt idx="415">
                  <c:v>40038</c:v>
                </c:pt>
                <c:pt idx="416">
                  <c:v>40039</c:v>
                </c:pt>
                <c:pt idx="417">
                  <c:v>40042</c:v>
                </c:pt>
                <c:pt idx="418">
                  <c:v>40043</c:v>
                </c:pt>
                <c:pt idx="419">
                  <c:v>40044</c:v>
                </c:pt>
                <c:pt idx="420">
                  <c:v>40045</c:v>
                </c:pt>
                <c:pt idx="421">
                  <c:v>40046</c:v>
                </c:pt>
                <c:pt idx="422">
                  <c:v>40049</c:v>
                </c:pt>
                <c:pt idx="423">
                  <c:v>40050</c:v>
                </c:pt>
                <c:pt idx="424">
                  <c:v>40051</c:v>
                </c:pt>
                <c:pt idx="425">
                  <c:v>40052</c:v>
                </c:pt>
                <c:pt idx="426">
                  <c:v>40053</c:v>
                </c:pt>
                <c:pt idx="427">
                  <c:v>40056</c:v>
                </c:pt>
                <c:pt idx="428">
                  <c:v>40057</c:v>
                </c:pt>
                <c:pt idx="429">
                  <c:v>40058</c:v>
                </c:pt>
                <c:pt idx="430">
                  <c:v>40059</c:v>
                </c:pt>
                <c:pt idx="431">
                  <c:v>40060</c:v>
                </c:pt>
                <c:pt idx="432">
                  <c:v>40063</c:v>
                </c:pt>
                <c:pt idx="433">
                  <c:v>40064</c:v>
                </c:pt>
                <c:pt idx="434">
                  <c:v>40065</c:v>
                </c:pt>
                <c:pt idx="435">
                  <c:v>40066</c:v>
                </c:pt>
                <c:pt idx="436">
                  <c:v>40067</c:v>
                </c:pt>
                <c:pt idx="437">
                  <c:v>40070</c:v>
                </c:pt>
                <c:pt idx="438">
                  <c:v>40071</c:v>
                </c:pt>
                <c:pt idx="439">
                  <c:v>40072</c:v>
                </c:pt>
                <c:pt idx="440">
                  <c:v>40073</c:v>
                </c:pt>
                <c:pt idx="441">
                  <c:v>40074</c:v>
                </c:pt>
                <c:pt idx="442">
                  <c:v>40077</c:v>
                </c:pt>
                <c:pt idx="443">
                  <c:v>40078</c:v>
                </c:pt>
                <c:pt idx="444">
                  <c:v>40079</c:v>
                </c:pt>
                <c:pt idx="445">
                  <c:v>40080</c:v>
                </c:pt>
                <c:pt idx="446">
                  <c:v>40081</c:v>
                </c:pt>
                <c:pt idx="447">
                  <c:v>40084</c:v>
                </c:pt>
                <c:pt idx="448">
                  <c:v>40085</c:v>
                </c:pt>
                <c:pt idx="449">
                  <c:v>40086</c:v>
                </c:pt>
                <c:pt idx="450">
                  <c:v>40095</c:v>
                </c:pt>
                <c:pt idx="451">
                  <c:v>40098</c:v>
                </c:pt>
                <c:pt idx="452">
                  <c:v>40099</c:v>
                </c:pt>
                <c:pt idx="453">
                  <c:v>40100</c:v>
                </c:pt>
                <c:pt idx="454">
                  <c:v>40101</c:v>
                </c:pt>
                <c:pt idx="455">
                  <c:v>40102</c:v>
                </c:pt>
                <c:pt idx="456">
                  <c:v>40105</c:v>
                </c:pt>
                <c:pt idx="457">
                  <c:v>40106</c:v>
                </c:pt>
                <c:pt idx="458">
                  <c:v>40107</c:v>
                </c:pt>
                <c:pt idx="459">
                  <c:v>40108</c:v>
                </c:pt>
                <c:pt idx="460">
                  <c:v>40109</c:v>
                </c:pt>
                <c:pt idx="461">
                  <c:v>40112</c:v>
                </c:pt>
                <c:pt idx="462">
                  <c:v>40113</c:v>
                </c:pt>
                <c:pt idx="463">
                  <c:v>40114</c:v>
                </c:pt>
                <c:pt idx="464">
                  <c:v>40115</c:v>
                </c:pt>
                <c:pt idx="465">
                  <c:v>40116</c:v>
                </c:pt>
                <c:pt idx="466">
                  <c:v>40119</c:v>
                </c:pt>
                <c:pt idx="467">
                  <c:v>40120</c:v>
                </c:pt>
                <c:pt idx="468">
                  <c:v>40121</c:v>
                </c:pt>
                <c:pt idx="469">
                  <c:v>40122</c:v>
                </c:pt>
                <c:pt idx="470">
                  <c:v>40123</c:v>
                </c:pt>
                <c:pt idx="471">
                  <c:v>40126</c:v>
                </c:pt>
                <c:pt idx="472">
                  <c:v>40127</c:v>
                </c:pt>
                <c:pt idx="473">
                  <c:v>40128</c:v>
                </c:pt>
                <c:pt idx="474">
                  <c:v>40129</c:v>
                </c:pt>
                <c:pt idx="475">
                  <c:v>40130</c:v>
                </c:pt>
                <c:pt idx="476">
                  <c:v>40133</c:v>
                </c:pt>
                <c:pt idx="477">
                  <c:v>40134</c:v>
                </c:pt>
                <c:pt idx="478">
                  <c:v>40135</c:v>
                </c:pt>
                <c:pt idx="479">
                  <c:v>40136</c:v>
                </c:pt>
                <c:pt idx="480">
                  <c:v>40137</c:v>
                </c:pt>
                <c:pt idx="481">
                  <c:v>40140</c:v>
                </c:pt>
                <c:pt idx="482">
                  <c:v>40141</c:v>
                </c:pt>
                <c:pt idx="483">
                  <c:v>40142</c:v>
                </c:pt>
                <c:pt idx="484">
                  <c:v>40143</c:v>
                </c:pt>
                <c:pt idx="485">
                  <c:v>40144</c:v>
                </c:pt>
                <c:pt idx="486">
                  <c:v>40147</c:v>
                </c:pt>
                <c:pt idx="487">
                  <c:v>40148</c:v>
                </c:pt>
                <c:pt idx="488">
                  <c:v>40149</c:v>
                </c:pt>
                <c:pt idx="489">
                  <c:v>40150</c:v>
                </c:pt>
                <c:pt idx="490">
                  <c:v>40151</c:v>
                </c:pt>
                <c:pt idx="491">
                  <c:v>40154</c:v>
                </c:pt>
                <c:pt idx="492">
                  <c:v>40155</c:v>
                </c:pt>
                <c:pt idx="493">
                  <c:v>40156</c:v>
                </c:pt>
                <c:pt idx="494">
                  <c:v>40157</c:v>
                </c:pt>
                <c:pt idx="495">
                  <c:v>40158</c:v>
                </c:pt>
                <c:pt idx="496">
                  <c:v>40161</c:v>
                </c:pt>
                <c:pt idx="497">
                  <c:v>40162</c:v>
                </c:pt>
                <c:pt idx="498">
                  <c:v>40163</c:v>
                </c:pt>
                <c:pt idx="499">
                  <c:v>40164</c:v>
                </c:pt>
                <c:pt idx="500">
                  <c:v>40165</c:v>
                </c:pt>
                <c:pt idx="501">
                  <c:v>40168</c:v>
                </c:pt>
                <c:pt idx="502">
                  <c:v>40169</c:v>
                </c:pt>
                <c:pt idx="503">
                  <c:v>40170</c:v>
                </c:pt>
                <c:pt idx="504">
                  <c:v>40171</c:v>
                </c:pt>
                <c:pt idx="505">
                  <c:v>40172</c:v>
                </c:pt>
                <c:pt idx="506">
                  <c:v>40175</c:v>
                </c:pt>
                <c:pt idx="507">
                  <c:v>40176</c:v>
                </c:pt>
                <c:pt idx="508">
                  <c:v>40177</c:v>
                </c:pt>
                <c:pt idx="509">
                  <c:v>40178</c:v>
                </c:pt>
                <c:pt idx="510">
                  <c:v>40182</c:v>
                </c:pt>
                <c:pt idx="511">
                  <c:v>40183</c:v>
                </c:pt>
                <c:pt idx="512">
                  <c:v>40184</c:v>
                </c:pt>
                <c:pt idx="513">
                  <c:v>40185</c:v>
                </c:pt>
                <c:pt idx="514">
                  <c:v>40186</c:v>
                </c:pt>
                <c:pt idx="515">
                  <c:v>40189</c:v>
                </c:pt>
                <c:pt idx="516">
                  <c:v>40190</c:v>
                </c:pt>
                <c:pt idx="517">
                  <c:v>40191</c:v>
                </c:pt>
                <c:pt idx="518">
                  <c:v>40192</c:v>
                </c:pt>
                <c:pt idx="519">
                  <c:v>40193</c:v>
                </c:pt>
                <c:pt idx="520">
                  <c:v>40196</c:v>
                </c:pt>
                <c:pt idx="521">
                  <c:v>40197</c:v>
                </c:pt>
                <c:pt idx="522">
                  <c:v>40198</c:v>
                </c:pt>
                <c:pt idx="523">
                  <c:v>40199</c:v>
                </c:pt>
                <c:pt idx="524">
                  <c:v>40200</c:v>
                </c:pt>
                <c:pt idx="525">
                  <c:v>40203</c:v>
                </c:pt>
                <c:pt idx="526">
                  <c:v>40204</c:v>
                </c:pt>
                <c:pt idx="527">
                  <c:v>40205</c:v>
                </c:pt>
                <c:pt idx="528">
                  <c:v>40206</c:v>
                </c:pt>
                <c:pt idx="529">
                  <c:v>40207</c:v>
                </c:pt>
                <c:pt idx="530">
                  <c:v>40210</c:v>
                </c:pt>
                <c:pt idx="531">
                  <c:v>40211</c:v>
                </c:pt>
                <c:pt idx="532">
                  <c:v>40212</c:v>
                </c:pt>
                <c:pt idx="533">
                  <c:v>40213</c:v>
                </c:pt>
                <c:pt idx="534">
                  <c:v>40214</c:v>
                </c:pt>
                <c:pt idx="535">
                  <c:v>40217</c:v>
                </c:pt>
                <c:pt idx="536">
                  <c:v>40218</c:v>
                </c:pt>
                <c:pt idx="537">
                  <c:v>40219</c:v>
                </c:pt>
                <c:pt idx="538">
                  <c:v>40220</c:v>
                </c:pt>
                <c:pt idx="539">
                  <c:v>40221</c:v>
                </c:pt>
                <c:pt idx="540">
                  <c:v>40231</c:v>
                </c:pt>
                <c:pt idx="541">
                  <c:v>40232</c:v>
                </c:pt>
                <c:pt idx="542">
                  <c:v>40233</c:v>
                </c:pt>
                <c:pt idx="543">
                  <c:v>40234</c:v>
                </c:pt>
                <c:pt idx="544">
                  <c:v>40235</c:v>
                </c:pt>
                <c:pt idx="545">
                  <c:v>40238</c:v>
                </c:pt>
                <c:pt idx="546">
                  <c:v>40239</c:v>
                </c:pt>
                <c:pt idx="547">
                  <c:v>40240</c:v>
                </c:pt>
                <c:pt idx="548">
                  <c:v>40241</c:v>
                </c:pt>
                <c:pt idx="549">
                  <c:v>40242</c:v>
                </c:pt>
                <c:pt idx="550">
                  <c:v>40245</c:v>
                </c:pt>
                <c:pt idx="551">
                  <c:v>40246</c:v>
                </c:pt>
                <c:pt idx="552">
                  <c:v>40247</c:v>
                </c:pt>
                <c:pt idx="553">
                  <c:v>40248</c:v>
                </c:pt>
                <c:pt idx="554">
                  <c:v>40249</c:v>
                </c:pt>
                <c:pt idx="555">
                  <c:v>40252</c:v>
                </c:pt>
                <c:pt idx="556">
                  <c:v>40253</c:v>
                </c:pt>
                <c:pt idx="557">
                  <c:v>40254</c:v>
                </c:pt>
                <c:pt idx="558">
                  <c:v>40255</c:v>
                </c:pt>
                <c:pt idx="559">
                  <c:v>40256</c:v>
                </c:pt>
                <c:pt idx="560">
                  <c:v>40259</c:v>
                </c:pt>
                <c:pt idx="561">
                  <c:v>40260</c:v>
                </c:pt>
                <c:pt idx="562">
                  <c:v>40261</c:v>
                </c:pt>
                <c:pt idx="563">
                  <c:v>40262</c:v>
                </c:pt>
                <c:pt idx="564">
                  <c:v>40263</c:v>
                </c:pt>
                <c:pt idx="565">
                  <c:v>40266</c:v>
                </c:pt>
                <c:pt idx="566">
                  <c:v>40267</c:v>
                </c:pt>
                <c:pt idx="567">
                  <c:v>40268</c:v>
                </c:pt>
                <c:pt idx="568">
                  <c:v>40269</c:v>
                </c:pt>
                <c:pt idx="569">
                  <c:v>40270</c:v>
                </c:pt>
                <c:pt idx="570">
                  <c:v>40274</c:v>
                </c:pt>
                <c:pt idx="571">
                  <c:v>40275</c:v>
                </c:pt>
                <c:pt idx="572">
                  <c:v>40276</c:v>
                </c:pt>
                <c:pt idx="573">
                  <c:v>40277</c:v>
                </c:pt>
                <c:pt idx="574">
                  <c:v>40280</c:v>
                </c:pt>
                <c:pt idx="575">
                  <c:v>40281</c:v>
                </c:pt>
                <c:pt idx="576">
                  <c:v>40282</c:v>
                </c:pt>
                <c:pt idx="577">
                  <c:v>40283</c:v>
                </c:pt>
                <c:pt idx="578">
                  <c:v>40284</c:v>
                </c:pt>
                <c:pt idx="579">
                  <c:v>40287</c:v>
                </c:pt>
                <c:pt idx="580">
                  <c:v>40288</c:v>
                </c:pt>
                <c:pt idx="581">
                  <c:v>40289</c:v>
                </c:pt>
                <c:pt idx="582">
                  <c:v>40290</c:v>
                </c:pt>
                <c:pt idx="583">
                  <c:v>40291</c:v>
                </c:pt>
                <c:pt idx="584">
                  <c:v>40294</c:v>
                </c:pt>
                <c:pt idx="585">
                  <c:v>40295</c:v>
                </c:pt>
                <c:pt idx="586">
                  <c:v>40296</c:v>
                </c:pt>
                <c:pt idx="587">
                  <c:v>40297</c:v>
                </c:pt>
                <c:pt idx="588">
                  <c:v>40298</c:v>
                </c:pt>
                <c:pt idx="589">
                  <c:v>40302</c:v>
                </c:pt>
                <c:pt idx="590">
                  <c:v>40303</c:v>
                </c:pt>
                <c:pt idx="591">
                  <c:v>40304</c:v>
                </c:pt>
                <c:pt idx="592">
                  <c:v>40305</c:v>
                </c:pt>
                <c:pt idx="593">
                  <c:v>40308</c:v>
                </c:pt>
                <c:pt idx="594">
                  <c:v>40309</c:v>
                </c:pt>
                <c:pt idx="595">
                  <c:v>40310</c:v>
                </c:pt>
                <c:pt idx="596">
                  <c:v>40311</c:v>
                </c:pt>
                <c:pt idx="597">
                  <c:v>40312</c:v>
                </c:pt>
                <c:pt idx="598">
                  <c:v>40315</c:v>
                </c:pt>
                <c:pt idx="599">
                  <c:v>40316</c:v>
                </c:pt>
                <c:pt idx="600">
                  <c:v>40317</c:v>
                </c:pt>
                <c:pt idx="601">
                  <c:v>40318</c:v>
                </c:pt>
                <c:pt idx="602">
                  <c:v>40319</c:v>
                </c:pt>
                <c:pt idx="603">
                  <c:v>40322</c:v>
                </c:pt>
                <c:pt idx="604">
                  <c:v>40323</c:v>
                </c:pt>
                <c:pt idx="605">
                  <c:v>40324</c:v>
                </c:pt>
                <c:pt idx="606">
                  <c:v>40325</c:v>
                </c:pt>
                <c:pt idx="607">
                  <c:v>40326</c:v>
                </c:pt>
                <c:pt idx="608">
                  <c:v>40329</c:v>
                </c:pt>
                <c:pt idx="609">
                  <c:v>40330</c:v>
                </c:pt>
                <c:pt idx="610">
                  <c:v>40331</c:v>
                </c:pt>
                <c:pt idx="611">
                  <c:v>40332</c:v>
                </c:pt>
                <c:pt idx="612">
                  <c:v>40333</c:v>
                </c:pt>
                <c:pt idx="613">
                  <c:v>40336</c:v>
                </c:pt>
                <c:pt idx="614">
                  <c:v>40337</c:v>
                </c:pt>
                <c:pt idx="615">
                  <c:v>40338</c:v>
                </c:pt>
                <c:pt idx="616">
                  <c:v>40339</c:v>
                </c:pt>
                <c:pt idx="617">
                  <c:v>40340</c:v>
                </c:pt>
                <c:pt idx="618">
                  <c:v>40346</c:v>
                </c:pt>
                <c:pt idx="619">
                  <c:v>40347</c:v>
                </c:pt>
                <c:pt idx="620">
                  <c:v>40350</c:v>
                </c:pt>
                <c:pt idx="621">
                  <c:v>40351</c:v>
                </c:pt>
                <c:pt idx="622">
                  <c:v>40352</c:v>
                </c:pt>
                <c:pt idx="623">
                  <c:v>40353</c:v>
                </c:pt>
                <c:pt idx="624">
                  <c:v>40354</c:v>
                </c:pt>
                <c:pt idx="625">
                  <c:v>40357</c:v>
                </c:pt>
                <c:pt idx="626">
                  <c:v>40358</c:v>
                </c:pt>
                <c:pt idx="627">
                  <c:v>40359</c:v>
                </c:pt>
                <c:pt idx="628">
                  <c:v>40360</c:v>
                </c:pt>
                <c:pt idx="629">
                  <c:v>40361</c:v>
                </c:pt>
                <c:pt idx="630">
                  <c:v>40364</c:v>
                </c:pt>
                <c:pt idx="631">
                  <c:v>40365</c:v>
                </c:pt>
                <c:pt idx="632">
                  <c:v>40366</c:v>
                </c:pt>
                <c:pt idx="633">
                  <c:v>40367</c:v>
                </c:pt>
                <c:pt idx="634">
                  <c:v>40368</c:v>
                </c:pt>
                <c:pt idx="635">
                  <c:v>40371</c:v>
                </c:pt>
                <c:pt idx="636">
                  <c:v>40372</c:v>
                </c:pt>
                <c:pt idx="637">
                  <c:v>40373</c:v>
                </c:pt>
                <c:pt idx="638">
                  <c:v>40374</c:v>
                </c:pt>
                <c:pt idx="639">
                  <c:v>40375</c:v>
                </c:pt>
                <c:pt idx="640">
                  <c:v>40378</c:v>
                </c:pt>
                <c:pt idx="641">
                  <c:v>40379</c:v>
                </c:pt>
                <c:pt idx="642">
                  <c:v>40380</c:v>
                </c:pt>
                <c:pt idx="643">
                  <c:v>40381</c:v>
                </c:pt>
                <c:pt idx="644">
                  <c:v>40382</c:v>
                </c:pt>
                <c:pt idx="645">
                  <c:v>40385</c:v>
                </c:pt>
                <c:pt idx="646">
                  <c:v>40386</c:v>
                </c:pt>
                <c:pt idx="647">
                  <c:v>40387</c:v>
                </c:pt>
                <c:pt idx="648">
                  <c:v>40388</c:v>
                </c:pt>
                <c:pt idx="649">
                  <c:v>40389</c:v>
                </c:pt>
                <c:pt idx="650">
                  <c:v>40392</c:v>
                </c:pt>
                <c:pt idx="651">
                  <c:v>40393</c:v>
                </c:pt>
                <c:pt idx="652">
                  <c:v>40394</c:v>
                </c:pt>
                <c:pt idx="653">
                  <c:v>40395</c:v>
                </c:pt>
                <c:pt idx="654">
                  <c:v>40396</c:v>
                </c:pt>
                <c:pt idx="655">
                  <c:v>40399</c:v>
                </c:pt>
                <c:pt idx="656">
                  <c:v>40400</c:v>
                </c:pt>
                <c:pt idx="657">
                  <c:v>40401</c:v>
                </c:pt>
                <c:pt idx="658">
                  <c:v>40402</c:v>
                </c:pt>
                <c:pt idx="659">
                  <c:v>40403</c:v>
                </c:pt>
                <c:pt idx="660">
                  <c:v>40406</c:v>
                </c:pt>
                <c:pt idx="661">
                  <c:v>40407</c:v>
                </c:pt>
                <c:pt idx="662">
                  <c:v>40408</c:v>
                </c:pt>
                <c:pt idx="663">
                  <c:v>40409</c:v>
                </c:pt>
                <c:pt idx="664">
                  <c:v>40410</c:v>
                </c:pt>
                <c:pt idx="665">
                  <c:v>40413</c:v>
                </c:pt>
                <c:pt idx="666">
                  <c:v>40414</c:v>
                </c:pt>
                <c:pt idx="667">
                  <c:v>40415</c:v>
                </c:pt>
                <c:pt idx="668">
                  <c:v>40416</c:v>
                </c:pt>
                <c:pt idx="669">
                  <c:v>40417</c:v>
                </c:pt>
                <c:pt idx="670">
                  <c:v>40420</c:v>
                </c:pt>
                <c:pt idx="671">
                  <c:v>40421</c:v>
                </c:pt>
                <c:pt idx="672">
                  <c:v>40422</c:v>
                </c:pt>
                <c:pt idx="673">
                  <c:v>40423</c:v>
                </c:pt>
                <c:pt idx="674">
                  <c:v>40424</c:v>
                </c:pt>
                <c:pt idx="675">
                  <c:v>40427</c:v>
                </c:pt>
                <c:pt idx="676">
                  <c:v>40428</c:v>
                </c:pt>
                <c:pt idx="677">
                  <c:v>40429</c:v>
                </c:pt>
                <c:pt idx="678">
                  <c:v>40430</c:v>
                </c:pt>
                <c:pt idx="679">
                  <c:v>40431</c:v>
                </c:pt>
                <c:pt idx="680">
                  <c:v>40434</c:v>
                </c:pt>
                <c:pt idx="681">
                  <c:v>40435</c:v>
                </c:pt>
                <c:pt idx="682">
                  <c:v>40436</c:v>
                </c:pt>
                <c:pt idx="683">
                  <c:v>40437</c:v>
                </c:pt>
                <c:pt idx="684">
                  <c:v>40438</c:v>
                </c:pt>
                <c:pt idx="685">
                  <c:v>40441</c:v>
                </c:pt>
                <c:pt idx="686">
                  <c:v>40442</c:v>
                </c:pt>
                <c:pt idx="687">
                  <c:v>40448</c:v>
                </c:pt>
                <c:pt idx="688">
                  <c:v>40449</c:v>
                </c:pt>
                <c:pt idx="689">
                  <c:v>40450</c:v>
                </c:pt>
                <c:pt idx="690">
                  <c:v>40451</c:v>
                </c:pt>
                <c:pt idx="691">
                  <c:v>40459</c:v>
                </c:pt>
                <c:pt idx="692">
                  <c:v>40462</c:v>
                </c:pt>
                <c:pt idx="693">
                  <c:v>40463</c:v>
                </c:pt>
                <c:pt idx="694">
                  <c:v>40464</c:v>
                </c:pt>
                <c:pt idx="695">
                  <c:v>40465</c:v>
                </c:pt>
                <c:pt idx="696">
                  <c:v>40466</c:v>
                </c:pt>
                <c:pt idx="697">
                  <c:v>40469</c:v>
                </c:pt>
                <c:pt idx="698">
                  <c:v>40470</c:v>
                </c:pt>
                <c:pt idx="699">
                  <c:v>40471</c:v>
                </c:pt>
                <c:pt idx="700">
                  <c:v>40472</c:v>
                </c:pt>
                <c:pt idx="701">
                  <c:v>40473</c:v>
                </c:pt>
                <c:pt idx="702">
                  <c:v>40476</c:v>
                </c:pt>
                <c:pt idx="703">
                  <c:v>40477</c:v>
                </c:pt>
                <c:pt idx="704">
                  <c:v>40478</c:v>
                </c:pt>
                <c:pt idx="705">
                  <c:v>40479</c:v>
                </c:pt>
                <c:pt idx="706">
                  <c:v>40480</c:v>
                </c:pt>
                <c:pt idx="707">
                  <c:v>40483</c:v>
                </c:pt>
                <c:pt idx="708">
                  <c:v>40484</c:v>
                </c:pt>
                <c:pt idx="709">
                  <c:v>40485</c:v>
                </c:pt>
                <c:pt idx="710">
                  <c:v>40486</c:v>
                </c:pt>
                <c:pt idx="711">
                  <c:v>40487</c:v>
                </c:pt>
                <c:pt idx="712">
                  <c:v>40490</c:v>
                </c:pt>
                <c:pt idx="713">
                  <c:v>40491</c:v>
                </c:pt>
                <c:pt idx="714">
                  <c:v>40492</c:v>
                </c:pt>
                <c:pt idx="715">
                  <c:v>40493</c:v>
                </c:pt>
                <c:pt idx="716">
                  <c:v>40494</c:v>
                </c:pt>
                <c:pt idx="717">
                  <c:v>40497</c:v>
                </c:pt>
                <c:pt idx="718">
                  <c:v>40498</c:v>
                </c:pt>
                <c:pt idx="719">
                  <c:v>40499</c:v>
                </c:pt>
                <c:pt idx="720">
                  <c:v>40500</c:v>
                </c:pt>
                <c:pt idx="721">
                  <c:v>40501</c:v>
                </c:pt>
                <c:pt idx="722">
                  <c:v>40504</c:v>
                </c:pt>
                <c:pt idx="723">
                  <c:v>40505</c:v>
                </c:pt>
                <c:pt idx="724">
                  <c:v>40506</c:v>
                </c:pt>
                <c:pt idx="725">
                  <c:v>40507</c:v>
                </c:pt>
                <c:pt idx="726">
                  <c:v>40508</c:v>
                </c:pt>
                <c:pt idx="727">
                  <c:v>40511</c:v>
                </c:pt>
                <c:pt idx="728">
                  <c:v>40512</c:v>
                </c:pt>
                <c:pt idx="729">
                  <c:v>40513</c:v>
                </c:pt>
                <c:pt idx="730">
                  <c:v>40514</c:v>
                </c:pt>
                <c:pt idx="731">
                  <c:v>40515</c:v>
                </c:pt>
                <c:pt idx="732">
                  <c:v>40518</c:v>
                </c:pt>
                <c:pt idx="733">
                  <c:v>40519</c:v>
                </c:pt>
                <c:pt idx="734">
                  <c:v>40520</c:v>
                </c:pt>
                <c:pt idx="735">
                  <c:v>40521</c:v>
                </c:pt>
                <c:pt idx="736">
                  <c:v>40522</c:v>
                </c:pt>
                <c:pt idx="737">
                  <c:v>40525</c:v>
                </c:pt>
                <c:pt idx="738">
                  <c:v>40526</c:v>
                </c:pt>
                <c:pt idx="739">
                  <c:v>40527</c:v>
                </c:pt>
                <c:pt idx="740">
                  <c:v>40528</c:v>
                </c:pt>
                <c:pt idx="741">
                  <c:v>40529</c:v>
                </c:pt>
                <c:pt idx="742">
                  <c:v>40532</c:v>
                </c:pt>
                <c:pt idx="743">
                  <c:v>40533</c:v>
                </c:pt>
                <c:pt idx="744">
                  <c:v>40534</c:v>
                </c:pt>
                <c:pt idx="745">
                  <c:v>40535</c:v>
                </c:pt>
                <c:pt idx="746">
                  <c:v>40536</c:v>
                </c:pt>
                <c:pt idx="747">
                  <c:v>40539</c:v>
                </c:pt>
                <c:pt idx="748">
                  <c:v>40540</c:v>
                </c:pt>
                <c:pt idx="749">
                  <c:v>40541</c:v>
                </c:pt>
                <c:pt idx="750">
                  <c:v>40542</c:v>
                </c:pt>
                <c:pt idx="751">
                  <c:v>40543</c:v>
                </c:pt>
                <c:pt idx="752">
                  <c:v>40547</c:v>
                </c:pt>
                <c:pt idx="753">
                  <c:v>40548</c:v>
                </c:pt>
                <c:pt idx="754">
                  <c:v>40549</c:v>
                </c:pt>
                <c:pt idx="755">
                  <c:v>40550</c:v>
                </c:pt>
                <c:pt idx="756">
                  <c:v>40553</c:v>
                </c:pt>
                <c:pt idx="757">
                  <c:v>40554</c:v>
                </c:pt>
                <c:pt idx="758">
                  <c:v>40555</c:v>
                </c:pt>
                <c:pt idx="759">
                  <c:v>40556</c:v>
                </c:pt>
                <c:pt idx="760">
                  <c:v>40557</c:v>
                </c:pt>
                <c:pt idx="761">
                  <c:v>40560</c:v>
                </c:pt>
                <c:pt idx="762">
                  <c:v>40561</c:v>
                </c:pt>
                <c:pt idx="763">
                  <c:v>40562</c:v>
                </c:pt>
                <c:pt idx="764">
                  <c:v>40563</c:v>
                </c:pt>
                <c:pt idx="765">
                  <c:v>40564</c:v>
                </c:pt>
                <c:pt idx="766">
                  <c:v>40567</c:v>
                </c:pt>
                <c:pt idx="767">
                  <c:v>40568</c:v>
                </c:pt>
                <c:pt idx="768">
                  <c:v>40569</c:v>
                </c:pt>
                <c:pt idx="769">
                  <c:v>40570</c:v>
                </c:pt>
                <c:pt idx="770">
                  <c:v>40571</c:v>
                </c:pt>
                <c:pt idx="771">
                  <c:v>40574</c:v>
                </c:pt>
                <c:pt idx="772">
                  <c:v>40575</c:v>
                </c:pt>
                <c:pt idx="773">
                  <c:v>40583</c:v>
                </c:pt>
                <c:pt idx="774">
                  <c:v>40584</c:v>
                </c:pt>
                <c:pt idx="775">
                  <c:v>40585</c:v>
                </c:pt>
                <c:pt idx="776">
                  <c:v>40588</c:v>
                </c:pt>
                <c:pt idx="777">
                  <c:v>40589</c:v>
                </c:pt>
                <c:pt idx="778">
                  <c:v>40590</c:v>
                </c:pt>
                <c:pt idx="779">
                  <c:v>40591</c:v>
                </c:pt>
                <c:pt idx="780">
                  <c:v>40592</c:v>
                </c:pt>
                <c:pt idx="781">
                  <c:v>40595</c:v>
                </c:pt>
                <c:pt idx="782">
                  <c:v>40596</c:v>
                </c:pt>
                <c:pt idx="783">
                  <c:v>40597</c:v>
                </c:pt>
                <c:pt idx="784">
                  <c:v>40598</c:v>
                </c:pt>
                <c:pt idx="785">
                  <c:v>40599</c:v>
                </c:pt>
                <c:pt idx="786">
                  <c:v>40602</c:v>
                </c:pt>
                <c:pt idx="787">
                  <c:v>40603</c:v>
                </c:pt>
                <c:pt idx="788">
                  <c:v>40604</c:v>
                </c:pt>
                <c:pt idx="789">
                  <c:v>40605</c:v>
                </c:pt>
                <c:pt idx="790">
                  <c:v>40606</c:v>
                </c:pt>
                <c:pt idx="791">
                  <c:v>40609</c:v>
                </c:pt>
                <c:pt idx="792">
                  <c:v>40610</c:v>
                </c:pt>
                <c:pt idx="793">
                  <c:v>40611</c:v>
                </c:pt>
                <c:pt idx="794">
                  <c:v>40612</c:v>
                </c:pt>
                <c:pt idx="795">
                  <c:v>40613</c:v>
                </c:pt>
                <c:pt idx="796">
                  <c:v>40616</c:v>
                </c:pt>
                <c:pt idx="797">
                  <c:v>40617</c:v>
                </c:pt>
                <c:pt idx="798">
                  <c:v>40618</c:v>
                </c:pt>
                <c:pt idx="799">
                  <c:v>40619</c:v>
                </c:pt>
                <c:pt idx="800">
                  <c:v>40620</c:v>
                </c:pt>
                <c:pt idx="801">
                  <c:v>40623</c:v>
                </c:pt>
                <c:pt idx="802">
                  <c:v>40624</c:v>
                </c:pt>
                <c:pt idx="803">
                  <c:v>40625</c:v>
                </c:pt>
                <c:pt idx="804">
                  <c:v>40626</c:v>
                </c:pt>
                <c:pt idx="805">
                  <c:v>40627</c:v>
                </c:pt>
                <c:pt idx="806">
                  <c:v>40630</c:v>
                </c:pt>
                <c:pt idx="807">
                  <c:v>40631</c:v>
                </c:pt>
                <c:pt idx="808">
                  <c:v>40632</c:v>
                </c:pt>
                <c:pt idx="809">
                  <c:v>40633</c:v>
                </c:pt>
                <c:pt idx="810">
                  <c:v>40634</c:v>
                </c:pt>
                <c:pt idx="811">
                  <c:v>40639</c:v>
                </c:pt>
                <c:pt idx="812">
                  <c:v>40640</c:v>
                </c:pt>
                <c:pt idx="813">
                  <c:v>40641</c:v>
                </c:pt>
                <c:pt idx="814">
                  <c:v>40644</c:v>
                </c:pt>
                <c:pt idx="815">
                  <c:v>40645</c:v>
                </c:pt>
                <c:pt idx="816">
                  <c:v>40646</c:v>
                </c:pt>
                <c:pt idx="817">
                  <c:v>40647</c:v>
                </c:pt>
                <c:pt idx="818">
                  <c:v>40648</c:v>
                </c:pt>
                <c:pt idx="819">
                  <c:v>40651</c:v>
                </c:pt>
                <c:pt idx="820">
                  <c:v>40652</c:v>
                </c:pt>
                <c:pt idx="821">
                  <c:v>40653</c:v>
                </c:pt>
                <c:pt idx="822">
                  <c:v>40654</c:v>
                </c:pt>
                <c:pt idx="823">
                  <c:v>40655</c:v>
                </c:pt>
                <c:pt idx="824">
                  <c:v>40658</c:v>
                </c:pt>
                <c:pt idx="825">
                  <c:v>40659</c:v>
                </c:pt>
                <c:pt idx="826">
                  <c:v>40660</c:v>
                </c:pt>
                <c:pt idx="827">
                  <c:v>40661</c:v>
                </c:pt>
                <c:pt idx="828">
                  <c:v>40662</c:v>
                </c:pt>
                <c:pt idx="829">
                  <c:v>40666</c:v>
                </c:pt>
                <c:pt idx="830">
                  <c:v>40667</c:v>
                </c:pt>
                <c:pt idx="831">
                  <c:v>40668</c:v>
                </c:pt>
                <c:pt idx="832">
                  <c:v>40669</c:v>
                </c:pt>
                <c:pt idx="833">
                  <c:v>40672</c:v>
                </c:pt>
                <c:pt idx="834">
                  <c:v>40673</c:v>
                </c:pt>
                <c:pt idx="835">
                  <c:v>40674</c:v>
                </c:pt>
                <c:pt idx="836">
                  <c:v>40675</c:v>
                </c:pt>
                <c:pt idx="837">
                  <c:v>40676</c:v>
                </c:pt>
                <c:pt idx="838">
                  <c:v>40679</c:v>
                </c:pt>
                <c:pt idx="839">
                  <c:v>40680</c:v>
                </c:pt>
                <c:pt idx="840">
                  <c:v>40681</c:v>
                </c:pt>
                <c:pt idx="841">
                  <c:v>40682</c:v>
                </c:pt>
                <c:pt idx="842">
                  <c:v>40683</c:v>
                </c:pt>
                <c:pt idx="843">
                  <c:v>40686</c:v>
                </c:pt>
                <c:pt idx="844">
                  <c:v>40687</c:v>
                </c:pt>
                <c:pt idx="845">
                  <c:v>40688</c:v>
                </c:pt>
                <c:pt idx="846">
                  <c:v>40689</c:v>
                </c:pt>
                <c:pt idx="847">
                  <c:v>40690</c:v>
                </c:pt>
                <c:pt idx="848">
                  <c:v>40693</c:v>
                </c:pt>
                <c:pt idx="849">
                  <c:v>40694</c:v>
                </c:pt>
                <c:pt idx="850">
                  <c:v>40695</c:v>
                </c:pt>
                <c:pt idx="851">
                  <c:v>40696</c:v>
                </c:pt>
                <c:pt idx="852">
                  <c:v>40697</c:v>
                </c:pt>
                <c:pt idx="853">
                  <c:v>40701</c:v>
                </c:pt>
                <c:pt idx="854">
                  <c:v>40702</c:v>
                </c:pt>
                <c:pt idx="855">
                  <c:v>40703</c:v>
                </c:pt>
                <c:pt idx="856">
                  <c:v>40704</c:v>
                </c:pt>
                <c:pt idx="857">
                  <c:v>40707</c:v>
                </c:pt>
                <c:pt idx="858">
                  <c:v>40708</c:v>
                </c:pt>
                <c:pt idx="859">
                  <c:v>40709</c:v>
                </c:pt>
                <c:pt idx="860">
                  <c:v>40710</c:v>
                </c:pt>
                <c:pt idx="861">
                  <c:v>40711</c:v>
                </c:pt>
                <c:pt idx="862">
                  <c:v>40714</c:v>
                </c:pt>
                <c:pt idx="863">
                  <c:v>40715</c:v>
                </c:pt>
                <c:pt idx="864">
                  <c:v>40716</c:v>
                </c:pt>
                <c:pt idx="865">
                  <c:v>40717</c:v>
                </c:pt>
                <c:pt idx="866">
                  <c:v>40718</c:v>
                </c:pt>
                <c:pt idx="867">
                  <c:v>40721</c:v>
                </c:pt>
                <c:pt idx="868">
                  <c:v>40722</c:v>
                </c:pt>
                <c:pt idx="869">
                  <c:v>40723</c:v>
                </c:pt>
                <c:pt idx="870">
                  <c:v>40724</c:v>
                </c:pt>
                <c:pt idx="871">
                  <c:v>40725</c:v>
                </c:pt>
                <c:pt idx="872">
                  <c:v>40728</c:v>
                </c:pt>
                <c:pt idx="873">
                  <c:v>40729</c:v>
                </c:pt>
                <c:pt idx="874">
                  <c:v>40730</c:v>
                </c:pt>
                <c:pt idx="875">
                  <c:v>40731</c:v>
                </c:pt>
                <c:pt idx="876">
                  <c:v>40732</c:v>
                </c:pt>
                <c:pt idx="877">
                  <c:v>40735</c:v>
                </c:pt>
                <c:pt idx="878">
                  <c:v>40736</c:v>
                </c:pt>
                <c:pt idx="879">
                  <c:v>40737</c:v>
                </c:pt>
                <c:pt idx="880">
                  <c:v>40738</c:v>
                </c:pt>
                <c:pt idx="881">
                  <c:v>40739</c:v>
                </c:pt>
                <c:pt idx="882">
                  <c:v>40742</c:v>
                </c:pt>
                <c:pt idx="883">
                  <c:v>40743</c:v>
                </c:pt>
                <c:pt idx="884">
                  <c:v>40744</c:v>
                </c:pt>
                <c:pt idx="885">
                  <c:v>40745</c:v>
                </c:pt>
                <c:pt idx="886">
                  <c:v>40746</c:v>
                </c:pt>
                <c:pt idx="887">
                  <c:v>40749</c:v>
                </c:pt>
                <c:pt idx="888">
                  <c:v>40750</c:v>
                </c:pt>
                <c:pt idx="889">
                  <c:v>40751</c:v>
                </c:pt>
                <c:pt idx="890">
                  <c:v>40752</c:v>
                </c:pt>
                <c:pt idx="891">
                  <c:v>40753</c:v>
                </c:pt>
                <c:pt idx="892">
                  <c:v>40756</c:v>
                </c:pt>
                <c:pt idx="893">
                  <c:v>40757</c:v>
                </c:pt>
                <c:pt idx="894">
                  <c:v>40758</c:v>
                </c:pt>
                <c:pt idx="895">
                  <c:v>40759</c:v>
                </c:pt>
                <c:pt idx="896">
                  <c:v>40760</c:v>
                </c:pt>
                <c:pt idx="897">
                  <c:v>40763</c:v>
                </c:pt>
                <c:pt idx="898">
                  <c:v>40764</c:v>
                </c:pt>
                <c:pt idx="899">
                  <c:v>40765</c:v>
                </c:pt>
                <c:pt idx="900">
                  <c:v>40766</c:v>
                </c:pt>
                <c:pt idx="901">
                  <c:v>40767</c:v>
                </c:pt>
                <c:pt idx="902">
                  <c:v>40770</c:v>
                </c:pt>
                <c:pt idx="903">
                  <c:v>40771</c:v>
                </c:pt>
                <c:pt idx="904">
                  <c:v>40772</c:v>
                </c:pt>
                <c:pt idx="905">
                  <c:v>40773</c:v>
                </c:pt>
                <c:pt idx="906">
                  <c:v>40774</c:v>
                </c:pt>
                <c:pt idx="907">
                  <c:v>40777</c:v>
                </c:pt>
                <c:pt idx="908">
                  <c:v>40778</c:v>
                </c:pt>
                <c:pt idx="909">
                  <c:v>40779</c:v>
                </c:pt>
                <c:pt idx="910">
                  <c:v>40780</c:v>
                </c:pt>
                <c:pt idx="911">
                  <c:v>40781</c:v>
                </c:pt>
                <c:pt idx="912">
                  <c:v>40784</c:v>
                </c:pt>
                <c:pt idx="913">
                  <c:v>40785</c:v>
                </c:pt>
                <c:pt idx="914">
                  <c:v>40786</c:v>
                </c:pt>
                <c:pt idx="915">
                  <c:v>40787</c:v>
                </c:pt>
                <c:pt idx="916">
                  <c:v>40788</c:v>
                </c:pt>
                <c:pt idx="917">
                  <c:v>40791</c:v>
                </c:pt>
                <c:pt idx="918">
                  <c:v>40792</c:v>
                </c:pt>
                <c:pt idx="919">
                  <c:v>40793</c:v>
                </c:pt>
                <c:pt idx="920">
                  <c:v>40794</c:v>
                </c:pt>
                <c:pt idx="921">
                  <c:v>40795</c:v>
                </c:pt>
                <c:pt idx="922">
                  <c:v>40799</c:v>
                </c:pt>
                <c:pt idx="923">
                  <c:v>40800</c:v>
                </c:pt>
                <c:pt idx="924">
                  <c:v>40801</c:v>
                </c:pt>
                <c:pt idx="925">
                  <c:v>40802</c:v>
                </c:pt>
                <c:pt idx="926">
                  <c:v>40805</c:v>
                </c:pt>
                <c:pt idx="927">
                  <c:v>40806</c:v>
                </c:pt>
                <c:pt idx="928">
                  <c:v>40807</c:v>
                </c:pt>
                <c:pt idx="929">
                  <c:v>40808</c:v>
                </c:pt>
                <c:pt idx="930">
                  <c:v>40809</c:v>
                </c:pt>
                <c:pt idx="931">
                  <c:v>40812</c:v>
                </c:pt>
                <c:pt idx="932">
                  <c:v>40813</c:v>
                </c:pt>
                <c:pt idx="933">
                  <c:v>40814</c:v>
                </c:pt>
                <c:pt idx="934">
                  <c:v>40815</c:v>
                </c:pt>
                <c:pt idx="935">
                  <c:v>40816</c:v>
                </c:pt>
                <c:pt idx="936">
                  <c:v>40826</c:v>
                </c:pt>
                <c:pt idx="937">
                  <c:v>40827</c:v>
                </c:pt>
                <c:pt idx="938">
                  <c:v>40828</c:v>
                </c:pt>
                <c:pt idx="939">
                  <c:v>40829</c:v>
                </c:pt>
                <c:pt idx="940">
                  <c:v>40830</c:v>
                </c:pt>
                <c:pt idx="941">
                  <c:v>40833</c:v>
                </c:pt>
                <c:pt idx="942">
                  <c:v>40834</c:v>
                </c:pt>
                <c:pt idx="943">
                  <c:v>40835</c:v>
                </c:pt>
                <c:pt idx="944">
                  <c:v>40836</c:v>
                </c:pt>
                <c:pt idx="945">
                  <c:v>40837</c:v>
                </c:pt>
                <c:pt idx="946">
                  <c:v>40840</c:v>
                </c:pt>
                <c:pt idx="947">
                  <c:v>40841</c:v>
                </c:pt>
                <c:pt idx="948">
                  <c:v>40842</c:v>
                </c:pt>
                <c:pt idx="949">
                  <c:v>40843</c:v>
                </c:pt>
                <c:pt idx="950">
                  <c:v>40844</c:v>
                </c:pt>
                <c:pt idx="951">
                  <c:v>40847</c:v>
                </c:pt>
                <c:pt idx="952">
                  <c:v>40848</c:v>
                </c:pt>
                <c:pt idx="953">
                  <c:v>40849</c:v>
                </c:pt>
                <c:pt idx="954">
                  <c:v>40850</c:v>
                </c:pt>
                <c:pt idx="955">
                  <c:v>40851</c:v>
                </c:pt>
                <c:pt idx="956">
                  <c:v>40854</c:v>
                </c:pt>
                <c:pt idx="957">
                  <c:v>40855</c:v>
                </c:pt>
                <c:pt idx="958">
                  <c:v>40856</c:v>
                </c:pt>
                <c:pt idx="959">
                  <c:v>40857</c:v>
                </c:pt>
                <c:pt idx="960">
                  <c:v>40858</c:v>
                </c:pt>
                <c:pt idx="961">
                  <c:v>40861</c:v>
                </c:pt>
                <c:pt idx="962">
                  <c:v>40862</c:v>
                </c:pt>
                <c:pt idx="963">
                  <c:v>40863</c:v>
                </c:pt>
                <c:pt idx="964">
                  <c:v>40864</c:v>
                </c:pt>
                <c:pt idx="965">
                  <c:v>40865</c:v>
                </c:pt>
                <c:pt idx="966">
                  <c:v>40868</c:v>
                </c:pt>
                <c:pt idx="967">
                  <c:v>40869</c:v>
                </c:pt>
                <c:pt idx="968">
                  <c:v>40870</c:v>
                </c:pt>
                <c:pt idx="969">
                  <c:v>40871</c:v>
                </c:pt>
                <c:pt idx="970">
                  <c:v>40872</c:v>
                </c:pt>
                <c:pt idx="971">
                  <c:v>40875</c:v>
                </c:pt>
                <c:pt idx="972">
                  <c:v>40876</c:v>
                </c:pt>
                <c:pt idx="973">
                  <c:v>40877</c:v>
                </c:pt>
                <c:pt idx="974">
                  <c:v>40878</c:v>
                </c:pt>
                <c:pt idx="975">
                  <c:v>40879</c:v>
                </c:pt>
                <c:pt idx="976">
                  <c:v>40882</c:v>
                </c:pt>
                <c:pt idx="977">
                  <c:v>40883</c:v>
                </c:pt>
                <c:pt idx="978">
                  <c:v>40884</c:v>
                </c:pt>
                <c:pt idx="979">
                  <c:v>40885</c:v>
                </c:pt>
                <c:pt idx="980">
                  <c:v>40886</c:v>
                </c:pt>
                <c:pt idx="981">
                  <c:v>40889</c:v>
                </c:pt>
                <c:pt idx="982">
                  <c:v>40890</c:v>
                </c:pt>
                <c:pt idx="983">
                  <c:v>40891</c:v>
                </c:pt>
                <c:pt idx="984">
                  <c:v>40892</c:v>
                </c:pt>
                <c:pt idx="985">
                  <c:v>40893</c:v>
                </c:pt>
                <c:pt idx="986">
                  <c:v>40896</c:v>
                </c:pt>
                <c:pt idx="987">
                  <c:v>40897</c:v>
                </c:pt>
                <c:pt idx="988">
                  <c:v>40898</c:v>
                </c:pt>
                <c:pt idx="989">
                  <c:v>40899</c:v>
                </c:pt>
                <c:pt idx="990">
                  <c:v>40900</c:v>
                </c:pt>
                <c:pt idx="991">
                  <c:v>40903</c:v>
                </c:pt>
                <c:pt idx="992">
                  <c:v>40904</c:v>
                </c:pt>
                <c:pt idx="993">
                  <c:v>40905</c:v>
                </c:pt>
                <c:pt idx="994">
                  <c:v>40906</c:v>
                </c:pt>
                <c:pt idx="995">
                  <c:v>40907</c:v>
                </c:pt>
                <c:pt idx="996">
                  <c:v>40912</c:v>
                </c:pt>
                <c:pt idx="997">
                  <c:v>40913</c:v>
                </c:pt>
                <c:pt idx="998">
                  <c:v>40914</c:v>
                </c:pt>
                <c:pt idx="999">
                  <c:v>40917</c:v>
                </c:pt>
                <c:pt idx="1000">
                  <c:v>40918</c:v>
                </c:pt>
                <c:pt idx="1001">
                  <c:v>40919</c:v>
                </c:pt>
                <c:pt idx="1002">
                  <c:v>40920</c:v>
                </c:pt>
                <c:pt idx="1003">
                  <c:v>40921</c:v>
                </c:pt>
                <c:pt idx="1004">
                  <c:v>40924</c:v>
                </c:pt>
                <c:pt idx="1005">
                  <c:v>40925</c:v>
                </c:pt>
                <c:pt idx="1006">
                  <c:v>40926</c:v>
                </c:pt>
                <c:pt idx="1007">
                  <c:v>40927</c:v>
                </c:pt>
                <c:pt idx="1008">
                  <c:v>40928</c:v>
                </c:pt>
                <c:pt idx="1009">
                  <c:v>40938</c:v>
                </c:pt>
                <c:pt idx="1010">
                  <c:v>40939</c:v>
                </c:pt>
                <c:pt idx="1011">
                  <c:v>40940</c:v>
                </c:pt>
                <c:pt idx="1012">
                  <c:v>40941</c:v>
                </c:pt>
                <c:pt idx="1013">
                  <c:v>40942</c:v>
                </c:pt>
                <c:pt idx="1014">
                  <c:v>40945</c:v>
                </c:pt>
                <c:pt idx="1015">
                  <c:v>40946</c:v>
                </c:pt>
                <c:pt idx="1016">
                  <c:v>40947</c:v>
                </c:pt>
                <c:pt idx="1017">
                  <c:v>40948</c:v>
                </c:pt>
                <c:pt idx="1018">
                  <c:v>40949</c:v>
                </c:pt>
                <c:pt idx="1019">
                  <c:v>40952</c:v>
                </c:pt>
                <c:pt idx="1020">
                  <c:v>40953</c:v>
                </c:pt>
                <c:pt idx="1021">
                  <c:v>40954</c:v>
                </c:pt>
                <c:pt idx="1022">
                  <c:v>40955</c:v>
                </c:pt>
                <c:pt idx="1023">
                  <c:v>40956</c:v>
                </c:pt>
                <c:pt idx="1024">
                  <c:v>40959</c:v>
                </c:pt>
                <c:pt idx="1025">
                  <c:v>40960</c:v>
                </c:pt>
                <c:pt idx="1026">
                  <c:v>40961</c:v>
                </c:pt>
                <c:pt idx="1027">
                  <c:v>40962</c:v>
                </c:pt>
                <c:pt idx="1028">
                  <c:v>40963</c:v>
                </c:pt>
                <c:pt idx="1029">
                  <c:v>40966</c:v>
                </c:pt>
                <c:pt idx="1030">
                  <c:v>40967</c:v>
                </c:pt>
                <c:pt idx="1031">
                  <c:v>40968</c:v>
                </c:pt>
                <c:pt idx="1032">
                  <c:v>40969</c:v>
                </c:pt>
                <c:pt idx="1033">
                  <c:v>40970</c:v>
                </c:pt>
                <c:pt idx="1034">
                  <c:v>40973</c:v>
                </c:pt>
                <c:pt idx="1035">
                  <c:v>40974</c:v>
                </c:pt>
                <c:pt idx="1036">
                  <c:v>40975</c:v>
                </c:pt>
                <c:pt idx="1037">
                  <c:v>40976</c:v>
                </c:pt>
                <c:pt idx="1038">
                  <c:v>40977</c:v>
                </c:pt>
                <c:pt idx="1039">
                  <c:v>40980</c:v>
                </c:pt>
                <c:pt idx="1040">
                  <c:v>40981</c:v>
                </c:pt>
                <c:pt idx="1041">
                  <c:v>40982</c:v>
                </c:pt>
                <c:pt idx="1042">
                  <c:v>40983</c:v>
                </c:pt>
                <c:pt idx="1043">
                  <c:v>40984</c:v>
                </c:pt>
                <c:pt idx="1044">
                  <c:v>40987</c:v>
                </c:pt>
                <c:pt idx="1045">
                  <c:v>40988</c:v>
                </c:pt>
                <c:pt idx="1046">
                  <c:v>40989</c:v>
                </c:pt>
                <c:pt idx="1047">
                  <c:v>40990</c:v>
                </c:pt>
                <c:pt idx="1048">
                  <c:v>40991</c:v>
                </c:pt>
                <c:pt idx="1049">
                  <c:v>40994</c:v>
                </c:pt>
                <c:pt idx="1050">
                  <c:v>40995</c:v>
                </c:pt>
                <c:pt idx="1051">
                  <c:v>40996</c:v>
                </c:pt>
                <c:pt idx="1052">
                  <c:v>40997</c:v>
                </c:pt>
                <c:pt idx="1053">
                  <c:v>40998</c:v>
                </c:pt>
                <c:pt idx="1054">
                  <c:v>41004</c:v>
                </c:pt>
                <c:pt idx="1055">
                  <c:v>41005</c:v>
                </c:pt>
                <c:pt idx="1056">
                  <c:v>41008</c:v>
                </c:pt>
                <c:pt idx="1057">
                  <c:v>41009</c:v>
                </c:pt>
                <c:pt idx="1058">
                  <c:v>41010</c:v>
                </c:pt>
                <c:pt idx="1059">
                  <c:v>41011</c:v>
                </c:pt>
                <c:pt idx="1060">
                  <c:v>41012</c:v>
                </c:pt>
                <c:pt idx="1061">
                  <c:v>41015</c:v>
                </c:pt>
                <c:pt idx="1062">
                  <c:v>41016</c:v>
                </c:pt>
                <c:pt idx="1063">
                  <c:v>41017</c:v>
                </c:pt>
                <c:pt idx="1064">
                  <c:v>41018</c:v>
                </c:pt>
                <c:pt idx="1065">
                  <c:v>41019</c:v>
                </c:pt>
                <c:pt idx="1066">
                  <c:v>41022</c:v>
                </c:pt>
                <c:pt idx="1067">
                  <c:v>41023</c:v>
                </c:pt>
                <c:pt idx="1068">
                  <c:v>41024</c:v>
                </c:pt>
                <c:pt idx="1069">
                  <c:v>41025</c:v>
                </c:pt>
                <c:pt idx="1070">
                  <c:v>41026</c:v>
                </c:pt>
                <c:pt idx="1071">
                  <c:v>41031</c:v>
                </c:pt>
                <c:pt idx="1072">
                  <c:v>41032</c:v>
                </c:pt>
                <c:pt idx="1073">
                  <c:v>41033</c:v>
                </c:pt>
                <c:pt idx="1074">
                  <c:v>41036</c:v>
                </c:pt>
                <c:pt idx="1075">
                  <c:v>41037</c:v>
                </c:pt>
                <c:pt idx="1076">
                  <c:v>41038</c:v>
                </c:pt>
                <c:pt idx="1077">
                  <c:v>41039</c:v>
                </c:pt>
                <c:pt idx="1078">
                  <c:v>41040</c:v>
                </c:pt>
                <c:pt idx="1079">
                  <c:v>41043</c:v>
                </c:pt>
                <c:pt idx="1080">
                  <c:v>41044</c:v>
                </c:pt>
                <c:pt idx="1081">
                  <c:v>41045</c:v>
                </c:pt>
                <c:pt idx="1082">
                  <c:v>41046</c:v>
                </c:pt>
                <c:pt idx="1083">
                  <c:v>41047</c:v>
                </c:pt>
                <c:pt idx="1084">
                  <c:v>41050</c:v>
                </c:pt>
                <c:pt idx="1085">
                  <c:v>41051</c:v>
                </c:pt>
                <c:pt idx="1086">
                  <c:v>41052</c:v>
                </c:pt>
                <c:pt idx="1087">
                  <c:v>41053</c:v>
                </c:pt>
                <c:pt idx="1088">
                  <c:v>41054</c:v>
                </c:pt>
                <c:pt idx="1089">
                  <c:v>41057</c:v>
                </c:pt>
                <c:pt idx="1090">
                  <c:v>41058</c:v>
                </c:pt>
                <c:pt idx="1091">
                  <c:v>41059</c:v>
                </c:pt>
                <c:pt idx="1092">
                  <c:v>41060</c:v>
                </c:pt>
                <c:pt idx="1093">
                  <c:v>41061</c:v>
                </c:pt>
                <c:pt idx="1094">
                  <c:v>41064</c:v>
                </c:pt>
                <c:pt idx="1095">
                  <c:v>41065</c:v>
                </c:pt>
                <c:pt idx="1096">
                  <c:v>41066</c:v>
                </c:pt>
                <c:pt idx="1097">
                  <c:v>41067</c:v>
                </c:pt>
                <c:pt idx="1098">
                  <c:v>41068</c:v>
                </c:pt>
                <c:pt idx="1099">
                  <c:v>41071</c:v>
                </c:pt>
                <c:pt idx="1100">
                  <c:v>41072</c:v>
                </c:pt>
                <c:pt idx="1101">
                  <c:v>41073</c:v>
                </c:pt>
                <c:pt idx="1102">
                  <c:v>41074</c:v>
                </c:pt>
                <c:pt idx="1103">
                  <c:v>41075</c:v>
                </c:pt>
                <c:pt idx="1104">
                  <c:v>41078</c:v>
                </c:pt>
                <c:pt idx="1105">
                  <c:v>41079</c:v>
                </c:pt>
                <c:pt idx="1106">
                  <c:v>41080</c:v>
                </c:pt>
                <c:pt idx="1107">
                  <c:v>41081</c:v>
                </c:pt>
                <c:pt idx="1108">
                  <c:v>41085</c:v>
                </c:pt>
                <c:pt idx="1109">
                  <c:v>41086</c:v>
                </c:pt>
                <c:pt idx="1110">
                  <c:v>41087</c:v>
                </c:pt>
                <c:pt idx="1111">
                  <c:v>41088</c:v>
                </c:pt>
                <c:pt idx="1112">
                  <c:v>41089</c:v>
                </c:pt>
                <c:pt idx="1113">
                  <c:v>41092</c:v>
                </c:pt>
                <c:pt idx="1114">
                  <c:v>41093</c:v>
                </c:pt>
                <c:pt idx="1115">
                  <c:v>41094</c:v>
                </c:pt>
                <c:pt idx="1116">
                  <c:v>41095</c:v>
                </c:pt>
                <c:pt idx="1117">
                  <c:v>41096</c:v>
                </c:pt>
                <c:pt idx="1118">
                  <c:v>41099</c:v>
                </c:pt>
                <c:pt idx="1119">
                  <c:v>41100</c:v>
                </c:pt>
                <c:pt idx="1120">
                  <c:v>41101</c:v>
                </c:pt>
                <c:pt idx="1121">
                  <c:v>41102</c:v>
                </c:pt>
                <c:pt idx="1122">
                  <c:v>41103</c:v>
                </c:pt>
                <c:pt idx="1123">
                  <c:v>41106</c:v>
                </c:pt>
                <c:pt idx="1124">
                  <c:v>41107</c:v>
                </c:pt>
                <c:pt idx="1125">
                  <c:v>41108</c:v>
                </c:pt>
                <c:pt idx="1126">
                  <c:v>41109</c:v>
                </c:pt>
                <c:pt idx="1127">
                  <c:v>41110</c:v>
                </c:pt>
                <c:pt idx="1128">
                  <c:v>41113</c:v>
                </c:pt>
                <c:pt idx="1129">
                  <c:v>41114</c:v>
                </c:pt>
                <c:pt idx="1130">
                  <c:v>41115</c:v>
                </c:pt>
                <c:pt idx="1131">
                  <c:v>41116</c:v>
                </c:pt>
                <c:pt idx="1132">
                  <c:v>41117</c:v>
                </c:pt>
                <c:pt idx="1133">
                  <c:v>41120</c:v>
                </c:pt>
                <c:pt idx="1134">
                  <c:v>41121</c:v>
                </c:pt>
                <c:pt idx="1135">
                  <c:v>41122</c:v>
                </c:pt>
                <c:pt idx="1136">
                  <c:v>41123</c:v>
                </c:pt>
                <c:pt idx="1137">
                  <c:v>41124</c:v>
                </c:pt>
                <c:pt idx="1138">
                  <c:v>41127</c:v>
                </c:pt>
                <c:pt idx="1139">
                  <c:v>41128</c:v>
                </c:pt>
                <c:pt idx="1140">
                  <c:v>41129</c:v>
                </c:pt>
                <c:pt idx="1141">
                  <c:v>41130</c:v>
                </c:pt>
                <c:pt idx="1142">
                  <c:v>41131</c:v>
                </c:pt>
                <c:pt idx="1143">
                  <c:v>41134</c:v>
                </c:pt>
                <c:pt idx="1144">
                  <c:v>41135</c:v>
                </c:pt>
                <c:pt idx="1145">
                  <c:v>41136</c:v>
                </c:pt>
                <c:pt idx="1146">
                  <c:v>41137</c:v>
                </c:pt>
                <c:pt idx="1147">
                  <c:v>41138</c:v>
                </c:pt>
                <c:pt idx="1148">
                  <c:v>41141</c:v>
                </c:pt>
                <c:pt idx="1149">
                  <c:v>41142</c:v>
                </c:pt>
                <c:pt idx="1150">
                  <c:v>41143</c:v>
                </c:pt>
                <c:pt idx="1151">
                  <c:v>41144</c:v>
                </c:pt>
                <c:pt idx="1152">
                  <c:v>41145</c:v>
                </c:pt>
                <c:pt idx="1153">
                  <c:v>41148</c:v>
                </c:pt>
                <c:pt idx="1154">
                  <c:v>41149</c:v>
                </c:pt>
                <c:pt idx="1155">
                  <c:v>41150</c:v>
                </c:pt>
                <c:pt idx="1156">
                  <c:v>41151</c:v>
                </c:pt>
                <c:pt idx="1157">
                  <c:v>41152</c:v>
                </c:pt>
                <c:pt idx="1158">
                  <c:v>41155</c:v>
                </c:pt>
                <c:pt idx="1159">
                  <c:v>41156</c:v>
                </c:pt>
                <c:pt idx="1160">
                  <c:v>41157</c:v>
                </c:pt>
                <c:pt idx="1161">
                  <c:v>41158</c:v>
                </c:pt>
                <c:pt idx="1162">
                  <c:v>41159</c:v>
                </c:pt>
                <c:pt idx="1163">
                  <c:v>41162</c:v>
                </c:pt>
                <c:pt idx="1164">
                  <c:v>41163</c:v>
                </c:pt>
                <c:pt idx="1165">
                  <c:v>41164</c:v>
                </c:pt>
                <c:pt idx="1166">
                  <c:v>41165</c:v>
                </c:pt>
                <c:pt idx="1167">
                  <c:v>41166</c:v>
                </c:pt>
                <c:pt idx="1168">
                  <c:v>41169</c:v>
                </c:pt>
                <c:pt idx="1169">
                  <c:v>41170</c:v>
                </c:pt>
                <c:pt idx="1170">
                  <c:v>41171</c:v>
                </c:pt>
                <c:pt idx="1171">
                  <c:v>41172</c:v>
                </c:pt>
                <c:pt idx="1172">
                  <c:v>41173</c:v>
                </c:pt>
                <c:pt idx="1173">
                  <c:v>41176</c:v>
                </c:pt>
                <c:pt idx="1174">
                  <c:v>41177</c:v>
                </c:pt>
                <c:pt idx="1175">
                  <c:v>41178</c:v>
                </c:pt>
                <c:pt idx="1176">
                  <c:v>41179</c:v>
                </c:pt>
                <c:pt idx="1177">
                  <c:v>41180</c:v>
                </c:pt>
                <c:pt idx="1178">
                  <c:v>41190</c:v>
                </c:pt>
                <c:pt idx="1179">
                  <c:v>41191</c:v>
                </c:pt>
                <c:pt idx="1180">
                  <c:v>41192</c:v>
                </c:pt>
                <c:pt idx="1181">
                  <c:v>41193</c:v>
                </c:pt>
                <c:pt idx="1182">
                  <c:v>41194</c:v>
                </c:pt>
                <c:pt idx="1183">
                  <c:v>41197</c:v>
                </c:pt>
                <c:pt idx="1184">
                  <c:v>41198</c:v>
                </c:pt>
                <c:pt idx="1185">
                  <c:v>41199</c:v>
                </c:pt>
                <c:pt idx="1186">
                  <c:v>41200</c:v>
                </c:pt>
                <c:pt idx="1187">
                  <c:v>41201</c:v>
                </c:pt>
                <c:pt idx="1188">
                  <c:v>41204</c:v>
                </c:pt>
                <c:pt idx="1189">
                  <c:v>41205</c:v>
                </c:pt>
                <c:pt idx="1190">
                  <c:v>41206</c:v>
                </c:pt>
                <c:pt idx="1191">
                  <c:v>41207</c:v>
                </c:pt>
                <c:pt idx="1192">
                  <c:v>41208</c:v>
                </c:pt>
                <c:pt idx="1193">
                  <c:v>41211</c:v>
                </c:pt>
                <c:pt idx="1194">
                  <c:v>41212</c:v>
                </c:pt>
                <c:pt idx="1195">
                  <c:v>41213</c:v>
                </c:pt>
                <c:pt idx="1196">
                  <c:v>41214</c:v>
                </c:pt>
                <c:pt idx="1197">
                  <c:v>41215</c:v>
                </c:pt>
                <c:pt idx="1198">
                  <c:v>41218</c:v>
                </c:pt>
                <c:pt idx="1199">
                  <c:v>41219</c:v>
                </c:pt>
                <c:pt idx="1200">
                  <c:v>41220</c:v>
                </c:pt>
                <c:pt idx="1201">
                  <c:v>41221</c:v>
                </c:pt>
                <c:pt idx="1202">
                  <c:v>41222</c:v>
                </c:pt>
                <c:pt idx="1203">
                  <c:v>41225</c:v>
                </c:pt>
                <c:pt idx="1204">
                  <c:v>41226</c:v>
                </c:pt>
                <c:pt idx="1205">
                  <c:v>41227</c:v>
                </c:pt>
                <c:pt idx="1206">
                  <c:v>41228</c:v>
                </c:pt>
                <c:pt idx="1207">
                  <c:v>41229</c:v>
                </c:pt>
                <c:pt idx="1208">
                  <c:v>41232</c:v>
                </c:pt>
                <c:pt idx="1209">
                  <c:v>41233</c:v>
                </c:pt>
                <c:pt idx="1210">
                  <c:v>41234</c:v>
                </c:pt>
                <c:pt idx="1211">
                  <c:v>41235</c:v>
                </c:pt>
                <c:pt idx="1212">
                  <c:v>41236</c:v>
                </c:pt>
                <c:pt idx="1213">
                  <c:v>41239</c:v>
                </c:pt>
                <c:pt idx="1214">
                  <c:v>41240</c:v>
                </c:pt>
                <c:pt idx="1215">
                  <c:v>41241</c:v>
                </c:pt>
                <c:pt idx="1216">
                  <c:v>41242</c:v>
                </c:pt>
                <c:pt idx="1217">
                  <c:v>41243</c:v>
                </c:pt>
                <c:pt idx="1218">
                  <c:v>41246</c:v>
                </c:pt>
                <c:pt idx="1219">
                  <c:v>41247</c:v>
                </c:pt>
                <c:pt idx="1220">
                  <c:v>41248</c:v>
                </c:pt>
                <c:pt idx="1221">
                  <c:v>41249</c:v>
                </c:pt>
                <c:pt idx="1222">
                  <c:v>41250</c:v>
                </c:pt>
                <c:pt idx="1223">
                  <c:v>41253</c:v>
                </c:pt>
                <c:pt idx="1224">
                  <c:v>41254</c:v>
                </c:pt>
                <c:pt idx="1225">
                  <c:v>41255</c:v>
                </c:pt>
                <c:pt idx="1226">
                  <c:v>41256</c:v>
                </c:pt>
                <c:pt idx="1227">
                  <c:v>41257</c:v>
                </c:pt>
                <c:pt idx="1228">
                  <c:v>41260</c:v>
                </c:pt>
                <c:pt idx="1229">
                  <c:v>41261</c:v>
                </c:pt>
                <c:pt idx="1230">
                  <c:v>41262</c:v>
                </c:pt>
                <c:pt idx="1231">
                  <c:v>41263</c:v>
                </c:pt>
                <c:pt idx="1232">
                  <c:v>41264</c:v>
                </c:pt>
                <c:pt idx="1233">
                  <c:v>41267</c:v>
                </c:pt>
                <c:pt idx="1234">
                  <c:v>41268</c:v>
                </c:pt>
                <c:pt idx="1235">
                  <c:v>41269</c:v>
                </c:pt>
                <c:pt idx="1236">
                  <c:v>41270</c:v>
                </c:pt>
                <c:pt idx="1237">
                  <c:v>41271</c:v>
                </c:pt>
                <c:pt idx="1238">
                  <c:v>41274</c:v>
                </c:pt>
                <c:pt idx="1239">
                  <c:v>41278</c:v>
                </c:pt>
                <c:pt idx="1240">
                  <c:v>41281</c:v>
                </c:pt>
                <c:pt idx="1241">
                  <c:v>41282</c:v>
                </c:pt>
                <c:pt idx="1242">
                  <c:v>41283</c:v>
                </c:pt>
                <c:pt idx="1243">
                  <c:v>41284</c:v>
                </c:pt>
                <c:pt idx="1244">
                  <c:v>41285</c:v>
                </c:pt>
                <c:pt idx="1245">
                  <c:v>41288</c:v>
                </c:pt>
                <c:pt idx="1246">
                  <c:v>41289</c:v>
                </c:pt>
                <c:pt idx="1247">
                  <c:v>41290</c:v>
                </c:pt>
                <c:pt idx="1248">
                  <c:v>41291</c:v>
                </c:pt>
                <c:pt idx="1249">
                  <c:v>41292</c:v>
                </c:pt>
                <c:pt idx="1250">
                  <c:v>41295</c:v>
                </c:pt>
                <c:pt idx="1251">
                  <c:v>41296</c:v>
                </c:pt>
                <c:pt idx="1252">
                  <c:v>41297</c:v>
                </c:pt>
                <c:pt idx="1253">
                  <c:v>41298</c:v>
                </c:pt>
                <c:pt idx="1254">
                  <c:v>41299</c:v>
                </c:pt>
                <c:pt idx="1255">
                  <c:v>41302</c:v>
                </c:pt>
                <c:pt idx="1256">
                  <c:v>41303</c:v>
                </c:pt>
                <c:pt idx="1257">
                  <c:v>41304</c:v>
                </c:pt>
                <c:pt idx="1258">
                  <c:v>41305</c:v>
                </c:pt>
                <c:pt idx="1259">
                  <c:v>41306</c:v>
                </c:pt>
                <c:pt idx="1260">
                  <c:v>41309</c:v>
                </c:pt>
                <c:pt idx="1261">
                  <c:v>41310</c:v>
                </c:pt>
                <c:pt idx="1262">
                  <c:v>41311</c:v>
                </c:pt>
                <c:pt idx="1263">
                  <c:v>41312</c:v>
                </c:pt>
                <c:pt idx="1264">
                  <c:v>41313</c:v>
                </c:pt>
                <c:pt idx="1265">
                  <c:v>41323</c:v>
                </c:pt>
                <c:pt idx="1266">
                  <c:v>41324</c:v>
                </c:pt>
                <c:pt idx="1267">
                  <c:v>41325</c:v>
                </c:pt>
                <c:pt idx="1268">
                  <c:v>41326</c:v>
                </c:pt>
                <c:pt idx="1269">
                  <c:v>41327</c:v>
                </c:pt>
                <c:pt idx="1270">
                  <c:v>41330</c:v>
                </c:pt>
                <c:pt idx="1271">
                  <c:v>41331</c:v>
                </c:pt>
                <c:pt idx="1272">
                  <c:v>41332</c:v>
                </c:pt>
                <c:pt idx="1273">
                  <c:v>41333</c:v>
                </c:pt>
                <c:pt idx="1274">
                  <c:v>41334</c:v>
                </c:pt>
                <c:pt idx="1275">
                  <c:v>41337</c:v>
                </c:pt>
                <c:pt idx="1276">
                  <c:v>41338</c:v>
                </c:pt>
                <c:pt idx="1277">
                  <c:v>41339</c:v>
                </c:pt>
                <c:pt idx="1278">
                  <c:v>41340</c:v>
                </c:pt>
                <c:pt idx="1279">
                  <c:v>41341</c:v>
                </c:pt>
                <c:pt idx="1280">
                  <c:v>41344</c:v>
                </c:pt>
                <c:pt idx="1281">
                  <c:v>41345</c:v>
                </c:pt>
                <c:pt idx="1282">
                  <c:v>41346</c:v>
                </c:pt>
                <c:pt idx="1283">
                  <c:v>41347</c:v>
                </c:pt>
                <c:pt idx="1284">
                  <c:v>41348</c:v>
                </c:pt>
                <c:pt idx="1285">
                  <c:v>41351</c:v>
                </c:pt>
                <c:pt idx="1286">
                  <c:v>41352</c:v>
                </c:pt>
                <c:pt idx="1287">
                  <c:v>41353</c:v>
                </c:pt>
                <c:pt idx="1288">
                  <c:v>41354</c:v>
                </c:pt>
                <c:pt idx="1289">
                  <c:v>41355</c:v>
                </c:pt>
                <c:pt idx="1290">
                  <c:v>41358</c:v>
                </c:pt>
                <c:pt idx="1291">
                  <c:v>41359</c:v>
                </c:pt>
                <c:pt idx="1292">
                  <c:v>41360</c:v>
                </c:pt>
                <c:pt idx="1293">
                  <c:v>41361</c:v>
                </c:pt>
                <c:pt idx="1294">
                  <c:v>41362</c:v>
                </c:pt>
                <c:pt idx="1295">
                  <c:v>41365</c:v>
                </c:pt>
                <c:pt idx="1296">
                  <c:v>41366</c:v>
                </c:pt>
                <c:pt idx="1297">
                  <c:v>41367</c:v>
                </c:pt>
                <c:pt idx="1298">
                  <c:v>41372</c:v>
                </c:pt>
                <c:pt idx="1299">
                  <c:v>41373</c:v>
                </c:pt>
                <c:pt idx="1300">
                  <c:v>41374</c:v>
                </c:pt>
                <c:pt idx="1301">
                  <c:v>41375</c:v>
                </c:pt>
                <c:pt idx="1302">
                  <c:v>41376</c:v>
                </c:pt>
                <c:pt idx="1303">
                  <c:v>41379</c:v>
                </c:pt>
                <c:pt idx="1304">
                  <c:v>41380</c:v>
                </c:pt>
                <c:pt idx="1305">
                  <c:v>41381</c:v>
                </c:pt>
                <c:pt idx="1306">
                  <c:v>41382</c:v>
                </c:pt>
                <c:pt idx="1307">
                  <c:v>41383</c:v>
                </c:pt>
                <c:pt idx="1308">
                  <c:v>41386</c:v>
                </c:pt>
                <c:pt idx="1309">
                  <c:v>41387</c:v>
                </c:pt>
                <c:pt idx="1310">
                  <c:v>41388</c:v>
                </c:pt>
                <c:pt idx="1311">
                  <c:v>41389</c:v>
                </c:pt>
                <c:pt idx="1312">
                  <c:v>41390</c:v>
                </c:pt>
                <c:pt idx="1313">
                  <c:v>41396</c:v>
                </c:pt>
                <c:pt idx="1314">
                  <c:v>41397</c:v>
                </c:pt>
                <c:pt idx="1315">
                  <c:v>41400</c:v>
                </c:pt>
                <c:pt idx="1316">
                  <c:v>41401</c:v>
                </c:pt>
                <c:pt idx="1317">
                  <c:v>41402</c:v>
                </c:pt>
                <c:pt idx="1318">
                  <c:v>41403</c:v>
                </c:pt>
                <c:pt idx="1319">
                  <c:v>41404</c:v>
                </c:pt>
                <c:pt idx="1320">
                  <c:v>41407</c:v>
                </c:pt>
                <c:pt idx="1321">
                  <c:v>41408</c:v>
                </c:pt>
                <c:pt idx="1322">
                  <c:v>41409</c:v>
                </c:pt>
                <c:pt idx="1323">
                  <c:v>41410</c:v>
                </c:pt>
                <c:pt idx="1324">
                  <c:v>41411</c:v>
                </c:pt>
                <c:pt idx="1325">
                  <c:v>41414</c:v>
                </c:pt>
                <c:pt idx="1326">
                  <c:v>41415</c:v>
                </c:pt>
                <c:pt idx="1327">
                  <c:v>41416</c:v>
                </c:pt>
                <c:pt idx="1328">
                  <c:v>41417</c:v>
                </c:pt>
                <c:pt idx="1329">
                  <c:v>41418</c:v>
                </c:pt>
                <c:pt idx="1330">
                  <c:v>41421</c:v>
                </c:pt>
                <c:pt idx="1331">
                  <c:v>41422</c:v>
                </c:pt>
                <c:pt idx="1332">
                  <c:v>41423</c:v>
                </c:pt>
                <c:pt idx="1333">
                  <c:v>41424</c:v>
                </c:pt>
                <c:pt idx="1334">
                  <c:v>41425</c:v>
                </c:pt>
                <c:pt idx="1335">
                  <c:v>41428</c:v>
                </c:pt>
                <c:pt idx="1336">
                  <c:v>41429</c:v>
                </c:pt>
                <c:pt idx="1337">
                  <c:v>41430</c:v>
                </c:pt>
                <c:pt idx="1338">
                  <c:v>41431</c:v>
                </c:pt>
                <c:pt idx="1339">
                  <c:v>41432</c:v>
                </c:pt>
                <c:pt idx="1340">
                  <c:v>41438</c:v>
                </c:pt>
                <c:pt idx="1341">
                  <c:v>41439</c:v>
                </c:pt>
                <c:pt idx="1342">
                  <c:v>41442</c:v>
                </c:pt>
                <c:pt idx="1343">
                  <c:v>41443</c:v>
                </c:pt>
                <c:pt idx="1344">
                  <c:v>41444</c:v>
                </c:pt>
                <c:pt idx="1345">
                  <c:v>41445</c:v>
                </c:pt>
                <c:pt idx="1346">
                  <c:v>41446</c:v>
                </c:pt>
                <c:pt idx="1347">
                  <c:v>41449</c:v>
                </c:pt>
                <c:pt idx="1348">
                  <c:v>41450</c:v>
                </c:pt>
                <c:pt idx="1349">
                  <c:v>41451</c:v>
                </c:pt>
                <c:pt idx="1350">
                  <c:v>41452</c:v>
                </c:pt>
                <c:pt idx="1351">
                  <c:v>41453</c:v>
                </c:pt>
                <c:pt idx="1352">
                  <c:v>41456</c:v>
                </c:pt>
                <c:pt idx="1353">
                  <c:v>41457</c:v>
                </c:pt>
                <c:pt idx="1354">
                  <c:v>41458</c:v>
                </c:pt>
                <c:pt idx="1355">
                  <c:v>41459</c:v>
                </c:pt>
                <c:pt idx="1356">
                  <c:v>41460</c:v>
                </c:pt>
                <c:pt idx="1357">
                  <c:v>41463</c:v>
                </c:pt>
                <c:pt idx="1358">
                  <c:v>41464</c:v>
                </c:pt>
                <c:pt idx="1359">
                  <c:v>41465</c:v>
                </c:pt>
                <c:pt idx="1360">
                  <c:v>41466</c:v>
                </c:pt>
                <c:pt idx="1361">
                  <c:v>41467</c:v>
                </c:pt>
                <c:pt idx="1362">
                  <c:v>41470</c:v>
                </c:pt>
                <c:pt idx="1363">
                  <c:v>41471</c:v>
                </c:pt>
                <c:pt idx="1364">
                  <c:v>41472</c:v>
                </c:pt>
                <c:pt idx="1365">
                  <c:v>41473</c:v>
                </c:pt>
                <c:pt idx="1366">
                  <c:v>41474</c:v>
                </c:pt>
                <c:pt idx="1367">
                  <c:v>41477</c:v>
                </c:pt>
                <c:pt idx="1368">
                  <c:v>41478</c:v>
                </c:pt>
                <c:pt idx="1369">
                  <c:v>41479</c:v>
                </c:pt>
                <c:pt idx="1370">
                  <c:v>41480</c:v>
                </c:pt>
                <c:pt idx="1371">
                  <c:v>41481</c:v>
                </c:pt>
                <c:pt idx="1372">
                  <c:v>41484</c:v>
                </c:pt>
                <c:pt idx="1373">
                  <c:v>41485</c:v>
                </c:pt>
                <c:pt idx="1374">
                  <c:v>41486</c:v>
                </c:pt>
                <c:pt idx="1375">
                  <c:v>41487</c:v>
                </c:pt>
                <c:pt idx="1376">
                  <c:v>41488</c:v>
                </c:pt>
                <c:pt idx="1377">
                  <c:v>41491</c:v>
                </c:pt>
                <c:pt idx="1378">
                  <c:v>41492</c:v>
                </c:pt>
                <c:pt idx="1379">
                  <c:v>41493</c:v>
                </c:pt>
                <c:pt idx="1380">
                  <c:v>41494</c:v>
                </c:pt>
                <c:pt idx="1381">
                  <c:v>41495</c:v>
                </c:pt>
                <c:pt idx="1382">
                  <c:v>41498</c:v>
                </c:pt>
                <c:pt idx="1383">
                  <c:v>41499</c:v>
                </c:pt>
                <c:pt idx="1384">
                  <c:v>41500</c:v>
                </c:pt>
                <c:pt idx="1385">
                  <c:v>41501</c:v>
                </c:pt>
                <c:pt idx="1386">
                  <c:v>41502</c:v>
                </c:pt>
                <c:pt idx="1387">
                  <c:v>41505</c:v>
                </c:pt>
                <c:pt idx="1388">
                  <c:v>41506</c:v>
                </c:pt>
                <c:pt idx="1389">
                  <c:v>41507</c:v>
                </c:pt>
                <c:pt idx="1390">
                  <c:v>41508</c:v>
                </c:pt>
                <c:pt idx="1391">
                  <c:v>41509</c:v>
                </c:pt>
                <c:pt idx="1392">
                  <c:v>41512</c:v>
                </c:pt>
                <c:pt idx="1393">
                  <c:v>41513</c:v>
                </c:pt>
                <c:pt idx="1394">
                  <c:v>41514</c:v>
                </c:pt>
                <c:pt idx="1395">
                  <c:v>41515</c:v>
                </c:pt>
                <c:pt idx="1396">
                  <c:v>41516</c:v>
                </c:pt>
                <c:pt idx="1397">
                  <c:v>41519</c:v>
                </c:pt>
                <c:pt idx="1398">
                  <c:v>41520</c:v>
                </c:pt>
                <c:pt idx="1399">
                  <c:v>41521</c:v>
                </c:pt>
                <c:pt idx="1400">
                  <c:v>41522</c:v>
                </c:pt>
                <c:pt idx="1401">
                  <c:v>41523</c:v>
                </c:pt>
                <c:pt idx="1402">
                  <c:v>41526</c:v>
                </c:pt>
                <c:pt idx="1403">
                  <c:v>41527</c:v>
                </c:pt>
                <c:pt idx="1404">
                  <c:v>41528</c:v>
                </c:pt>
                <c:pt idx="1405">
                  <c:v>41529</c:v>
                </c:pt>
                <c:pt idx="1406">
                  <c:v>41530</c:v>
                </c:pt>
                <c:pt idx="1407">
                  <c:v>41533</c:v>
                </c:pt>
                <c:pt idx="1408">
                  <c:v>41534</c:v>
                </c:pt>
                <c:pt idx="1409">
                  <c:v>41535</c:v>
                </c:pt>
                <c:pt idx="1410">
                  <c:v>41540</c:v>
                </c:pt>
                <c:pt idx="1411">
                  <c:v>41541</c:v>
                </c:pt>
                <c:pt idx="1412">
                  <c:v>41542</c:v>
                </c:pt>
                <c:pt idx="1413">
                  <c:v>41543</c:v>
                </c:pt>
                <c:pt idx="1414">
                  <c:v>41544</c:v>
                </c:pt>
                <c:pt idx="1415">
                  <c:v>41547</c:v>
                </c:pt>
                <c:pt idx="1416">
                  <c:v>41555</c:v>
                </c:pt>
                <c:pt idx="1417">
                  <c:v>41556</c:v>
                </c:pt>
                <c:pt idx="1418">
                  <c:v>41557</c:v>
                </c:pt>
                <c:pt idx="1419">
                  <c:v>41558</c:v>
                </c:pt>
                <c:pt idx="1420">
                  <c:v>41561</c:v>
                </c:pt>
                <c:pt idx="1421">
                  <c:v>41562</c:v>
                </c:pt>
                <c:pt idx="1422">
                  <c:v>41563</c:v>
                </c:pt>
                <c:pt idx="1423">
                  <c:v>41564</c:v>
                </c:pt>
                <c:pt idx="1424">
                  <c:v>41565</c:v>
                </c:pt>
                <c:pt idx="1425">
                  <c:v>41568</c:v>
                </c:pt>
                <c:pt idx="1426">
                  <c:v>41569</c:v>
                </c:pt>
                <c:pt idx="1427">
                  <c:v>41570</c:v>
                </c:pt>
                <c:pt idx="1428">
                  <c:v>41571</c:v>
                </c:pt>
                <c:pt idx="1429">
                  <c:v>41572</c:v>
                </c:pt>
                <c:pt idx="1430">
                  <c:v>41575</c:v>
                </c:pt>
                <c:pt idx="1431">
                  <c:v>41576</c:v>
                </c:pt>
                <c:pt idx="1432">
                  <c:v>41577</c:v>
                </c:pt>
                <c:pt idx="1433">
                  <c:v>41578</c:v>
                </c:pt>
                <c:pt idx="1434">
                  <c:v>41579</c:v>
                </c:pt>
                <c:pt idx="1435">
                  <c:v>41582</c:v>
                </c:pt>
                <c:pt idx="1436">
                  <c:v>41583</c:v>
                </c:pt>
                <c:pt idx="1437">
                  <c:v>41584</c:v>
                </c:pt>
                <c:pt idx="1438">
                  <c:v>41585</c:v>
                </c:pt>
                <c:pt idx="1439">
                  <c:v>41586</c:v>
                </c:pt>
                <c:pt idx="1440">
                  <c:v>41589</c:v>
                </c:pt>
                <c:pt idx="1441">
                  <c:v>41590</c:v>
                </c:pt>
                <c:pt idx="1442">
                  <c:v>41591</c:v>
                </c:pt>
                <c:pt idx="1443">
                  <c:v>41592</c:v>
                </c:pt>
                <c:pt idx="1444">
                  <c:v>41593</c:v>
                </c:pt>
                <c:pt idx="1445">
                  <c:v>41596</c:v>
                </c:pt>
                <c:pt idx="1446">
                  <c:v>41597</c:v>
                </c:pt>
                <c:pt idx="1447">
                  <c:v>41598</c:v>
                </c:pt>
                <c:pt idx="1448">
                  <c:v>41599</c:v>
                </c:pt>
                <c:pt idx="1449">
                  <c:v>41600</c:v>
                </c:pt>
                <c:pt idx="1450">
                  <c:v>41603</c:v>
                </c:pt>
                <c:pt idx="1451">
                  <c:v>41604</c:v>
                </c:pt>
                <c:pt idx="1452">
                  <c:v>41605</c:v>
                </c:pt>
                <c:pt idx="1453">
                  <c:v>41606</c:v>
                </c:pt>
                <c:pt idx="1454">
                  <c:v>41607</c:v>
                </c:pt>
                <c:pt idx="1455">
                  <c:v>41610</c:v>
                </c:pt>
                <c:pt idx="1456">
                  <c:v>41611</c:v>
                </c:pt>
                <c:pt idx="1457">
                  <c:v>41612</c:v>
                </c:pt>
                <c:pt idx="1458">
                  <c:v>41613</c:v>
                </c:pt>
                <c:pt idx="1459">
                  <c:v>41614</c:v>
                </c:pt>
                <c:pt idx="1460">
                  <c:v>41617</c:v>
                </c:pt>
                <c:pt idx="1461">
                  <c:v>41618</c:v>
                </c:pt>
                <c:pt idx="1462">
                  <c:v>41619</c:v>
                </c:pt>
                <c:pt idx="1463">
                  <c:v>41620</c:v>
                </c:pt>
                <c:pt idx="1464">
                  <c:v>41621</c:v>
                </c:pt>
                <c:pt idx="1465">
                  <c:v>41624</c:v>
                </c:pt>
                <c:pt idx="1466">
                  <c:v>41625</c:v>
                </c:pt>
                <c:pt idx="1467">
                  <c:v>41626</c:v>
                </c:pt>
                <c:pt idx="1468">
                  <c:v>41627</c:v>
                </c:pt>
                <c:pt idx="1469">
                  <c:v>41628</c:v>
                </c:pt>
                <c:pt idx="1470">
                  <c:v>41631</c:v>
                </c:pt>
                <c:pt idx="1471">
                  <c:v>41632</c:v>
                </c:pt>
                <c:pt idx="1472">
                  <c:v>41633</c:v>
                </c:pt>
                <c:pt idx="1473">
                  <c:v>41634</c:v>
                </c:pt>
                <c:pt idx="1474">
                  <c:v>41635</c:v>
                </c:pt>
                <c:pt idx="1475">
                  <c:v>41638</c:v>
                </c:pt>
                <c:pt idx="1476">
                  <c:v>41639</c:v>
                </c:pt>
                <c:pt idx="1477">
                  <c:v>41641</c:v>
                </c:pt>
                <c:pt idx="1478">
                  <c:v>41642</c:v>
                </c:pt>
                <c:pt idx="1479">
                  <c:v>41645</c:v>
                </c:pt>
                <c:pt idx="1480">
                  <c:v>41646</c:v>
                </c:pt>
                <c:pt idx="1481">
                  <c:v>41647</c:v>
                </c:pt>
                <c:pt idx="1482">
                  <c:v>41648</c:v>
                </c:pt>
                <c:pt idx="1483">
                  <c:v>41649</c:v>
                </c:pt>
                <c:pt idx="1484">
                  <c:v>41652</c:v>
                </c:pt>
                <c:pt idx="1485">
                  <c:v>41653</c:v>
                </c:pt>
                <c:pt idx="1486">
                  <c:v>41654</c:v>
                </c:pt>
                <c:pt idx="1487">
                  <c:v>41655</c:v>
                </c:pt>
                <c:pt idx="1488">
                  <c:v>41656</c:v>
                </c:pt>
                <c:pt idx="1489">
                  <c:v>41659</c:v>
                </c:pt>
                <c:pt idx="1490">
                  <c:v>41660</c:v>
                </c:pt>
                <c:pt idx="1491">
                  <c:v>41661</c:v>
                </c:pt>
                <c:pt idx="1492">
                  <c:v>41662</c:v>
                </c:pt>
                <c:pt idx="1493">
                  <c:v>41663</c:v>
                </c:pt>
                <c:pt idx="1494">
                  <c:v>41666</c:v>
                </c:pt>
                <c:pt idx="1495">
                  <c:v>41667</c:v>
                </c:pt>
                <c:pt idx="1496">
                  <c:v>41668</c:v>
                </c:pt>
                <c:pt idx="1497">
                  <c:v>41669</c:v>
                </c:pt>
                <c:pt idx="1498">
                  <c:v>41677</c:v>
                </c:pt>
                <c:pt idx="1499">
                  <c:v>41680</c:v>
                </c:pt>
                <c:pt idx="1500">
                  <c:v>41681</c:v>
                </c:pt>
                <c:pt idx="1501">
                  <c:v>41682</c:v>
                </c:pt>
                <c:pt idx="1502">
                  <c:v>41683</c:v>
                </c:pt>
                <c:pt idx="1503">
                  <c:v>41684</c:v>
                </c:pt>
                <c:pt idx="1504">
                  <c:v>41687</c:v>
                </c:pt>
                <c:pt idx="1505">
                  <c:v>41688</c:v>
                </c:pt>
                <c:pt idx="1506">
                  <c:v>41689</c:v>
                </c:pt>
                <c:pt idx="1507">
                  <c:v>41690</c:v>
                </c:pt>
                <c:pt idx="1508">
                  <c:v>41691</c:v>
                </c:pt>
                <c:pt idx="1509">
                  <c:v>41694</c:v>
                </c:pt>
                <c:pt idx="1510">
                  <c:v>41695</c:v>
                </c:pt>
                <c:pt idx="1511">
                  <c:v>41696</c:v>
                </c:pt>
                <c:pt idx="1512">
                  <c:v>41697</c:v>
                </c:pt>
                <c:pt idx="1513">
                  <c:v>41698</c:v>
                </c:pt>
                <c:pt idx="1514">
                  <c:v>41701</c:v>
                </c:pt>
                <c:pt idx="1515">
                  <c:v>41702</c:v>
                </c:pt>
                <c:pt idx="1516">
                  <c:v>41703</c:v>
                </c:pt>
                <c:pt idx="1517">
                  <c:v>41704</c:v>
                </c:pt>
                <c:pt idx="1518">
                  <c:v>41705</c:v>
                </c:pt>
                <c:pt idx="1519">
                  <c:v>41708</c:v>
                </c:pt>
                <c:pt idx="1520">
                  <c:v>41709</c:v>
                </c:pt>
                <c:pt idx="1521">
                  <c:v>41710</c:v>
                </c:pt>
                <c:pt idx="1522">
                  <c:v>41711</c:v>
                </c:pt>
                <c:pt idx="1523">
                  <c:v>41712</c:v>
                </c:pt>
                <c:pt idx="1524">
                  <c:v>41715</c:v>
                </c:pt>
                <c:pt idx="1525">
                  <c:v>41716</c:v>
                </c:pt>
                <c:pt idx="1526">
                  <c:v>41717</c:v>
                </c:pt>
                <c:pt idx="1527">
                  <c:v>41718</c:v>
                </c:pt>
                <c:pt idx="1528">
                  <c:v>41719</c:v>
                </c:pt>
                <c:pt idx="1529">
                  <c:v>41722</c:v>
                </c:pt>
                <c:pt idx="1530">
                  <c:v>41723</c:v>
                </c:pt>
                <c:pt idx="1531">
                  <c:v>41724</c:v>
                </c:pt>
                <c:pt idx="1532">
                  <c:v>41725</c:v>
                </c:pt>
                <c:pt idx="1533">
                  <c:v>41726</c:v>
                </c:pt>
                <c:pt idx="1534">
                  <c:v>41729</c:v>
                </c:pt>
                <c:pt idx="1535">
                  <c:v>41730</c:v>
                </c:pt>
                <c:pt idx="1536">
                  <c:v>41731</c:v>
                </c:pt>
                <c:pt idx="1537">
                  <c:v>41732</c:v>
                </c:pt>
                <c:pt idx="1538">
                  <c:v>41733</c:v>
                </c:pt>
                <c:pt idx="1539">
                  <c:v>41737</c:v>
                </c:pt>
                <c:pt idx="1540">
                  <c:v>41738</c:v>
                </c:pt>
                <c:pt idx="1541">
                  <c:v>41739</c:v>
                </c:pt>
                <c:pt idx="1542">
                  <c:v>41740</c:v>
                </c:pt>
                <c:pt idx="1543">
                  <c:v>41743</c:v>
                </c:pt>
                <c:pt idx="1544">
                  <c:v>41744</c:v>
                </c:pt>
                <c:pt idx="1545">
                  <c:v>41745</c:v>
                </c:pt>
                <c:pt idx="1546">
                  <c:v>41746</c:v>
                </c:pt>
                <c:pt idx="1547">
                  <c:v>41747</c:v>
                </c:pt>
                <c:pt idx="1548">
                  <c:v>41750</c:v>
                </c:pt>
                <c:pt idx="1549">
                  <c:v>41751</c:v>
                </c:pt>
                <c:pt idx="1550">
                  <c:v>41752</c:v>
                </c:pt>
                <c:pt idx="1551">
                  <c:v>41753</c:v>
                </c:pt>
                <c:pt idx="1552">
                  <c:v>41754</c:v>
                </c:pt>
                <c:pt idx="1553">
                  <c:v>41757</c:v>
                </c:pt>
                <c:pt idx="1554">
                  <c:v>41758</c:v>
                </c:pt>
                <c:pt idx="1555">
                  <c:v>41759</c:v>
                </c:pt>
                <c:pt idx="1556">
                  <c:v>41764</c:v>
                </c:pt>
                <c:pt idx="1557">
                  <c:v>41765</c:v>
                </c:pt>
                <c:pt idx="1558">
                  <c:v>41766</c:v>
                </c:pt>
                <c:pt idx="1559">
                  <c:v>41767</c:v>
                </c:pt>
                <c:pt idx="1560">
                  <c:v>41768</c:v>
                </c:pt>
                <c:pt idx="1561">
                  <c:v>41771</c:v>
                </c:pt>
                <c:pt idx="1562">
                  <c:v>41772</c:v>
                </c:pt>
                <c:pt idx="1563">
                  <c:v>41773</c:v>
                </c:pt>
                <c:pt idx="1564">
                  <c:v>41774</c:v>
                </c:pt>
                <c:pt idx="1565">
                  <c:v>41775</c:v>
                </c:pt>
                <c:pt idx="1566">
                  <c:v>41778</c:v>
                </c:pt>
                <c:pt idx="1567">
                  <c:v>41779</c:v>
                </c:pt>
                <c:pt idx="1568">
                  <c:v>41780</c:v>
                </c:pt>
                <c:pt idx="1569">
                  <c:v>41781</c:v>
                </c:pt>
                <c:pt idx="1570">
                  <c:v>41782</c:v>
                </c:pt>
                <c:pt idx="1571">
                  <c:v>41785</c:v>
                </c:pt>
                <c:pt idx="1572">
                  <c:v>41786</c:v>
                </c:pt>
                <c:pt idx="1573">
                  <c:v>41787</c:v>
                </c:pt>
                <c:pt idx="1574">
                  <c:v>41788</c:v>
                </c:pt>
                <c:pt idx="1575">
                  <c:v>41789</c:v>
                </c:pt>
                <c:pt idx="1576">
                  <c:v>41793</c:v>
                </c:pt>
                <c:pt idx="1577">
                  <c:v>41794</c:v>
                </c:pt>
                <c:pt idx="1578">
                  <c:v>41795</c:v>
                </c:pt>
                <c:pt idx="1579">
                  <c:v>41796</c:v>
                </c:pt>
                <c:pt idx="1580">
                  <c:v>41799</c:v>
                </c:pt>
                <c:pt idx="1581">
                  <c:v>41800</c:v>
                </c:pt>
                <c:pt idx="1582">
                  <c:v>41801</c:v>
                </c:pt>
                <c:pt idx="1583">
                  <c:v>41802</c:v>
                </c:pt>
                <c:pt idx="1584">
                  <c:v>41803</c:v>
                </c:pt>
                <c:pt idx="1585">
                  <c:v>41806</c:v>
                </c:pt>
                <c:pt idx="1586">
                  <c:v>41807</c:v>
                </c:pt>
                <c:pt idx="1587">
                  <c:v>41808</c:v>
                </c:pt>
                <c:pt idx="1588">
                  <c:v>41809</c:v>
                </c:pt>
                <c:pt idx="1589">
                  <c:v>41810</c:v>
                </c:pt>
                <c:pt idx="1590">
                  <c:v>41813</c:v>
                </c:pt>
                <c:pt idx="1591">
                  <c:v>41814</c:v>
                </c:pt>
                <c:pt idx="1592">
                  <c:v>41815</c:v>
                </c:pt>
                <c:pt idx="1593">
                  <c:v>41816</c:v>
                </c:pt>
                <c:pt idx="1594">
                  <c:v>41817</c:v>
                </c:pt>
                <c:pt idx="1595">
                  <c:v>41820</c:v>
                </c:pt>
                <c:pt idx="1596">
                  <c:v>41821</c:v>
                </c:pt>
                <c:pt idx="1597">
                  <c:v>41822</c:v>
                </c:pt>
                <c:pt idx="1598">
                  <c:v>41823</c:v>
                </c:pt>
                <c:pt idx="1599">
                  <c:v>41824</c:v>
                </c:pt>
                <c:pt idx="1600">
                  <c:v>41827</c:v>
                </c:pt>
                <c:pt idx="1601">
                  <c:v>41828</c:v>
                </c:pt>
                <c:pt idx="1602">
                  <c:v>41829</c:v>
                </c:pt>
                <c:pt idx="1603">
                  <c:v>41830</c:v>
                </c:pt>
                <c:pt idx="1604">
                  <c:v>41831</c:v>
                </c:pt>
                <c:pt idx="1605">
                  <c:v>41834</c:v>
                </c:pt>
                <c:pt idx="1606">
                  <c:v>41835</c:v>
                </c:pt>
                <c:pt idx="1607">
                  <c:v>41836</c:v>
                </c:pt>
                <c:pt idx="1608">
                  <c:v>41837</c:v>
                </c:pt>
                <c:pt idx="1609">
                  <c:v>41838</c:v>
                </c:pt>
                <c:pt idx="1610">
                  <c:v>41841</c:v>
                </c:pt>
                <c:pt idx="1611">
                  <c:v>41842</c:v>
                </c:pt>
                <c:pt idx="1612">
                  <c:v>41843</c:v>
                </c:pt>
                <c:pt idx="1613">
                  <c:v>41844</c:v>
                </c:pt>
                <c:pt idx="1614">
                  <c:v>41845</c:v>
                </c:pt>
                <c:pt idx="1615">
                  <c:v>41848</c:v>
                </c:pt>
                <c:pt idx="1616">
                  <c:v>41849</c:v>
                </c:pt>
                <c:pt idx="1617">
                  <c:v>41850</c:v>
                </c:pt>
                <c:pt idx="1618">
                  <c:v>41851</c:v>
                </c:pt>
                <c:pt idx="1619">
                  <c:v>41852</c:v>
                </c:pt>
                <c:pt idx="1620">
                  <c:v>41855</c:v>
                </c:pt>
                <c:pt idx="1621">
                  <c:v>41856</c:v>
                </c:pt>
                <c:pt idx="1622">
                  <c:v>41857</c:v>
                </c:pt>
                <c:pt idx="1623">
                  <c:v>41858</c:v>
                </c:pt>
                <c:pt idx="1624">
                  <c:v>41859</c:v>
                </c:pt>
                <c:pt idx="1625">
                  <c:v>41862</c:v>
                </c:pt>
                <c:pt idx="1626">
                  <c:v>41863</c:v>
                </c:pt>
                <c:pt idx="1627">
                  <c:v>41864</c:v>
                </c:pt>
                <c:pt idx="1628">
                  <c:v>41865</c:v>
                </c:pt>
                <c:pt idx="1629">
                  <c:v>41866</c:v>
                </c:pt>
                <c:pt idx="1630">
                  <c:v>41869</c:v>
                </c:pt>
                <c:pt idx="1631">
                  <c:v>41870</c:v>
                </c:pt>
                <c:pt idx="1632">
                  <c:v>41871</c:v>
                </c:pt>
                <c:pt idx="1633">
                  <c:v>41872</c:v>
                </c:pt>
                <c:pt idx="1634">
                  <c:v>41873</c:v>
                </c:pt>
                <c:pt idx="1635">
                  <c:v>41876</c:v>
                </c:pt>
                <c:pt idx="1636">
                  <c:v>41877</c:v>
                </c:pt>
                <c:pt idx="1637">
                  <c:v>41878</c:v>
                </c:pt>
                <c:pt idx="1638">
                  <c:v>41879</c:v>
                </c:pt>
                <c:pt idx="1639">
                  <c:v>41880</c:v>
                </c:pt>
                <c:pt idx="1640">
                  <c:v>41883</c:v>
                </c:pt>
                <c:pt idx="1641">
                  <c:v>41884</c:v>
                </c:pt>
                <c:pt idx="1642">
                  <c:v>41885</c:v>
                </c:pt>
                <c:pt idx="1643">
                  <c:v>41886</c:v>
                </c:pt>
                <c:pt idx="1644">
                  <c:v>41887</c:v>
                </c:pt>
                <c:pt idx="1645">
                  <c:v>41891</c:v>
                </c:pt>
                <c:pt idx="1646">
                  <c:v>41892</c:v>
                </c:pt>
                <c:pt idx="1647">
                  <c:v>41893</c:v>
                </c:pt>
                <c:pt idx="1648">
                  <c:v>41894</c:v>
                </c:pt>
                <c:pt idx="1649">
                  <c:v>41897</c:v>
                </c:pt>
                <c:pt idx="1650">
                  <c:v>41898</c:v>
                </c:pt>
                <c:pt idx="1651">
                  <c:v>41899</c:v>
                </c:pt>
                <c:pt idx="1652">
                  <c:v>41900</c:v>
                </c:pt>
                <c:pt idx="1653">
                  <c:v>41901</c:v>
                </c:pt>
                <c:pt idx="1654">
                  <c:v>41904</c:v>
                </c:pt>
                <c:pt idx="1655">
                  <c:v>41905</c:v>
                </c:pt>
                <c:pt idx="1656">
                  <c:v>41906</c:v>
                </c:pt>
                <c:pt idx="1657">
                  <c:v>41907</c:v>
                </c:pt>
                <c:pt idx="1658">
                  <c:v>41908</c:v>
                </c:pt>
                <c:pt idx="1659">
                  <c:v>41911</c:v>
                </c:pt>
                <c:pt idx="1660">
                  <c:v>41912</c:v>
                </c:pt>
                <c:pt idx="1661">
                  <c:v>41920</c:v>
                </c:pt>
                <c:pt idx="1662">
                  <c:v>41921</c:v>
                </c:pt>
                <c:pt idx="1663">
                  <c:v>41922</c:v>
                </c:pt>
                <c:pt idx="1664">
                  <c:v>41925</c:v>
                </c:pt>
                <c:pt idx="1665">
                  <c:v>41926</c:v>
                </c:pt>
                <c:pt idx="1666">
                  <c:v>41927</c:v>
                </c:pt>
                <c:pt idx="1667">
                  <c:v>41928</c:v>
                </c:pt>
                <c:pt idx="1668">
                  <c:v>41929</c:v>
                </c:pt>
                <c:pt idx="1669">
                  <c:v>41932</c:v>
                </c:pt>
                <c:pt idx="1670">
                  <c:v>41933</c:v>
                </c:pt>
                <c:pt idx="1671">
                  <c:v>41934</c:v>
                </c:pt>
                <c:pt idx="1672">
                  <c:v>41935</c:v>
                </c:pt>
                <c:pt idx="1673">
                  <c:v>41936</c:v>
                </c:pt>
                <c:pt idx="1674">
                  <c:v>41939</c:v>
                </c:pt>
                <c:pt idx="1675">
                  <c:v>41940</c:v>
                </c:pt>
                <c:pt idx="1676">
                  <c:v>41941</c:v>
                </c:pt>
                <c:pt idx="1677">
                  <c:v>41942</c:v>
                </c:pt>
                <c:pt idx="1678">
                  <c:v>41943</c:v>
                </c:pt>
                <c:pt idx="1679">
                  <c:v>41946</c:v>
                </c:pt>
                <c:pt idx="1680">
                  <c:v>41947</c:v>
                </c:pt>
                <c:pt idx="1681">
                  <c:v>41948</c:v>
                </c:pt>
                <c:pt idx="1682">
                  <c:v>41949</c:v>
                </c:pt>
                <c:pt idx="1683">
                  <c:v>41950</c:v>
                </c:pt>
                <c:pt idx="1684">
                  <c:v>41953</c:v>
                </c:pt>
                <c:pt idx="1685">
                  <c:v>41954</c:v>
                </c:pt>
                <c:pt idx="1686">
                  <c:v>41955</c:v>
                </c:pt>
                <c:pt idx="1687">
                  <c:v>41956</c:v>
                </c:pt>
                <c:pt idx="1688">
                  <c:v>41957</c:v>
                </c:pt>
                <c:pt idx="1689">
                  <c:v>41960</c:v>
                </c:pt>
                <c:pt idx="1690">
                  <c:v>41961</c:v>
                </c:pt>
                <c:pt idx="1691">
                  <c:v>41962</c:v>
                </c:pt>
                <c:pt idx="1692">
                  <c:v>41963</c:v>
                </c:pt>
                <c:pt idx="1693">
                  <c:v>41964</c:v>
                </c:pt>
                <c:pt idx="1694">
                  <c:v>41967</c:v>
                </c:pt>
                <c:pt idx="1695">
                  <c:v>41968</c:v>
                </c:pt>
                <c:pt idx="1696">
                  <c:v>41969</c:v>
                </c:pt>
                <c:pt idx="1697">
                  <c:v>41970</c:v>
                </c:pt>
                <c:pt idx="1698">
                  <c:v>41971</c:v>
                </c:pt>
                <c:pt idx="1699">
                  <c:v>41974</c:v>
                </c:pt>
                <c:pt idx="1700">
                  <c:v>41975</c:v>
                </c:pt>
                <c:pt idx="1701">
                  <c:v>41976</c:v>
                </c:pt>
                <c:pt idx="1702">
                  <c:v>41977</c:v>
                </c:pt>
                <c:pt idx="1703">
                  <c:v>41978</c:v>
                </c:pt>
                <c:pt idx="1704">
                  <c:v>41981</c:v>
                </c:pt>
                <c:pt idx="1705">
                  <c:v>41982</c:v>
                </c:pt>
                <c:pt idx="1706">
                  <c:v>41983</c:v>
                </c:pt>
                <c:pt idx="1707">
                  <c:v>41984</c:v>
                </c:pt>
                <c:pt idx="1708">
                  <c:v>41985</c:v>
                </c:pt>
                <c:pt idx="1709">
                  <c:v>41988</c:v>
                </c:pt>
                <c:pt idx="1710">
                  <c:v>41989</c:v>
                </c:pt>
                <c:pt idx="1711">
                  <c:v>41990</c:v>
                </c:pt>
                <c:pt idx="1712">
                  <c:v>41991</c:v>
                </c:pt>
                <c:pt idx="1713">
                  <c:v>41992</c:v>
                </c:pt>
                <c:pt idx="1714">
                  <c:v>41995</c:v>
                </c:pt>
                <c:pt idx="1715">
                  <c:v>41996</c:v>
                </c:pt>
                <c:pt idx="1716">
                  <c:v>41997</c:v>
                </c:pt>
                <c:pt idx="1717">
                  <c:v>41998</c:v>
                </c:pt>
                <c:pt idx="1718">
                  <c:v>41999</c:v>
                </c:pt>
                <c:pt idx="1719">
                  <c:v>42002</c:v>
                </c:pt>
                <c:pt idx="1720">
                  <c:v>42003</c:v>
                </c:pt>
                <c:pt idx="1721">
                  <c:v>42004</c:v>
                </c:pt>
                <c:pt idx="1722">
                  <c:v>42009</c:v>
                </c:pt>
                <c:pt idx="1723">
                  <c:v>42010</c:v>
                </c:pt>
                <c:pt idx="1724">
                  <c:v>42011</c:v>
                </c:pt>
                <c:pt idx="1725">
                  <c:v>42012</c:v>
                </c:pt>
                <c:pt idx="1726">
                  <c:v>42013</c:v>
                </c:pt>
                <c:pt idx="1727">
                  <c:v>42016</c:v>
                </c:pt>
                <c:pt idx="1728">
                  <c:v>42017</c:v>
                </c:pt>
                <c:pt idx="1729">
                  <c:v>42018</c:v>
                </c:pt>
                <c:pt idx="1730">
                  <c:v>42019</c:v>
                </c:pt>
                <c:pt idx="1731">
                  <c:v>42020</c:v>
                </c:pt>
                <c:pt idx="1732">
                  <c:v>42023</c:v>
                </c:pt>
                <c:pt idx="1733">
                  <c:v>42024</c:v>
                </c:pt>
                <c:pt idx="1734">
                  <c:v>42025</c:v>
                </c:pt>
                <c:pt idx="1735">
                  <c:v>42026</c:v>
                </c:pt>
                <c:pt idx="1736">
                  <c:v>42027</c:v>
                </c:pt>
                <c:pt idx="1737">
                  <c:v>42030</c:v>
                </c:pt>
                <c:pt idx="1738">
                  <c:v>42031</c:v>
                </c:pt>
                <c:pt idx="1739">
                  <c:v>42032</c:v>
                </c:pt>
                <c:pt idx="1740">
                  <c:v>42033</c:v>
                </c:pt>
                <c:pt idx="1741">
                  <c:v>42034</c:v>
                </c:pt>
                <c:pt idx="1742">
                  <c:v>42037</c:v>
                </c:pt>
                <c:pt idx="1743">
                  <c:v>42038</c:v>
                </c:pt>
                <c:pt idx="1744">
                  <c:v>42039</c:v>
                </c:pt>
                <c:pt idx="1745">
                  <c:v>42040</c:v>
                </c:pt>
                <c:pt idx="1746">
                  <c:v>42041</c:v>
                </c:pt>
                <c:pt idx="1747">
                  <c:v>42044</c:v>
                </c:pt>
                <c:pt idx="1748">
                  <c:v>42045</c:v>
                </c:pt>
                <c:pt idx="1749">
                  <c:v>42046</c:v>
                </c:pt>
                <c:pt idx="1750">
                  <c:v>42047</c:v>
                </c:pt>
                <c:pt idx="1751">
                  <c:v>42048</c:v>
                </c:pt>
                <c:pt idx="1752">
                  <c:v>42051</c:v>
                </c:pt>
                <c:pt idx="1753">
                  <c:v>42052</c:v>
                </c:pt>
                <c:pt idx="1754">
                  <c:v>42060</c:v>
                </c:pt>
                <c:pt idx="1755">
                  <c:v>42061</c:v>
                </c:pt>
                <c:pt idx="1756">
                  <c:v>42062</c:v>
                </c:pt>
                <c:pt idx="1757">
                  <c:v>42065</c:v>
                </c:pt>
                <c:pt idx="1758">
                  <c:v>42066</c:v>
                </c:pt>
                <c:pt idx="1759">
                  <c:v>42067</c:v>
                </c:pt>
                <c:pt idx="1760">
                  <c:v>42068</c:v>
                </c:pt>
                <c:pt idx="1761">
                  <c:v>42069</c:v>
                </c:pt>
                <c:pt idx="1762">
                  <c:v>42072</c:v>
                </c:pt>
                <c:pt idx="1763">
                  <c:v>42073</c:v>
                </c:pt>
                <c:pt idx="1764">
                  <c:v>42074</c:v>
                </c:pt>
                <c:pt idx="1765">
                  <c:v>42075</c:v>
                </c:pt>
                <c:pt idx="1766">
                  <c:v>42076</c:v>
                </c:pt>
                <c:pt idx="1767">
                  <c:v>42079</c:v>
                </c:pt>
                <c:pt idx="1768">
                  <c:v>42080</c:v>
                </c:pt>
                <c:pt idx="1769">
                  <c:v>42081</c:v>
                </c:pt>
                <c:pt idx="1770">
                  <c:v>42082</c:v>
                </c:pt>
                <c:pt idx="1771">
                  <c:v>42083</c:v>
                </c:pt>
                <c:pt idx="1772">
                  <c:v>42086</c:v>
                </c:pt>
                <c:pt idx="1773">
                  <c:v>42087</c:v>
                </c:pt>
                <c:pt idx="1774">
                  <c:v>42088</c:v>
                </c:pt>
                <c:pt idx="1775">
                  <c:v>42089</c:v>
                </c:pt>
                <c:pt idx="1776">
                  <c:v>42090</c:v>
                </c:pt>
                <c:pt idx="1777">
                  <c:v>42093</c:v>
                </c:pt>
                <c:pt idx="1778">
                  <c:v>42094</c:v>
                </c:pt>
                <c:pt idx="1779">
                  <c:v>42095</c:v>
                </c:pt>
                <c:pt idx="1780">
                  <c:v>42096</c:v>
                </c:pt>
                <c:pt idx="1781">
                  <c:v>42097</c:v>
                </c:pt>
                <c:pt idx="1782">
                  <c:v>42101</c:v>
                </c:pt>
                <c:pt idx="1783">
                  <c:v>42102</c:v>
                </c:pt>
                <c:pt idx="1784">
                  <c:v>42103</c:v>
                </c:pt>
                <c:pt idx="1785">
                  <c:v>42104</c:v>
                </c:pt>
                <c:pt idx="1786">
                  <c:v>42107</c:v>
                </c:pt>
                <c:pt idx="1787">
                  <c:v>42108</c:v>
                </c:pt>
                <c:pt idx="1788">
                  <c:v>42109</c:v>
                </c:pt>
                <c:pt idx="1789">
                  <c:v>42110</c:v>
                </c:pt>
                <c:pt idx="1790">
                  <c:v>42111</c:v>
                </c:pt>
                <c:pt idx="1791">
                  <c:v>42114</c:v>
                </c:pt>
                <c:pt idx="1792">
                  <c:v>42115</c:v>
                </c:pt>
                <c:pt idx="1793">
                  <c:v>42116</c:v>
                </c:pt>
                <c:pt idx="1794">
                  <c:v>42117</c:v>
                </c:pt>
                <c:pt idx="1795">
                  <c:v>42118</c:v>
                </c:pt>
                <c:pt idx="1796">
                  <c:v>42121</c:v>
                </c:pt>
                <c:pt idx="1797">
                  <c:v>42122</c:v>
                </c:pt>
                <c:pt idx="1798">
                  <c:v>42123</c:v>
                </c:pt>
                <c:pt idx="1799">
                  <c:v>42124</c:v>
                </c:pt>
                <c:pt idx="1800">
                  <c:v>42128</c:v>
                </c:pt>
                <c:pt idx="1801">
                  <c:v>42129</c:v>
                </c:pt>
                <c:pt idx="1802">
                  <c:v>42130</c:v>
                </c:pt>
                <c:pt idx="1803">
                  <c:v>42131</c:v>
                </c:pt>
                <c:pt idx="1804">
                  <c:v>42132</c:v>
                </c:pt>
                <c:pt idx="1805">
                  <c:v>42135</c:v>
                </c:pt>
                <c:pt idx="1806">
                  <c:v>42136</c:v>
                </c:pt>
                <c:pt idx="1807">
                  <c:v>42137</c:v>
                </c:pt>
                <c:pt idx="1808">
                  <c:v>42138</c:v>
                </c:pt>
                <c:pt idx="1809">
                  <c:v>42139</c:v>
                </c:pt>
                <c:pt idx="1810">
                  <c:v>42142</c:v>
                </c:pt>
                <c:pt idx="1811">
                  <c:v>42143</c:v>
                </c:pt>
                <c:pt idx="1812">
                  <c:v>42144</c:v>
                </c:pt>
                <c:pt idx="1813">
                  <c:v>42145</c:v>
                </c:pt>
                <c:pt idx="1814">
                  <c:v>42146</c:v>
                </c:pt>
                <c:pt idx="1815">
                  <c:v>42149</c:v>
                </c:pt>
                <c:pt idx="1816">
                  <c:v>42150</c:v>
                </c:pt>
                <c:pt idx="1817">
                  <c:v>42151</c:v>
                </c:pt>
                <c:pt idx="1818">
                  <c:v>42152</c:v>
                </c:pt>
                <c:pt idx="1819">
                  <c:v>42153</c:v>
                </c:pt>
                <c:pt idx="1820">
                  <c:v>42156</c:v>
                </c:pt>
                <c:pt idx="1821">
                  <c:v>42157</c:v>
                </c:pt>
                <c:pt idx="1822">
                  <c:v>42158</c:v>
                </c:pt>
                <c:pt idx="1823">
                  <c:v>42159</c:v>
                </c:pt>
                <c:pt idx="1824">
                  <c:v>42160</c:v>
                </c:pt>
                <c:pt idx="1825">
                  <c:v>42163</c:v>
                </c:pt>
                <c:pt idx="1826">
                  <c:v>42164</c:v>
                </c:pt>
                <c:pt idx="1827">
                  <c:v>42165</c:v>
                </c:pt>
                <c:pt idx="1828">
                  <c:v>42166</c:v>
                </c:pt>
                <c:pt idx="1829">
                  <c:v>42167</c:v>
                </c:pt>
                <c:pt idx="1830">
                  <c:v>42170</c:v>
                </c:pt>
                <c:pt idx="1831">
                  <c:v>42171</c:v>
                </c:pt>
                <c:pt idx="1832">
                  <c:v>42172</c:v>
                </c:pt>
                <c:pt idx="1833">
                  <c:v>42173</c:v>
                </c:pt>
                <c:pt idx="1834">
                  <c:v>42174</c:v>
                </c:pt>
                <c:pt idx="1835">
                  <c:v>42178</c:v>
                </c:pt>
                <c:pt idx="1836">
                  <c:v>42179</c:v>
                </c:pt>
                <c:pt idx="1837">
                  <c:v>42180</c:v>
                </c:pt>
                <c:pt idx="1838">
                  <c:v>42181</c:v>
                </c:pt>
                <c:pt idx="1839">
                  <c:v>42184</c:v>
                </c:pt>
                <c:pt idx="1840">
                  <c:v>42185</c:v>
                </c:pt>
                <c:pt idx="1841">
                  <c:v>42186</c:v>
                </c:pt>
                <c:pt idx="1842">
                  <c:v>42187</c:v>
                </c:pt>
                <c:pt idx="1843">
                  <c:v>42188</c:v>
                </c:pt>
                <c:pt idx="1844">
                  <c:v>42191</c:v>
                </c:pt>
                <c:pt idx="1845">
                  <c:v>42192</c:v>
                </c:pt>
                <c:pt idx="1846">
                  <c:v>42193</c:v>
                </c:pt>
                <c:pt idx="1847">
                  <c:v>42194</c:v>
                </c:pt>
                <c:pt idx="1848">
                  <c:v>42195</c:v>
                </c:pt>
                <c:pt idx="1849">
                  <c:v>42198</c:v>
                </c:pt>
                <c:pt idx="1850">
                  <c:v>42199</c:v>
                </c:pt>
                <c:pt idx="1851">
                  <c:v>42200</c:v>
                </c:pt>
                <c:pt idx="1852">
                  <c:v>42201</c:v>
                </c:pt>
                <c:pt idx="1853">
                  <c:v>42202</c:v>
                </c:pt>
                <c:pt idx="1854">
                  <c:v>42205</c:v>
                </c:pt>
                <c:pt idx="1855">
                  <c:v>42206</c:v>
                </c:pt>
                <c:pt idx="1856">
                  <c:v>42207</c:v>
                </c:pt>
                <c:pt idx="1857">
                  <c:v>42208</c:v>
                </c:pt>
                <c:pt idx="1858">
                  <c:v>42209</c:v>
                </c:pt>
                <c:pt idx="1859">
                  <c:v>42212</c:v>
                </c:pt>
                <c:pt idx="1860">
                  <c:v>42213</c:v>
                </c:pt>
                <c:pt idx="1861">
                  <c:v>42214</c:v>
                </c:pt>
                <c:pt idx="1862">
                  <c:v>42215</c:v>
                </c:pt>
                <c:pt idx="1863">
                  <c:v>42216</c:v>
                </c:pt>
                <c:pt idx="1864">
                  <c:v>42219</c:v>
                </c:pt>
                <c:pt idx="1865">
                  <c:v>42220</c:v>
                </c:pt>
                <c:pt idx="1866">
                  <c:v>42221</c:v>
                </c:pt>
                <c:pt idx="1867">
                  <c:v>42222</c:v>
                </c:pt>
                <c:pt idx="1868">
                  <c:v>42223</c:v>
                </c:pt>
                <c:pt idx="1869">
                  <c:v>42226</c:v>
                </c:pt>
                <c:pt idx="1870">
                  <c:v>42227</c:v>
                </c:pt>
                <c:pt idx="1871">
                  <c:v>42228</c:v>
                </c:pt>
                <c:pt idx="1872">
                  <c:v>42229</c:v>
                </c:pt>
                <c:pt idx="1873">
                  <c:v>42230</c:v>
                </c:pt>
                <c:pt idx="1874">
                  <c:v>42233</c:v>
                </c:pt>
                <c:pt idx="1875">
                  <c:v>42234</c:v>
                </c:pt>
                <c:pt idx="1876">
                  <c:v>42235</c:v>
                </c:pt>
                <c:pt idx="1877">
                  <c:v>42236</c:v>
                </c:pt>
                <c:pt idx="1878">
                  <c:v>42237</c:v>
                </c:pt>
                <c:pt idx="1879">
                  <c:v>42240</c:v>
                </c:pt>
                <c:pt idx="1880">
                  <c:v>42241</c:v>
                </c:pt>
                <c:pt idx="1881">
                  <c:v>42242</c:v>
                </c:pt>
                <c:pt idx="1882">
                  <c:v>42243</c:v>
                </c:pt>
                <c:pt idx="1883">
                  <c:v>42244</c:v>
                </c:pt>
                <c:pt idx="1884">
                  <c:v>42247</c:v>
                </c:pt>
                <c:pt idx="1885">
                  <c:v>42248</c:v>
                </c:pt>
                <c:pt idx="1886">
                  <c:v>42249</c:v>
                </c:pt>
                <c:pt idx="1887">
                  <c:v>42254</c:v>
                </c:pt>
                <c:pt idx="1888">
                  <c:v>42255</c:v>
                </c:pt>
                <c:pt idx="1889">
                  <c:v>42256</c:v>
                </c:pt>
                <c:pt idx="1890">
                  <c:v>42257</c:v>
                </c:pt>
                <c:pt idx="1891">
                  <c:v>42258</c:v>
                </c:pt>
                <c:pt idx="1892">
                  <c:v>42261</c:v>
                </c:pt>
                <c:pt idx="1893">
                  <c:v>42262</c:v>
                </c:pt>
                <c:pt idx="1894">
                  <c:v>42263</c:v>
                </c:pt>
                <c:pt idx="1895">
                  <c:v>42264</c:v>
                </c:pt>
                <c:pt idx="1896">
                  <c:v>42265</c:v>
                </c:pt>
                <c:pt idx="1897">
                  <c:v>42268</c:v>
                </c:pt>
                <c:pt idx="1898">
                  <c:v>42269</c:v>
                </c:pt>
                <c:pt idx="1899">
                  <c:v>42270</c:v>
                </c:pt>
                <c:pt idx="1900">
                  <c:v>42271</c:v>
                </c:pt>
                <c:pt idx="1901">
                  <c:v>42272</c:v>
                </c:pt>
                <c:pt idx="1902">
                  <c:v>42275</c:v>
                </c:pt>
                <c:pt idx="1903">
                  <c:v>42276</c:v>
                </c:pt>
                <c:pt idx="1904">
                  <c:v>42277</c:v>
                </c:pt>
                <c:pt idx="1905">
                  <c:v>42285</c:v>
                </c:pt>
                <c:pt idx="1906">
                  <c:v>42286</c:v>
                </c:pt>
                <c:pt idx="1907">
                  <c:v>42289</c:v>
                </c:pt>
                <c:pt idx="1908">
                  <c:v>42290</c:v>
                </c:pt>
                <c:pt idx="1909">
                  <c:v>42291</c:v>
                </c:pt>
                <c:pt idx="1910">
                  <c:v>42292</c:v>
                </c:pt>
                <c:pt idx="1911">
                  <c:v>42293</c:v>
                </c:pt>
                <c:pt idx="1912">
                  <c:v>42296</c:v>
                </c:pt>
                <c:pt idx="1913">
                  <c:v>42297</c:v>
                </c:pt>
                <c:pt idx="1914">
                  <c:v>42298</c:v>
                </c:pt>
                <c:pt idx="1915">
                  <c:v>42299</c:v>
                </c:pt>
                <c:pt idx="1916">
                  <c:v>42300</c:v>
                </c:pt>
                <c:pt idx="1917">
                  <c:v>42303</c:v>
                </c:pt>
                <c:pt idx="1918">
                  <c:v>42304</c:v>
                </c:pt>
                <c:pt idx="1919">
                  <c:v>42305</c:v>
                </c:pt>
                <c:pt idx="1920">
                  <c:v>42306</c:v>
                </c:pt>
                <c:pt idx="1921">
                  <c:v>42307</c:v>
                </c:pt>
                <c:pt idx="1922">
                  <c:v>42310</c:v>
                </c:pt>
                <c:pt idx="1923">
                  <c:v>42311</c:v>
                </c:pt>
                <c:pt idx="1924">
                  <c:v>42312</c:v>
                </c:pt>
                <c:pt idx="1925">
                  <c:v>42313</c:v>
                </c:pt>
                <c:pt idx="1926">
                  <c:v>42314</c:v>
                </c:pt>
                <c:pt idx="1927">
                  <c:v>42317</c:v>
                </c:pt>
                <c:pt idx="1928">
                  <c:v>42318</c:v>
                </c:pt>
                <c:pt idx="1929">
                  <c:v>42319</c:v>
                </c:pt>
                <c:pt idx="1930">
                  <c:v>42320</c:v>
                </c:pt>
                <c:pt idx="1931">
                  <c:v>42321</c:v>
                </c:pt>
                <c:pt idx="1932">
                  <c:v>42324</c:v>
                </c:pt>
                <c:pt idx="1933">
                  <c:v>42325</c:v>
                </c:pt>
                <c:pt idx="1934">
                  <c:v>42326</c:v>
                </c:pt>
                <c:pt idx="1935">
                  <c:v>42327</c:v>
                </c:pt>
                <c:pt idx="1936">
                  <c:v>42328</c:v>
                </c:pt>
                <c:pt idx="1937">
                  <c:v>42331</c:v>
                </c:pt>
                <c:pt idx="1938">
                  <c:v>42332</c:v>
                </c:pt>
                <c:pt idx="1939">
                  <c:v>42333</c:v>
                </c:pt>
                <c:pt idx="1940">
                  <c:v>42334</c:v>
                </c:pt>
                <c:pt idx="1941">
                  <c:v>42335</c:v>
                </c:pt>
                <c:pt idx="1942">
                  <c:v>42338</c:v>
                </c:pt>
                <c:pt idx="1943">
                  <c:v>42339</c:v>
                </c:pt>
                <c:pt idx="1944">
                  <c:v>42340</c:v>
                </c:pt>
                <c:pt idx="1945">
                  <c:v>42341</c:v>
                </c:pt>
                <c:pt idx="1946">
                  <c:v>42342</c:v>
                </c:pt>
                <c:pt idx="1947">
                  <c:v>42345</c:v>
                </c:pt>
                <c:pt idx="1948">
                  <c:v>42346</c:v>
                </c:pt>
                <c:pt idx="1949">
                  <c:v>42347</c:v>
                </c:pt>
                <c:pt idx="1950">
                  <c:v>42348</c:v>
                </c:pt>
                <c:pt idx="1951">
                  <c:v>42349</c:v>
                </c:pt>
                <c:pt idx="1952">
                  <c:v>42352</c:v>
                </c:pt>
                <c:pt idx="1953">
                  <c:v>42353</c:v>
                </c:pt>
                <c:pt idx="1954">
                  <c:v>42354</c:v>
                </c:pt>
                <c:pt idx="1955">
                  <c:v>42355</c:v>
                </c:pt>
                <c:pt idx="1956">
                  <c:v>42356</c:v>
                </c:pt>
                <c:pt idx="1957">
                  <c:v>42359</c:v>
                </c:pt>
                <c:pt idx="1958">
                  <c:v>42360</c:v>
                </c:pt>
                <c:pt idx="1959">
                  <c:v>42361</c:v>
                </c:pt>
                <c:pt idx="1960">
                  <c:v>42362</c:v>
                </c:pt>
                <c:pt idx="1961">
                  <c:v>42363</c:v>
                </c:pt>
                <c:pt idx="1962">
                  <c:v>42366</c:v>
                </c:pt>
                <c:pt idx="1963">
                  <c:v>42367</c:v>
                </c:pt>
                <c:pt idx="1964">
                  <c:v>42368</c:v>
                </c:pt>
                <c:pt idx="1965">
                  <c:v>42369</c:v>
                </c:pt>
                <c:pt idx="1966">
                  <c:v>42373</c:v>
                </c:pt>
                <c:pt idx="1967">
                  <c:v>42374</c:v>
                </c:pt>
                <c:pt idx="1968">
                  <c:v>42375</c:v>
                </c:pt>
                <c:pt idx="1969">
                  <c:v>42376</c:v>
                </c:pt>
                <c:pt idx="1970">
                  <c:v>42377</c:v>
                </c:pt>
                <c:pt idx="1971">
                  <c:v>42380</c:v>
                </c:pt>
                <c:pt idx="1972">
                  <c:v>42381</c:v>
                </c:pt>
                <c:pt idx="1973">
                  <c:v>42382</c:v>
                </c:pt>
                <c:pt idx="1974">
                  <c:v>42383</c:v>
                </c:pt>
                <c:pt idx="1975">
                  <c:v>42384</c:v>
                </c:pt>
                <c:pt idx="1976">
                  <c:v>42387</c:v>
                </c:pt>
                <c:pt idx="1977">
                  <c:v>42388</c:v>
                </c:pt>
                <c:pt idx="1978">
                  <c:v>42389</c:v>
                </c:pt>
                <c:pt idx="1979">
                  <c:v>42390</c:v>
                </c:pt>
                <c:pt idx="1980">
                  <c:v>42391</c:v>
                </c:pt>
                <c:pt idx="1981">
                  <c:v>42394</c:v>
                </c:pt>
                <c:pt idx="1982">
                  <c:v>42395</c:v>
                </c:pt>
                <c:pt idx="1983">
                  <c:v>42396</c:v>
                </c:pt>
                <c:pt idx="1984">
                  <c:v>42397</c:v>
                </c:pt>
                <c:pt idx="1985">
                  <c:v>42398</c:v>
                </c:pt>
                <c:pt idx="1986">
                  <c:v>42401</c:v>
                </c:pt>
                <c:pt idx="1987">
                  <c:v>42402</c:v>
                </c:pt>
                <c:pt idx="1988">
                  <c:v>42403</c:v>
                </c:pt>
                <c:pt idx="1989">
                  <c:v>42404</c:v>
                </c:pt>
                <c:pt idx="1990">
                  <c:v>42405</c:v>
                </c:pt>
                <c:pt idx="1991">
                  <c:v>42415</c:v>
                </c:pt>
                <c:pt idx="1992">
                  <c:v>42416</c:v>
                </c:pt>
                <c:pt idx="1993">
                  <c:v>42417</c:v>
                </c:pt>
                <c:pt idx="1994">
                  <c:v>42418</c:v>
                </c:pt>
                <c:pt idx="1995">
                  <c:v>42419</c:v>
                </c:pt>
                <c:pt idx="1996">
                  <c:v>42422</c:v>
                </c:pt>
                <c:pt idx="1997">
                  <c:v>42423</c:v>
                </c:pt>
                <c:pt idx="1998">
                  <c:v>42424</c:v>
                </c:pt>
                <c:pt idx="1999">
                  <c:v>42425</c:v>
                </c:pt>
                <c:pt idx="2000">
                  <c:v>42426</c:v>
                </c:pt>
                <c:pt idx="2001">
                  <c:v>42429</c:v>
                </c:pt>
                <c:pt idx="2002">
                  <c:v>42430</c:v>
                </c:pt>
                <c:pt idx="2003">
                  <c:v>42431</c:v>
                </c:pt>
                <c:pt idx="2004">
                  <c:v>42432</c:v>
                </c:pt>
                <c:pt idx="2005">
                  <c:v>42433</c:v>
                </c:pt>
                <c:pt idx="2006">
                  <c:v>42436</c:v>
                </c:pt>
                <c:pt idx="2007">
                  <c:v>42437</c:v>
                </c:pt>
                <c:pt idx="2008">
                  <c:v>42438</c:v>
                </c:pt>
                <c:pt idx="2009">
                  <c:v>42439</c:v>
                </c:pt>
                <c:pt idx="2010">
                  <c:v>42440</c:v>
                </c:pt>
                <c:pt idx="2011">
                  <c:v>42443</c:v>
                </c:pt>
                <c:pt idx="2012">
                  <c:v>42444</c:v>
                </c:pt>
                <c:pt idx="2013">
                  <c:v>42445</c:v>
                </c:pt>
                <c:pt idx="2014">
                  <c:v>42446</c:v>
                </c:pt>
                <c:pt idx="2015">
                  <c:v>42447</c:v>
                </c:pt>
                <c:pt idx="2016">
                  <c:v>42450</c:v>
                </c:pt>
                <c:pt idx="2017">
                  <c:v>42451</c:v>
                </c:pt>
                <c:pt idx="2018">
                  <c:v>42452</c:v>
                </c:pt>
                <c:pt idx="2019">
                  <c:v>42453</c:v>
                </c:pt>
                <c:pt idx="2020">
                  <c:v>42454</c:v>
                </c:pt>
                <c:pt idx="2021">
                  <c:v>42457</c:v>
                </c:pt>
                <c:pt idx="2022">
                  <c:v>42458</c:v>
                </c:pt>
                <c:pt idx="2023">
                  <c:v>42459</c:v>
                </c:pt>
                <c:pt idx="2024">
                  <c:v>42460</c:v>
                </c:pt>
                <c:pt idx="2025">
                  <c:v>42461</c:v>
                </c:pt>
                <c:pt idx="2026">
                  <c:v>42465</c:v>
                </c:pt>
                <c:pt idx="2027">
                  <c:v>42466</c:v>
                </c:pt>
                <c:pt idx="2028">
                  <c:v>42467</c:v>
                </c:pt>
                <c:pt idx="2029">
                  <c:v>42468</c:v>
                </c:pt>
                <c:pt idx="2030">
                  <c:v>42471</c:v>
                </c:pt>
                <c:pt idx="2031">
                  <c:v>42472</c:v>
                </c:pt>
                <c:pt idx="2032">
                  <c:v>42473</c:v>
                </c:pt>
                <c:pt idx="2033">
                  <c:v>42474</c:v>
                </c:pt>
                <c:pt idx="2034">
                  <c:v>42475</c:v>
                </c:pt>
                <c:pt idx="2035">
                  <c:v>42478</c:v>
                </c:pt>
                <c:pt idx="2036">
                  <c:v>42479</c:v>
                </c:pt>
                <c:pt idx="2037">
                  <c:v>42480</c:v>
                </c:pt>
                <c:pt idx="2038">
                  <c:v>42481</c:v>
                </c:pt>
                <c:pt idx="2039">
                  <c:v>42482</c:v>
                </c:pt>
                <c:pt idx="2040">
                  <c:v>42485</c:v>
                </c:pt>
                <c:pt idx="2041">
                  <c:v>42486</c:v>
                </c:pt>
                <c:pt idx="2042">
                  <c:v>42487</c:v>
                </c:pt>
                <c:pt idx="2043">
                  <c:v>42488</c:v>
                </c:pt>
                <c:pt idx="2044">
                  <c:v>42489</c:v>
                </c:pt>
                <c:pt idx="2045">
                  <c:v>42493</c:v>
                </c:pt>
                <c:pt idx="2046">
                  <c:v>42494</c:v>
                </c:pt>
                <c:pt idx="2047">
                  <c:v>42495</c:v>
                </c:pt>
                <c:pt idx="2048">
                  <c:v>42496</c:v>
                </c:pt>
                <c:pt idx="2049">
                  <c:v>42499</c:v>
                </c:pt>
                <c:pt idx="2050">
                  <c:v>42500</c:v>
                </c:pt>
                <c:pt idx="2051">
                  <c:v>42501</c:v>
                </c:pt>
                <c:pt idx="2052">
                  <c:v>42502</c:v>
                </c:pt>
                <c:pt idx="2053">
                  <c:v>42503</c:v>
                </c:pt>
                <c:pt idx="2054">
                  <c:v>42506</c:v>
                </c:pt>
                <c:pt idx="2055">
                  <c:v>42507</c:v>
                </c:pt>
                <c:pt idx="2056">
                  <c:v>42508</c:v>
                </c:pt>
                <c:pt idx="2057">
                  <c:v>42509</c:v>
                </c:pt>
                <c:pt idx="2058">
                  <c:v>42510</c:v>
                </c:pt>
                <c:pt idx="2059">
                  <c:v>42513</c:v>
                </c:pt>
                <c:pt idx="2060">
                  <c:v>42514</c:v>
                </c:pt>
                <c:pt idx="2061">
                  <c:v>42515</c:v>
                </c:pt>
                <c:pt idx="2062">
                  <c:v>42516</c:v>
                </c:pt>
                <c:pt idx="2063">
                  <c:v>42517</c:v>
                </c:pt>
                <c:pt idx="2064">
                  <c:v>42520</c:v>
                </c:pt>
                <c:pt idx="2065">
                  <c:v>42521</c:v>
                </c:pt>
                <c:pt idx="2066">
                  <c:v>42522</c:v>
                </c:pt>
                <c:pt idx="2067">
                  <c:v>42523</c:v>
                </c:pt>
                <c:pt idx="2068">
                  <c:v>42524</c:v>
                </c:pt>
                <c:pt idx="2069">
                  <c:v>42527</c:v>
                </c:pt>
                <c:pt idx="2070">
                  <c:v>42528</c:v>
                </c:pt>
                <c:pt idx="2071">
                  <c:v>42529</c:v>
                </c:pt>
                <c:pt idx="2072">
                  <c:v>42534</c:v>
                </c:pt>
                <c:pt idx="2073">
                  <c:v>42535</c:v>
                </c:pt>
                <c:pt idx="2074">
                  <c:v>42536</c:v>
                </c:pt>
                <c:pt idx="2075">
                  <c:v>42537</c:v>
                </c:pt>
                <c:pt idx="2076">
                  <c:v>42538</c:v>
                </c:pt>
                <c:pt idx="2077">
                  <c:v>42541</c:v>
                </c:pt>
                <c:pt idx="2078">
                  <c:v>42542</c:v>
                </c:pt>
                <c:pt idx="2079">
                  <c:v>42543</c:v>
                </c:pt>
                <c:pt idx="2080">
                  <c:v>42544</c:v>
                </c:pt>
                <c:pt idx="2081">
                  <c:v>42545</c:v>
                </c:pt>
                <c:pt idx="2082">
                  <c:v>42548</c:v>
                </c:pt>
                <c:pt idx="2083">
                  <c:v>42549</c:v>
                </c:pt>
                <c:pt idx="2084">
                  <c:v>42550</c:v>
                </c:pt>
                <c:pt idx="2085">
                  <c:v>42551</c:v>
                </c:pt>
                <c:pt idx="2086">
                  <c:v>42552</c:v>
                </c:pt>
                <c:pt idx="2087">
                  <c:v>42555</c:v>
                </c:pt>
                <c:pt idx="2088">
                  <c:v>42556</c:v>
                </c:pt>
                <c:pt idx="2089">
                  <c:v>42557</c:v>
                </c:pt>
                <c:pt idx="2090">
                  <c:v>42558</c:v>
                </c:pt>
                <c:pt idx="2091">
                  <c:v>42559</c:v>
                </c:pt>
                <c:pt idx="2092">
                  <c:v>42562</c:v>
                </c:pt>
                <c:pt idx="2093">
                  <c:v>42563</c:v>
                </c:pt>
                <c:pt idx="2094">
                  <c:v>42564</c:v>
                </c:pt>
                <c:pt idx="2095">
                  <c:v>42565</c:v>
                </c:pt>
                <c:pt idx="2096">
                  <c:v>42566</c:v>
                </c:pt>
                <c:pt idx="2097">
                  <c:v>42569</c:v>
                </c:pt>
                <c:pt idx="2098">
                  <c:v>42570</c:v>
                </c:pt>
                <c:pt idx="2099">
                  <c:v>42571</c:v>
                </c:pt>
                <c:pt idx="2100">
                  <c:v>42572</c:v>
                </c:pt>
                <c:pt idx="2101">
                  <c:v>42573</c:v>
                </c:pt>
                <c:pt idx="2102">
                  <c:v>42576</c:v>
                </c:pt>
                <c:pt idx="2103">
                  <c:v>42577</c:v>
                </c:pt>
                <c:pt idx="2104">
                  <c:v>42578</c:v>
                </c:pt>
                <c:pt idx="2105">
                  <c:v>42579</c:v>
                </c:pt>
                <c:pt idx="2106">
                  <c:v>42580</c:v>
                </c:pt>
                <c:pt idx="2107">
                  <c:v>42583</c:v>
                </c:pt>
                <c:pt idx="2108">
                  <c:v>42584</c:v>
                </c:pt>
                <c:pt idx="2109">
                  <c:v>42585</c:v>
                </c:pt>
                <c:pt idx="2110">
                  <c:v>42586</c:v>
                </c:pt>
                <c:pt idx="2111">
                  <c:v>42587</c:v>
                </c:pt>
                <c:pt idx="2112">
                  <c:v>42590</c:v>
                </c:pt>
                <c:pt idx="2113">
                  <c:v>42591</c:v>
                </c:pt>
                <c:pt idx="2114">
                  <c:v>42592</c:v>
                </c:pt>
                <c:pt idx="2115">
                  <c:v>42593</c:v>
                </c:pt>
                <c:pt idx="2116">
                  <c:v>42594</c:v>
                </c:pt>
                <c:pt idx="2117">
                  <c:v>42597</c:v>
                </c:pt>
                <c:pt idx="2118">
                  <c:v>42598</c:v>
                </c:pt>
                <c:pt idx="2119">
                  <c:v>42599</c:v>
                </c:pt>
                <c:pt idx="2120">
                  <c:v>42600</c:v>
                </c:pt>
                <c:pt idx="2121">
                  <c:v>42601</c:v>
                </c:pt>
                <c:pt idx="2122">
                  <c:v>42604</c:v>
                </c:pt>
                <c:pt idx="2123">
                  <c:v>42605</c:v>
                </c:pt>
                <c:pt idx="2124">
                  <c:v>42606</c:v>
                </c:pt>
                <c:pt idx="2125">
                  <c:v>42607</c:v>
                </c:pt>
                <c:pt idx="2126">
                  <c:v>42608</c:v>
                </c:pt>
                <c:pt idx="2127">
                  <c:v>42611</c:v>
                </c:pt>
                <c:pt idx="2128">
                  <c:v>42612</c:v>
                </c:pt>
                <c:pt idx="2129">
                  <c:v>42613</c:v>
                </c:pt>
                <c:pt idx="2130">
                  <c:v>42614</c:v>
                </c:pt>
                <c:pt idx="2131">
                  <c:v>42615</c:v>
                </c:pt>
                <c:pt idx="2132">
                  <c:v>42618</c:v>
                </c:pt>
                <c:pt idx="2133">
                  <c:v>42619</c:v>
                </c:pt>
                <c:pt idx="2134">
                  <c:v>42620</c:v>
                </c:pt>
                <c:pt idx="2135">
                  <c:v>42621</c:v>
                </c:pt>
                <c:pt idx="2136">
                  <c:v>42622</c:v>
                </c:pt>
                <c:pt idx="2137">
                  <c:v>42625</c:v>
                </c:pt>
                <c:pt idx="2138">
                  <c:v>42626</c:v>
                </c:pt>
                <c:pt idx="2139">
                  <c:v>42627</c:v>
                </c:pt>
                <c:pt idx="2140">
                  <c:v>42632</c:v>
                </c:pt>
                <c:pt idx="2141">
                  <c:v>42633</c:v>
                </c:pt>
                <c:pt idx="2142">
                  <c:v>42634</c:v>
                </c:pt>
                <c:pt idx="2143">
                  <c:v>42635</c:v>
                </c:pt>
                <c:pt idx="2144">
                  <c:v>42636</c:v>
                </c:pt>
                <c:pt idx="2145">
                  <c:v>42639</c:v>
                </c:pt>
                <c:pt idx="2146">
                  <c:v>42640</c:v>
                </c:pt>
                <c:pt idx="2147">
                  <c:v>42641</c:v>
                </c:pt>
                <c:pt idx="2148">
                  <c:v>42642</c:v>
                </c:pt>
                <c:pt idx="2149">
                  <c:v>42643</c:v>
                </c:pt>
                <c:pt idx="2150">
                  <c:v>42653</c:v>
                </c:pt>
                <c:pt idx="2151">
                  <c:v>42654</c:v>
                </c:pt>
                <c:pt idx="2152">
                  <c:v>42655</c:v>
                </c:pt>
                <c:pt idx="2153">
                  <c:v>42656</c:v>
                </c:pt>
                <c:pt idx="2154">
                  <c:v>42657</c:v>
                </c:pt>
                <c:pt idx="2155">
                  <c:v>42660</c:v>
                </c:pt>
                <c:pt idx="2156">
                  <c:v>42661</c:v>
                </c:pt>
                <c:pt idx="2157">
                  <c:v>42662</c:v>
                </c:pt>
                <c:pt idx="2158">
                  <c:v>42663</c:v>
                </c:pt>
                <c:pt idx="2159">
                  <c:v>42664</c:v>
                </c:pt>
                <c:pt idx="2160">
                  <c:v>42667</c:v>
                </c:pt>
                <c:pt idx="2161">
                  <c:v>42668</c:v>
                </c:pt>
                <c:pt idx="2162">
                  <c:v>42669</c:v>
                </c:pt>
                <c:pt idx="2163">
                  <c:v>42670</c:v>
                </c:pt>
                <c:pt idx="2164">
                  <c:v>42671</c:v>
                </c:pt>
                <c:pt idx="2165">
                  <c:v>42674</c:v>
                </c:pt>
                <c:pt idx="2166">
                  <c:v>42675</c:v>
                </c:pt>
                <c:pt idx="2167">
                  <c:v>42676</c:v>
                </c:pt>
                <c:pt idx="2168">
                  <c:v>42677</c:v>
                </c:pt>
                <c:pt idx="2169">
                  <c:v>42678</c:v>
                </c:pt>
                <c:pt idx="2170">
                  <c:v>42681</c:v>
                </c:pt>
                <c:pt idx="2171">
                  <c:v>42682</c:v>
                </c:pt>
                <c:pt idx="2172">
                  <c:v>42683</c:v>
                </c:pt>
                <c:pt idx="2173">
                  <c:v>42684</c:v>
                </c:pt>
                <c:pt idx="2174">
                  <c:v>42685</c:v>
                </c:pt>
                <c:pt idx="2175">
                  <c:v>42688</c:v>
                </c:pt>
                <c:pt idx="2176">
                  <c:v>42689</c:v>
                </c:pt>
                <c:pt idx="2177">
                  <c:v>42690</c:v>
                </c:pt>
                <c:pt idx="2178">
                  <c:v>42691</c:v>
                </c:pt>
                <c:pt idx="2179">
                  <c:v>42692</c:v>
                </c:pt>
                <c:pt idx="2180">
                  <c:v>42695</c:v>
                </c:pt>
                <c:pt idx="2181">
                  <c:v>42696</c:v>
                </c:pt>
                <c:pt idx="2182">
                  <c:v>42697</c:v>
                </c:pt>
                <c:pt idx="2183">
                  <c:v>42698</c:v>
                </c:pt>
                <c:pt idx="2184">
                  <c:v>42699</c:v>
                </c:pt>
                <c:pt idx="2185">
                  <c:v>42702</c:v>
                </c:pt>
                <c:pt idx="2186">
                  <c:v>42703</c:v>
                </c:pt>
                <c:pt idx="2187">
                  <c:v>42704</c:v>
                </c:pt>
                <c:pt idx="2188">
                  <c:v>42705</c:v>
                </c:pt>
                <c:pt idx="2189">
                  <c:v>42706</c:v>
                </c:pt>
                <c:pt idx="2190">
                  <c:v>42709</c:v>
                </c:pt>
                <c:pt idx="2191">
                  <c:v>42710</c:v>
                </c:pt>
                <c:pt idx="2192">
                  <c:v>42711</c:v>
                </c:pt>
                <c:pt idx="2193">
                  <c:v>42712</c:v>
                </c:pt>
                <c:pt idx="2194">
                  <c:v>42713</c:v>
                </c:pt>
                <c:pt idx="2195">
                  <c:v>42716</c:v>
                </c:pt>
                <c:pt idx="2196">
                  <c:v>42717</c:v>
                </c:pt>
                <c:pt idx="2197">
                  <c:v>42718</c:v>
                </c:pt>
                <c:pt idx="2198">
                  <c:v>42719</c:v>
                </c:pt>
                <c:pt idx="2199">
                  <c:v>42720</c:v>
                </c:pt>
                <c:pt idx="2200">
                  <c:v>42723</c:v>
                </c:pt>
                <c:pt idx="2201">
                  <c:v>42724</c:v>
                </c:pt>
                <c:pt idx="2202">
                  <c:v>42725</c:v>
                </c:pt>
                <c:pt idx="2203">
                  <c:v>42726</c:v>
                </c:pt>
                <c:pt idx="2204">
                  <c:v>42727</c:v>
                </c:pt>
                <c:pt idx="2205">
                  <c:v>42730</c:v>
                </c:pt>
                <c:pt idx="2206">
                  <c:v>42731</c:v>
                </c:pt>
                <c:pt idx="2207">
                  <c:v>42732</c:v>
                </c:pt>
                <c:pt idx="2208">
                  <c:v>42733</c:v>
                </c:pt>
                <c:pt idx="2209">
                  <c:v>42734</c:v>
                </c:pt>
                <c:pt idx="2210">
                  <c:v>42738</c:v>
                </c:pt>
                <c:pt idx="2211">
                  <c:v>42739</c:v>
                </c:pt>
                <c:pt idx="2212">
                  <c:v>42740</c:v>
                </c:pt>
                <c:pt idx="2213">
                  <c:v>42741</c:v>
                </c:pt>
                <c:pt idx="2214">
                  <c:v>42744</c:v>
                </c:pt>
                <c:pt idx="2215">
                  <c:v>42745</c:v>
                </c:pt>
                <c:pt idx="2216">
                  <c:v>42746</c:v>
                </c:pt>
                <c:pt idx="2217">
                  <c:v>42747</c:v>
                </c:pt>
                <c:pt idx="2218">
                  <c:v>42748</c:v>
                </c:pt>
                <c:pt idx="2219">
                  <c:v>42751</c:v>
                </c:pt>
                <c:pt idx="2220">
                  <c:v>42752</c:v>
                </c:pt>
                <c:pt idx="2221">
                  <c:v>42753</c:v>
                </c:pt>
                <c:pt idx="2222">
                  <c:v>42754</c:v>
                </c:pt>
                <c:pt idx="2223">
                  <c:v>42755</c:v>
                </c:pt>
                <c:pt idx="2224">
                  <c:v>42758</c:v>
                </c:pt>
                <c:pt idx="2225">
                  <c:v>42759</c:v>
                </c:pt>
                <c:pt idx="2226">
                  <c:v>42760</c:v>
                </c:pt>
                <c:pt idx="2227">
                  <c:v>42761</c:v>
                </c:pt>
                <c:pt idx="2228">
                  <c:v>42769</c:v>
                </c:pt>
                <c:pt idx="2229">
                  <c:v>42772</c:v>
                </c:pt>
                <c:pt idx="2230">
                  <c:v>42773</c:v>
                </c:pt>
                <c:pt idx="2231">
                  <c:v>42774</c:v>
                </c:pt>
                <c:pt idx="2232">
                  <c:v>42775</c:v>
                </c:pt>
                <c:pt idx="2233">
                  <c:v>42776</c:v>
                </c:pt>
                <c:pt idx="2234">
                  <c:v>42779</c:v>
                </c:pt>
                <c:pt idx="2235">
                  <c:v>42780</c:v>
                </c:pt>
                <c:pt idx="2236">
                  <c:v>42781</c:v>
                </c:pt>
                <c:pt idx="2237">
                  <c:v>42782</c:v>
                </c:pt>
                <c:pt idx="2238">
                  <c:v>42783</c:v>
                </c:pt>
                <c:pt idx="2239">
                  <c:v>42786</c:v>
                </c:pt>
                <c:pt idx="2240">
                  <c:v>42787</c:v>
                </c:pt>
                <c:pt idx="2241">
                  <c:v>42788</c:v>
                </c:pt>
                <c:pt idx="2242">
                  <c:v>42789</c:v>
                </c:pt>
                <c:pt idx="2243">
                  <c:v>42790</c:v>
                </c:pt>
                <c:pt idx="2244">
                  <c:v>42793</c:v>
                </c:pt>
                <c:pt idx="2245">
                  <c:v>42794</c:v>
                </c:pt>
                <c:pt idx="2246">
                  <c:v>42795</c:v>
                </c:pt>
                <c:pt idx="2247">
                  <c:v>42796</c:v>
                </c:pt>
                <c:pt idx="2248">
                  <c:v>42797</c:v>
                </c:pt>
                <c:pt idx="2249">
                  <c:v>42800</c:v>
                </c:pt>
                <c:pt idx="2250">
                  <c:v>42801</c:v>
                </c:pt>
                <c:pt idx="2251">
                  <c:v>42802</c:v>
                </c:pt>
                <c:pt idx="2252">
                  <c:v>42803</c:v>
                </c:pt>
                <c:pt idx="2253">
                  <c:v>42804</c:v>
                </c:pt>
                <c:pt idx="2254">
                  <c:v>42807</c:v>
                </c:pt>
                <c:pt idx="2255">
                  <c:v>42808</c:v>
                </c:pt>
                <c:pt idx="2256">
                  <c:v>42809</c:v>
                </c:pt>
                <c:pt idx="2257">
                  <c:v>42810</c:v>
                </c:pt>
                <c:pt idx="2258">
                  <c:v>42811</c:v>
                </c:pt>
                <c:pt idx="2259">
                  <c:v>42814</c:v>
                </c:pt>
                <c:pt idx="2260">
                  <c:v>42815</c:v>
                </c:pt>
                <c:pt idx="2261">
                  <c:v>42816</c:v>
                </c:pt>
                <c:pt idx="2262">
                  <c:v>42817</c:v>
                </c:pt>
                <c:pt idx="2263">
                  <c:v>42818</c:v>
                </c:pt>
                <c:pt idx="2264">
                  <c:v>42821</c:v>
                </c:pt>
                <c:pt idx="2265">
                  <c:v>42822</c:v>
                </c:pt>
                <c:pt idx="2266">
                  <c:v>42823</c:v>
                </c:pt>
                <c:pt idx="2267">
                  <c:v>42824</c:v>
                </c:pt>
                <c:pt idx="2268">
                  <c:v>42825</c:v>
                </c:pt>
                <c:pt idx="2269">
                  <c:v>42830</c:v>
                </c:pt>
                <c:pt idx="2270">
                  <c:v>42831</c:v>
                </c:pt>
                <c:pt idx="2271">
                  <c:v>42832</c:v>
                </c:pt>
                <c:pt idx="2272">
                  <c:v>42835</c:v>
                </c:pt>
                <c:pt idx="2273">
                  <c:v>42836</c:v>
                </c:pt>
                <c:pt idx="2274">
                  <c:v>42837</c:v>
                </c:pt>
                <c:pt idx="2275">
                  <c:v>42838</c:v>
                </c:pt>
                <c:pt idx="2276">
                  <c:v>42839</c:v>
                </c:pt>
                <c:pt idx="2277">
                  <c:v>42842</c:v>
                </c:pt>
                <c:pt idx="2278">
                  <c:v>42843</c:v>
                </c:pt>
                <c:pt idx="2279">
                  <c:v>42844</c:v>
                </c:pt>
                <c:pt idx="2280">
                  <c:v>42845</c:v>
                </c:pt>
                <c:pt idx="2281">
                  <c:v>42846</c:v>
                </c:pt>
                <c:pt idx="2282">
                  <c:v>42849</c:v>
                </c:pt>
                <c:pt idx="2283">
                  <c:v>42850</c:v>
                </c:pt>
                <c:pt idx="2284">
                  <c:v>42851</c:v>
                </c:pt>
                <c:pt idx="2285">
                  <c:v>42852</c:v>
                </c:pt>
                <c:pt idx="2286">
                  <c:v>42853</c:v>
                </c:pt>
                <c:pt idx="2287">
                  <c:v>42857</c:v>
                </c:pt>
                <c:pt idx="2288">
                  <c:v>42858</c:v>
                </c:pt>
                <c:pt idx="2289">
                  <c:v>42859</c:v>
                </c:pt>
                <c:pt idx="2290">
                  <c:v>42860</c:v>
                </c:pt>
                <c:pt idx="2291">
                  <c:v>42863</c:v>
                </c:pt>
                <c:pt idx="2292">
                  <c:v>42864</c:v>
                </c:pt>
                <c:pt idx="2293">
                  <c:v>42865</c:v>
                </c:pt>
                <c:pt idx="2294">
                  <c:v>42866</c:v>
                </c:pt>
                <c:pt idx="2295">
                  <c:v>42867</c:v>
                </c:pt>
                <c:pt idx="2296">
                  <c:v>42870</c:v>
                </c:pt>
                <c:pt idx="2297">
                  <c:v>42871</c:v>
                </c:pt>
                <c:pt idx="2298">
                  <c:v>42872</c:v>
                </c:pt>
                <c:pt idx="2299">
                  <c:v>42873</c:v>
                </c:pt>
                <c:pt idx="2300">
                  <c:v>42874</c:v>
                </c:pt>
                <c:pt idx="2301">
                  <c:v>42877</c:v>
                </c:pt>
                <c:pt idx="2302">
                  <c:v>42878</c:v>
                </c:pt>
                <c:pt idx="2303">
                  <c:v>42879</c:v>
                </c:pt>
                <c:pt idx="2304">
                  <c:v>42880</c:v>
                </c:pt>
                <c:pt idx="2305">
                  <c:v>42881</c:v>
                </c:pt>
                <c:pt idx="2306">
                  <c:v>42886</c:v>
                </c:pt>
                <c:pt idx="2307">
                  <c:v>42887</c:v>
                </c:pt>
                <c:pt idx="2308">
                  <c:v>42888</c:v>
                </c:pt>
                <c:pt idx="2309">
                  <c:v>42891</c:v>
                </c:pt>
                <c:pt idx="2310">
                  <c:v>42892</c:v>
                </c:pt>
                <c:pt idx="2311">
                  <c:v>42893</c:v>
                </c:pt>
                <c:pt idx="2312">
                  <c:v>42894</c:v>
                </c:pt>
                <c:pt idx="2313">
                  <c:v>42895</c:v>
                </c:pt>
                <c:pt idx="2314">
                  <c:v>42898</c:v>
                </c:pt>
                <c:pt idx="2315">
                  <c:v>42899</c:v>
                </c:pt>
                <c:pt idx="2316">
                  <c:v>42900</c:v>
                </c:pt>
                <c:pt idx="2317">
                  <c:v>42901</c:v>
                </c:pt>
                <c:pt idx="2318">
                  <c:v>42902</c:v>
                </c:pt>
                <c:pt idx="2319">
                  <c:v>42905</c:v>
                </c:pt>
                <c:pt idx="2320">
                  <c:v>42906</c:v>
                </c:pt>
                <c:pt idx="2321">
                  <c:v>42907</c:v>
                </c:pt>
                <c:pt idx="2322">
                  <c:v>42908</c:v>
                </c:pt>
                <c:pt idx="2323">
                  <c:v>42909</c:v>
                </c:pt>
                <c:pt idx="2324">
                  <c:v>42912</c:v>
                </c:pt>
                <c:pt idx="2325">
                  <c:v>42913</c:v>
                </c:pt>
                <c:pt idx="2326">
                  <c:v>42914</c:v>
                </c:pt>
                <c:pt idx="2327">
                  <c:v>42915</c:v>
                </c:pt>
                <c:pt idx="2328">
                  <c:v>42916</c:v>
                </c:pt>
                <c:pt idx="2329">
                  <c:v>42919</c:v>
                </c:pt>
                <c:pt idx="2330">
                  <c:v>42920</c:v>
                </c:pt>
                <c:pt idx="2331">
                  <c:v>42921</c:v>
                </c:pt>
                <c:pt idx="2332">
                  <c:v>42922</c:v>
                </c:pt>
                <c:pt idx="2333">
                  <c:v>42923</c:v>
                </c:pt>
                <c:pt idx="2334">
                  <c:v>42926</c:v>
                </c:pt>
                <c:pt idx="2335">
                  <c:v>42927</c:v>
                </c:pt>
                <c:pt idx="2336">
                  <c:v>42928</c:v>
                </c:pt>
                <c:pt idx="2337">
                  <c:v>42929</c:v>
                </c:pt>
                <c:pt idx="2338">
                  <c:v>42930</c:v>
                </c:pt>
                <c:pt idx="2339">
                  <c:v>42933</c:v>
                </c:pt>
                <c:pt idx="2340">
                  <c:v>42934</c:v>
                </c:pt>
                <c:pt idx="2341">
                  <c:v>42935</c:v>
                </c:pt>
                <c:pt idx="2342">
                  <c:v>42936</c:v>
                </c:pt>
                <c:pt idx="2343">
                  <c:v>42937</c:v>
                </c:pt>
                <c:pt idx="2344">
                  <c:v>42940</c:v>
                </c:pt>
                <c:pt idx="2345">
                  <c:v>42941</c:v>
                </c:pt>
                <c:pt idx="2346">
                  <c:v>42942</c:v>
                </c:pt>
                <c:pt idx="2347">
                  <c:v>42943</c:v>
                </c:pt>
                <c:pt idx="2348">
                  <c:v>42944</c:v>
                </c:pt>
                <c:pt idx="2349">
                  <c:v>42947</c:v>
                </c:pt>
                <c:pt idx="2350">
                  <c:v>42948</c:v>
                </c:pt>
                <c:pt idx="2351">
                  <c:v>42949</c:v>
                </c:pt>
                <c:pt idx="2352">
                  <c:v>42950</c:v>
                </c:pt>
                <c:pt idx="2353">
                  <c:v>42951</c:v>
                </c:pt>
                <c:pt idx="2354">
                  <c:v>42954</c:v>
                </c:pt>
                <c:pt idx="2355">
                  <c:v>42955</c:v>
                </c:pt>
                <c:pt idx="2356">
                  <c:v>42956</c:v>
                </c:pt>
                <c:pt idx="2357">
                  <c:v>42957</c:v>
                </c:pt>
                <c:pt idx="2358">
                  <c:v>42958</c:v>
                </c:pt>
                <c:pt idx="2359">
                  <c:v>42961</c:v>
                </c:pt>
                <c:pt idx="2360">
                  <c:v>42962</c:v>
                </c:pt>
                <c:pt idx="2361">
                  <c:v>42963</c:v>
                </c:pt>
                <c:pt idx="2362">
                  <c:v>42964</c:v>
                </c:pt>
                <c:pt idx="2363">
                  <c:v>42965</c:v>
                </c:pt>
                <c:pt idx="2364">
                  <c:v>42968</c:v>
                </c:pt>
                <c:pt idx="2365">
                  <c:v>42969</c:v>
                </c:pt>
                <c:pt idx="2366">
                  <c:v>42970</c:v>
                </c:pt>
                <c:pt idx="2367">
                  <c:v>42971</c:v>
                </c:pt>
                <c:pt idx="2368">
                  <c:v>42972</c:v>
                </c:pt>
                <c:pt idx="2369">
                  <c:v>42975</c:v>
                </c:pt>
                <c:pt idx="2370">
                  <c:v>42976</c:v>
                </c:pt>
                <c:pt idx="2371">
                  <c:v>42977</c:v>
                </c:pt>
                <c:pt idx="2372">
                  <c:v>42978</c:v>
                </c:pt>
                <c:pt idx="2373">
                  <c:v>42979</c:v>
                </c:pt>
                <c:pt idx="2374">
                  <c:v>42982</c:v>
                </c:pt>
                <c:pt idx="2375">
                  <c:v>42983</c:v>
                </c:pt>
                <c:pt idx="2376">
                  <c:v>42984</c:v>
                </c:pt>
                <c:pt idx="2377">
                  <c:v>42985</c:v>
                </c:pt>
                <c:pt idx="2378">
                  <c:v>42986</c:v>
                </c:pt>
                <c:pt idx="2379">
                  <c:v>42989</c:v>
                </c:pt>
                <c:pt idx="2380">
                  <c:v>42990</c:v>
                </c:pt>
                <c:pt idx="2381">
                  <c:v>42991</c:v>
                </c:pt>
                <c:pt idx="2382">
                  <c:v>42992</c:v>
                </c:pt>
                <c:pt idx="2383">
                  <c:v>42993</c:v>
                </c:pt>
                <c:pt idx="2384">
                  <c:v>42996</c:v>
                </c:pt>
                <c:pt idx="2385">
                  <c:v>42997</c:v>
                </c:pt>
                <c:pt idx="2386">
                  <c:v>42998</c:v>
                </c:pt>
                <c:pt idx="2387">
                  <c:v>42999</c:v>
                </c:pt>
                <c:pt idx="2388">
                  <c:v>43000</c:v>
                </c:pt>
                <c:pt idx="2389">
                  <c:v>43003</c:v>
                </c:pt>
                <c:pt idx="2390">
                  <c:v>43004</c:v>
                </c:pt>
                <c:pt idx="2391">
                  <c:v>43005</c:v>
                </c:pt>
                <c:pt idx="2392">
                  <c:v>43006</c:v>
                </c:pt>
                <c:pt idx="2393">
                  <c:v>43007</c:v>
                </c:pt>
                <c:pt idx="2394">
                  <c:v>43017</c:v>
                </c:pt>
                <c:pt idx="2395">
                  <c:v>43018</c:v>
                </c:pt>
                <c:pt idx="2396">
                  <c:v>43019</c:v>
                </c:pt>
                <c:pt idx="2397">
                  <c:v>43020</c:v>
                </c:pt>
                <c:pt idx="2398">
                  <c:v>43021</c:v>
                </c:pt>
                <c:pt idx="2399">
                  <c:v>43024</c:v>
                </c:pt>
                <c:pt idx="2400">
                  <c:v>43025</c:v>
                </c:pt>
                <c:pt idx="2401">
                  <c:v>43026</c:v>
                </c:pt>
                <c:pt idx="2402">
                  <c:v>43027</c:v>
                </c:pt>
                <c:pt idx="2403">
                  <c:v>43028</c:v>
                </c:pt>
                <c:pt idx="2404">
                  <c:v>43031</c:v>
                </c:pt>
                <c:pt idx="2405">
                  <c:v>43032</c:v>
                </c:pt>
                <c:pt idx="2406">
                  <c:v>43033</c:v>
                </c:pt>
                <c:pt idx="2407">
                  <c:v>43034</c:v>
                </c:pt>
                <c:pt idx="2408">
                  <c:v>43035</c:v>
                </c:pt>
                <c:pt idx="2409">
                  <c:v>43038</c:v>
                </c:pt>
                <c:pt idx="2410">
                  <c:v>43039</c:v>
                </c:pt>
                <c:pt idx="2411">
                  <c:v>43040</c:v>
                </c:pt>
                <c:pt idx="2412">
                  <c:v>43041</c:v>
                </c:pt>
                <c:pt idx="2413">
                  <c:v>43042</c:v>
                </c:pt>
                <c:pt idx="2414">
                  <c:v>43045</c:v>
                </c:pt>
                <c:pt idx="2415">
                  <c:v>43046</c:v>
                </c:pt>
                <c:pt idx="2416">
                  <c:v>43047</c:v>
                </c:pt>
                <c:pt idx="2417">
                  <c:v>43048</c:v>
                </c:pt>
                <c:pt idx="2418">
                  <c:v>43049</c:v>
                </c:pt>
                <c:pt idx="2419">
                  <c:v>43052</c:v>
                </c:pt>
                <c:pt idx="2420">
                  <c:v>43053</c:v>
                </c:pt>
                <c:pt idx="2421">
                  <c:v>43054</c:v>
                </c:pt>
                <c:pt idx="2422">
                  <c:v>43055</c:v>
                </c:pt>
                <c:pt idx="2423">
                  <c:v>43056</c:v>
                </c:pt>
                <c:pt idx="2424">
                  <c:v>43059</c:v>
                </c:pt>
                <c:pt idx="2425">
                  <c:v>43060</c:v>
                </c:pt>
                <c:pt idx="2426">
                  <c:v>43061</c:v>
                </c:pt>
                <c:pt idx="2427">
                  <c:v>43062</c:v>
                </c:pt>
                <c:pt idx="2428">
                  <c:v>43063</c:v>
                </c:pt>
                <c:pt idx="2429">
                  <c:v>43066</c:v>
                </c:pt>
                <c:pt idx="2430">
                  <c:v>43067</c:v>
                </c:pt>
                <c:pt idx="2431">
                  <c:v>43068</c:v>
                </c:pt>
                <c:pt idx="2432">
                  <c:v>43069</c:v>
                </c:pt>
                <c:pt idx="2433">
                  <c:v>43070</c:v>
                </c:pt>
                <c:pt idx="2434">
                  <c:v>43073</c:v>
                </c:pt>
                <c:pt idx="2435">
                  <c:v>43074</c:v>
                </c:pt>
                <c:pt idx="2436">
                  <c:v>43075</c:v>
                </c:pt>
                <c:pt idx="2437">
                  <c:v>43076</c:v>
                </c:pt>
                <c:pt idx="2438">
                  <c:v>43077</c:v>
                </c:pt>
                <c:pt idx="2439">
                  <c:v>43080</c:v>
                </c:pt>
                <c:pt idx="2440">
                  <c:v>43081</c:v>
                </c:pt>
                <c:pt idx="2441">
                  <c:v>43082</c:v>
                </c:pt>
                <c:pt idx="2442">
                  <c:v>43083</c:v>
                </c:pt>
                <c:pt idx="2443">
                  <c:v>43084</c:v>
                </c:pt>
                <c:pt idx="2444">
                  <c:v>43087</c:v>
                </c:pt>
                <c:pt idx="2445">
                  <c:v>43088</c:v>
                </c:pt>
                <c:pt idx="2446">
                  <c:v>43089</c:v>
                </c:pt>
                <c:pt idx="2447">
                  <c:v>43090</c:v>
                </c:pt>
                <c:pt idx="2448">
                  <c:v>43091</c:v>
                </c:pt>
                <c:pt idx="2449">
                  <c:v>43094</c:v>
                </c:pt>
                <c:pt idx="2450">
                  <c:v>43095</c:v>
                </c:pt>
                <c:pt idx="2451">
                  <c:v>43096</c:v>
                </c:pt>
                <c:pt idx="2452">
                  <c:v>43097</c:v>
                </c:pt>
                <c:pt idx="2453">
                  <c:v>43098</c:v>
                </c:pt>
                <c:pt idx="2454">
                  <c:v>43102</c:v>
                </c:pt>
                <c:pt idx="2455">
                  <c:v>43103</c:v>
                </c:pt>
                <c:pt idx="2456">
                  <c:v>43104</c:v>
                </c:pt>
                <c:pt idx="2457">
                  <c:v>43105</c:v>
                </c:pt>
                <c:pt idx="2458">
                  <c:v>43108</c:v>
                </c:pt>
                <c:pt idx="2459">
                  <c:v>43109</c:v>
                </c:pt>
                <c:pt idx="2460">
                  <c:v>43110</c:v>
                </c:pt>
                <c:pt idx="2461">
                  <c:v>43111</c:v>
                </c:pt>
                <c:pt idx="2462">
                  <c:v>43112</c:v>
                </c:pt>
                <c:pt idx="2463">
                  <c:v>43115</c:v>
                </c:pt>
                <c:pt idx="2464">
                  <c:v>43116</c:v>
                </c:pt>
                <c:pt idx="2465">
                  <c:v>43117</c:v>
                </c:pt>
                <c:pt idx="2466">
                  <c:v>43118</c:v>
                </c:pt>
                <c:pt idx="2467">
                  <c:v>43119</c:v>
                </c:pt>
                <c:pt idx="2468">
                  <c:v>43122</c:v>
                </c:pt>
                <c:pt idx="2469">
                  <c:v>43123</c:v>
                </c:pt>
                <c:pt idx="2470">
                  <c:v>43124</c:v>
                </c:pt>
                <c:pt idx="2471">
                  <c:v>43125</c:v>
                </c:pt>
                <c:pt idx="2472">
                  <c:v>43126</c:v>
                </c:pt>
                <c:pt idx="2473">
                  <c:v>43129</c:v>
                </c:pt>
                <c:pt idx="2474">
                  <c:v>43130</c:v>
                </c:pt>
                <c:pt idx="2475">
                  <c:v>43131</c:v>
                </c:pt>
                <c:pt idx="2476">
                  <c:v>43132</c:v>
                </c:pt>
                <c:pt idx="2477">
                  <c:v>43133</c:v>
                </c:pt>
                <c:pt idx="2478">
                  <c:v>43136</c:v>
                </c:pt>
                <c:pt idx="2479">
                  <c:v>43137</c:v>
                </c:pt>
                <c:pt idx="2480">
                  <c:v>43138</c:v>
                </c:pt>
                <c:pt idx="2481">
                  <c:v>43139</c:v>
                </c:pt>
                <c:pt idx="2482">
                  <c:v>43140</c:v>
                </c:pt>
                <c:pt idx="2483">
                  <c:v>43143</c:v>
                </c:pt>
                <c:pt idx="2484">
                  <c:v>43144</c:v>
                </c:pt>
                <c:pt idx="2485">
                  <c:v>43145</c:v>
                </c:pt>
                <c:pt idx="2486">
                  <c:v>43153</c:v>
                </c:pt>
                <c:pt idx="2487">
                  <c:v>43154</c:v>
                </c:pt>
                <c:pt idx="2488">
                  <c:v>43157</c:v>
                </c:pt>
                <c:pt idx="2489">
                  <c:v>43158</c:v>
                </c:pt>
                <c:pt idx="2490">
                  <c:v>43159</c:v>
                </c:pt>
                <c:pt idx="2491">
                  <c:v>43160</c:v>
                </c:pt>
                <c:pt idx="2492">
                  <c:v>43161</c:v>
                </c:pt>
                <c:pt idx="2493">
                  <c:v>43164</c:v>
                </c:pt>
                <c:pt idx="2494">
                  <c:v>43165</c:v>
                </c:pt>
                <c:pt idx="2495">
                  <c:v>43166</c:v>
                </c:pt>
                <c:pt idx="2496">
                  <c:v>43167</c:v>
                </c:pt>
                <c:pt idx="2497">
                  <c:v>43168</c:v>
                </c:pt>
                <c:pt idx="2498">
                  <c:v>43171</c:v>
                </c:pt>
                <c:pt idx="2499">
                  <c:v>43172</c:v>
                </c:pt>
                <c:pt idx="2500">
                  <c:v>43173</c:v>
                </c:pt>
                <c:pt idx="2501">
                  <c:v>43174</c:v>
                </c:pt>
                <c:pt idx="2502">
                  <c:v>43175</c:v>
                </c:pt>
                <c:pt idx="2503">
                  <c:v>43178</c:v>
                </c:pt>
                <c:pt idx="2504">
                  <c:v>43179</c:v>
                </c:pt>
                <c:pt idx="2505">
                  <c:v>43180</c:v>
                </c:pt>
                <c:pt idx="2506">
                  <c:v>43181</c:v>
                </c:pt>
                <c:pt idx="2507">
                  <c:v>43182</c:v>
                </c:pt>
                <c:pt idx="2508">
                  <c:v>43185</c:v>
                </c:pt>
                <c:pt idx="2509">
                  <c:v>43186</c:v>
                </c:pt>
                <c:pt idx="2510">
                  <c:v>43187</c:v>
                </c:pt>
                <c:pt idx="2511">
                  <c:v>43188</c:v>
                </c:pt>
                <c:pt idx="2512">
                  <c:v>43189</c:v>
                </c:pt>
                <c:pt idx="2513">
                  <c:v>43192</c:v>
                </c:pt>
                <c:pt idx="2514">
                  <c:v>43193</c:v>
                </c:pt>
                <c:pt idx="2515">
                  <c:v>43194</c:v>
                </c:pt>
                <c:pt idx="2516">
                  <c:v>43199</c:v>
                </c:pt>
                <c:pt idx="2517">
                  <c:v>43200</c:v>
                </c:pt>
                <c:pt idx="2518">
                  <c:v>43201</c:v>
                </c:pt>
                <c:pt idx="2519">
                  <c:v>43202</c:v>
                </c:pt>
                <c:pt idx="2520">
                  <c:v>43203</c:v>
                </c:pt>
                <c:pt idx="2521">
                  <c:v>43206</c:v>
                </c:pt>
                <c:pt idx="2522">
                  <c:v>43207</c:v>
                </c:pt>
                <c:pt idx="2523">
                  <c:v>43208</c:v>
                </c:pt>
                <c:pt idx="2524">
                  <c:v>43209</c:v>
                </c:pt>
                <c:pt idx="2525">
                  <c:v>43210</c:v>
                </c:pt>
                <c:pt idx="2526">
                  <c:v>43213</c:v>
                </c:pt>
                <c:pt idx="2527">
                  <c:v>43214</c:v>
                </c:pt>
                <c:pt idx="2528">
                  <c:v>43215</c:v>
                </c:pt>
                <c:pt idx="2529">
                  <c:v>43216</c:v>
                </c:pt>
                <c:pt idx="2530">
                  <c:v>43217</c:v>
                </c:pt>
                <c:pt idx="2531">
                  <c:v>43222</c:v>
                </c:pt>
                <c:pt idx="2532">
                  <c:v>43223</c:v>
                </c:pt>
                <c:pt idx="2533">
                  <c:v>43224</c:v>
                </c:pt>
                <c:pt idx="2534">
                  <c:v>43227</c:v>
                </c:pt>
                <c:pt idx="2535">
                  <c:v>43228</c:v>
                </c:pt>
                <c:pt idx="2536">
                  <c:v>43229</c:v>
                </c:pt>
                <c:pt idx="2537">
                  <c:v>43230</c:v>
                </c:pt>
                <c:pt idx="2538">
                  <c:v>43231</c:v>
                </c:pt>
                <c:pt idx="2539">
                  <c:v>43234</c:v>
                </c:pt>
                <c:pt idx="2540">
                  <c:v>43235</c:v>
                </c:pt>
                <c:pt idx="2541">
                  <c:v>43236</c:v>
                </c:pt>
                <c:pt idx="2542">
                  <c:v>43237</c:v>
                </c:pt>
                <c:pt idx="2543">
                  <c:v>43238</c:v>
                </c:pt>
                <c:pt idx="2544">
                  <c:v>43241</c:v>
                </c:pt>
                <c:pt idx="2545">
                  <c:v>43242</c:v>
                </c:pt>
                <c:pt idx="2546">
                  <c:v>43243</c:v>
                </c:pt>
                <c:pt idx="2547">
                  <c:v>43244</c:v>
                </c:pt>
                <c:pt idx="2548">
                  <c:v>43245</c:v>
                </c:pt>
                <c:pt idx="2549">
                  <c:v>43248</c:v>
                </c:pt>
                <c:pt idx="2550">
                  <c:v>43249</c:v>
                </c:pt>
                <c:pt idx="2551">
                  <c:v>43250</c:v>
                </c:pt>
                <c:pt idx="2552">
                  <c:v>43251</c:v>
                </c:pt>
                <c:pt idx="2553">
                  <c:v>43252</c:v>
                </c:pt>
                <c:pt idx="2554">
                  <c:v>43255</c:v>
                </c:pt>
                <c:pt idx="2555">
                  <c:v>43256</c:v>
                </c:pt>
                <c:pt idx="2556">
                  <c:v>43257</c:v>
                </c:pt>
                <c:pt idx="2557">
                  <c:v>43258</c:v>
                </c:pt>
                <c:pt idx="2558">
                  <c:v>43259</c:v>
                </c:pt>
                <c:pt idx="2559">
                  <c:v>43262</c:v>
                </c:pt>
                <c:pt idx="2560">
                  <c:v>43263</c:v>
                </c:pt>
                <c:pt idx="2561">
                  <c:v>43264</c:v>
                </c:pt>
                <c:pt idx="2562">
                  <c:v>43265</c:v>
                </c:pt>
                <c:pt idx="2563">
                  <c:v>43266</c:v>
                </c:pt>
                <c:pt idx="2564">
                  <c:v>43270</c:v>
                </c:pt>
                <c:pt idx="2565">
                  <c:v>43271</c:v>
                </c:pt>
                <c:pt idx="2566">
                  <c:v>43272</c:v>
                </c:pt>
                <c:pt idx="2567">
                  <c:v>43273</c:v>
                </c:pt>
                <c:pt idx="2568">
                  <c:v>43276</c:v>
                </c:pt>
                <c:pt idx="2569">
                  <c:v>43277</c:v>
                </c:pt>
                <c:pt idx="2570">
                  <c:v>43278</c:v>
                </c:pt>
                <c:pt idx="2571">
                  <c:v>43279</c:v>
                </c:pt>
                <c:pt idx="2572">
                  <c:v>43280</c:v>
                </c:pt>
                <c:pt idx="2573">
                  <c:v>43283</c:v>
                </c:pt>
                <c:pt idx="2574">
                  <c:v>43284</c:v>
                </c:pt>
                <c:pt idx="2575">
                  <c:v>43285</c:v>
                </c:pt>
                <c:pt idx="2576">
                  <c:v>43286</c:v>
                </c:pt>
                <c:pt idx="2577">
                  <c:v>43287</c:v>
                </c:pt>
                <c:pt idx="2578">
                  <c:v>43290</c:v>
                </c:pt>
                <c:pt idx="2579">
                  <c:v>43291</c:v>
                </c:pt>
                <c:pt idx="2580">
                  <c:v>43292</c:v>
                </c:pt>
                <c:pt idx="2581">
                  <c:v>43293</c:v>
                </c:pt>
                <c:pt idx="2582">
                  <c:v>43294</c:v>
                </c:pt>
                <c:pt idx="2583">
                  <c:v>43297</c:v>
                </c:pt>
                <c:pt idx="2584">
                  <c:v>43298</c:v>
                </c:pt>
                <c:pt idx="2585">
                  <c:v>43299</c:v>
                </c:pt>
                <c:pt idx="2586">
                  <c:v>43300</c:v>
                </c:pt>
                <c:pt idx="2587">
                  <c:v>43301</c:v>
                </c:pt>
                <c:pt idx="2588">
                  <c:v>43304</c:v>
                </c:pt>
                <c:pt idx="2589">
                  <c:v>43305</c:v>
                </c:pt>
                <c:pt idx="2590">
                  <c:v>43306</c:v>
                </c:pt>
                <c:pt idx="2591">
                  <c:v>43307</c:v>
                </c:pt>
                <c:pt idx="2592">
                  <c:v>43308</c:v>
                </c:pt>
                <c:pt idx="2593">
                  <c:v>43311</c:v>
                </c:pt>
                <c:pt idx="2594">
                  <c:v>43312</c:v>
                </c:pt>
                <c:pt idx="2595">
                  <c:v>43313</c:v>
                </c:pt>
                <c:pt idx="2596">
                  <c:v>43314</c:v>
                </c:pt>
                <c:pt idx="2597">
                  <c:v>43315</c:v>
                </c:pt>
                <c:pt idx="2598">
                  <c:v>43318</c:v>
                </c:pt>
                <c:pt idx="2599">
                  <c:v>43319</c:v>
                </c:pt>
                <c:pt idx="2600">
                  <c:v>43320</c:v>
                </c:pt>
                <c:pt idx="2601">
                  <c:v>43321</c:v>
                </c:pt>
                <c:pt idx="2602">
                  <c:v>43322</c:v>
                </c:pt>
                <c:pt idx="2603">
                  <c:v>43325</c:v>
                </c:pt>
                <c:pt idx="2604">
                  <c:v>43326</c:v>
                </c:pt>
                <c:pt idx="2605">
                  <c:v>43327</c:v>
                </c:pt>
                <c:pt idx="2606">
                  <c:v>43328</c:v>
                </c:pt>
                <c:pt idx="2607">
                  <c:v>43329</c:v>
                </c:pt>
                <c:pt idx="2608">
                  <c:v>43332</c:v>
                </c:pt>
                <c:pt idx="2609">
                  <c:v>43333</c:v>
                </c:pt>
                <c:pt idx="2610">
                  <c:v>43334</c:v>
                </c:pt>
                <c:pt idx="2611">
                  <c:v>43335</c:v>
                </c:pt>
                <c:pt idx="2612">
                  <c:v>43336</c:v>
                </c:pt>
                <c:pt idx="2613">
                  <c:v>43339</c:v>
                </c:pt>
                <c:pt idx="2614">
                  <c:v>43340</c:v>
                </c:pt>
                <c:pt idx="2615">
                  <c:v>43341</c:v>
                </c:pt>
                <c:pt idx="2616">
                  <c:v>43342</c:v>
                </c:pt>
                <c:pt idx="2617">
                  <c:v>43343</c:v>
                </c:pt>
                <c:pt idx="2618">
                  <c:v>43346</c:v>
                </c:pt>
                <c:pt idx="2619">
                  <c:v>43347</c:v>
                </c:pt>
                <c:pt idx="2620">
                  <c:v>43348</c:v>
                </c:pt>
                <c:pt idx="2621">
                  <c:v>43349</c:v>
                </c:pt>
                <c:pt idx="2622">
                  <c:v>43350</c:v>
                </c:pt>
                <c:pt idx="2623">
                  <c:v>43353</c:v>
                </c:pt>
                <c:pt idx="2624">
                  <c:v>43354</c:v>
                </c:pt>
                <c:pt idx="2625">
                  <c:v>43355</c:v>
                </c:pt>
                <c:pt idx="2626">
                  <c:v>43356</c:v>
                </c:pt>
                <c:pt idx="2627">
                  <c:v>43357</c:v>
                </c:pt>
                <c:pt idx="2628">
                  <c:v>43360</c:v>
                </c:pt>
                <c:pt idx="2629">
                  <c:v>43361</c:v>
                </c:pt>
                <c:pt idx="2630">
                  <c:v>43362</c:v>
                </c:pt>
                <c:pt idx="2631">
                  <c:v>43363</c:v>
                </c:pt>
                <c:pt idx="2632">
                  <c:v>43364</c:v>
                </c:pt>
                <c:pt idx="2633">
                  <c:v>43368</c:v>
                </c:pt>
                <c:pt idx="2634">
                  <c:v>43369</c:v>
                </c:pt>
                <c:pt idx="2635">
                  <c:v>43370</c:v>
                </c:pt>
                <c:pt idx="2636">
                  <c:v>43371</c:v>
                </c:pt>
                <c:pt idx="2637">
                  <c:v>43381</c:v>
                </c:pt>
                <c:pt idx="2638">
                  <c:v>43382</c:v>
                </c:pt>
                <c:pt idx="2639">
                  <c:v>43383</c:v>
                </c:pt>
                <c:pt idx="2640">
                  <c:v>43384</c:v>
                </c:pt>
                <c:pt idx="2641">
                  <c:v>43385</c:v>
                </c:pt>
                <c:pt idx="2642">
                  <c:v>43388</c:v>
                </c:pt>
                <c:pt idx="2643">
                  <c:v>43389</c:v>
                </c:pt>
                <c:pt idx="2644">
                  <c:v>43390</c:v>
                </c:pt>
                <c:pt idx="2645">
                  <c:v>43391</c:v>
                </c:pt>
                <c:pt idx="2646">
                  <c:v>43392</c:v>
                </c:pt>
                <c:pt idx="2647">
                  <c:v>43395</c:v>
                </c:pt>
                <c:pt idx="2648">
                  <c:v>43396</c:v>
                </c:pt>
                <c:pt idx="2649">
                  <c:v>43397</c:v>
                </c:pt>
                <c:pt idx="2650">
                  <c:v>43398</c:v>
                </c:pt>
                <c:pt idx="2651">
                  <c:v>43399</c:v>
                </c:pt>
                <c:pt idx="2652">
                  <c:v>43402</c:v>
                </c:pt>
                <c:pt idx="2653">
                  <c:v>43403</c:v>
                </c:pt>
                <c:pt idx="2654">
                  <c:v>43404</c:v>
                </c:pt>
                <c:pt idx="2655">
                  <c:v>43405</c:v>
                </c:pt>
                <c:pt idx="2656">
                  <c:v>43406</c:v>
                </c:pt>
                <c:pt idx="2657">
                  <c:v>43409</c:v>
                </c:pt>
                <c:pt idx="2658">
                  <c:v>43410</c:v>
                </c:pt>
                <c:pt idx="2659">
                  <c:v>43411</c:v>
                </c:pt>
                <c:pt idx="2660">
                  <c:v>43412</c:v>
                </c:pt>
                <c:pt idx="2661">
                  <c:v>43413</c:v>
                </c:pt>
                <c:pt idx="2662">
                  <c:v>43416</c:v>
                </c:pt>
                <c:pt idx="2663">
                  <c:v>43417</c:v>
                </c:pt>
                <c:pt idx="2664">
                  <c:v>43418</c:v>
                </c:pt>
                <c:pt idx="2665">
                  <c:v>43419</c:v>
                </c:pt>
                <c:pt idx="2666">
                  <c:v>43420</c:v>
                </c:pt>
                <c:pt idx="2667">
                  <c:v>43423</c:v>
                </c:pt>
                <c:pt idx="2668">
                  <c:v>43424</c:v>
                </c:pt>
                <c:pt idx="2669">
                  <c:v>43425</c:v>
                </c:pt>
                <c:pt idx="2670">
                  <c:v>43426</c:v>
                </c:pt>
                <c:pt idx="2671">
                  <c:v>43427</c:v>
                </c:pt>
                <c:pt idx="2672">
                  <c:v>43430</c:v>
                </c:pt>
                <c:pt idx="2673">
                  <c:v>43431</c:v>
                </c:pt>
                <c:pt idx="2674">
                  <c:v>43432</c:v>
                </c:pt>
                <c:pt idx="2675">
                  <c:v>43433</c:v>
                </c:pt>
                <c:pt idx="2676">
                  <c:v>43434</c:v>
                </c:pt>
                <c:pt idx="2677">
                  <c:v>43437</c:v>
                </c:pt>
                <c:pt idx="2678">
                  <c:v>43438</c:v>
                </c:pt>
                <c:pt idx="2679">
                  <c:v>43439</c:v>
                </c:pt>
                <c:pt idx="2680">
                  <c:v>43440</c:v>
                </c:pt>
                <c:pt idx="2681">
                  <c:v>43441</c:v>
                </c:pt>
                <c:pt idx="2682">
                  <c:v>43444</c:v>
                </c:pt>
                <c:pt idx="2683">
                  <c:v>43445</c:v>
                </c:pt>
                <c:pt idx="2684">
                  <c:v>43446</c:v>
                </c:pt>
                <c:pt idx="2685">
                  <c:v>43447</c:v>
                </c:pt>
                <c:pt idx="2686">
                  <c:v>43448</c:v>
                </c:pt>
                <c:pt idx="2687">
                  <c:v>43451</c:v>
                </c:pt>
                <c:pt idx="2688">
                  <c:v>43452</c:v>
                </c:pt>
                <c:pt idx="2689">
                  <c:v>43453</c:v>
                </c:pt>
                <c:pt idx="2690">
                  <c:v>43454</c:v>
                </c:pt>
                <c:pt idx="2691">
                  <c:v>43455</c:v>
                </c:pt>
                <c:pt idx="2692">
                  <c:v>43458</c:v>
                </c:pt>
                <c:pt idx="2693">
                  <c:v>43459</c:v>
                </c:pt>
                <c:pt idx="2694">
                  <c:v>43460</c:v>
                </c:pt>
                <c:pt idx="2695">
                  <c:v>43461</c:v>
                </c:pt>
                <c:pt idx="2696">
                  <c:v>43462</c:v>
                </c:pt>
                <c:pt idx="2697">
                  <c:v>43467</c:v>
                </c:pt>
                <c:pt idx="2698">
                  <c:v>43468</c:v>
                </c:pt>
                <c:pt idx="2699">
                  <c:v>43469</c:v>
                </c:pt>
                <c:pt idx="2700">
                  <c:v>43472</c:v>
                </c:pt>
                <c:pt idx="2701">
                  <c:v>43473</c:v>
                </c:pt>
                <c:pt idx="2702">
                  <c:v>43474</c:v>
                </c:pt>
                <c:pt idx="2703">
                  <c:v>43475</c:v>
                </c:pt>
                <c:pt idx="2704">
                  <c:v>43476</c:v>
                </c:pt>
                <c:pt idx="2705">
                  <c:v>43479</c:v>
                </c:pt>
                <c:pt idx="2706">
                  <c:v>43480</c:v>
                </c:pt>
                <c:pt idx="2707">
                  <c:v>43481</c:v>
                </c:pt>
                <c:pt idx="2708">
                  <c:v>43482</c:v>
                </c:pt>
                <c:pt idx="2709">
                  <c:v>43483</c:v>
                </c:pt>
                <c:pt idx="2710">
                  <c:v>43486</c:v>
                </c:pt>
                <c:pt idx="2711">
                  <c:v>43487</c:v>
                </c:pt>
                <c:pt idx="2712">
                  <c:v>43488</c:v>
                </c:pt>
                <c:pt idx="2713">
                  <c:v>43489</c:v>
                </c:pt>
                <c:pt idx="2714">
                  <c:v>43490</c:v>
                </c:pt>
                <c:pt idx="2715">
                  <c:v>43493</c:v>
                </c:pt>
                <c:pt idx="2716">
                  <c:v>43494</c:v>
                </c:pt>
                <c:pt idx="2717">
                  <c:v>43495</c:v>
                </c:pt>
                <c:pt idx="2718">
                  <c:v>43496</c:v>
                </c:pt>
                <c:pt idx="2719">
                  <c:v>43497</c:v>
                </c:pt>
                <c:pt idx="2720">
                  <c:v>43507</c:v>
                </c:pt>
                <c:pt idx="2721">
                  <c:v>43508</c:v>
                </c:pt>
                <c:pt idx="2722">
                  <c:v>43509</c:v>
                </c:pt>
                <c:pt idx="2723">
                  <c:v>43510</c:v>
                </c:pt>
                <c:pt idx="2724">
                  <c:v>43511</c:v>
                </c:pt>
                <c:pt idx="2725">
                  <c:v>43514</c:v>
                </c:pt>
                <c:pt idx="2726">
                  <c:v>43515</c:v>
                </c:pt>
                <c:pt idx="2727">
                  <c:v>43516</c:v>
                </c:pt>
                <c:pt idx="2728">
                  <c:v>43517</c:v>
                </c:pt>
                <c:pt idx="2729">
                  <c:v>43518</c:v>
                </c:pt>
                <c:pt idx="2730">
                  <c:v>43521</c:v>
                </c:pt>
                <c:pt idx="2731">
                  <c:v>43522</c:v>
                </c:pt>
                <c:pt idx="2732">
                  <c:v>43523</c:v>
                </c:pt>
                <c:pt idx="2733">
                  <c:v>43524</c:v>
                </c:pt>
                <c:pt idx="2734">
                  <c:v>43525</c:v>
                </c:pt>
                <c:pt idx="2735">
                  <c:v>43528</c:v>
                </c:pt>
                <c:pt idx="2736">
                  <c:v>43529</c:v>
                </c:pt>
                <c:pt idx="2737">
                  <c:v>43530</c:v>
                </c:pt>
                <c:pt idx="2738">
                  <c:v>43531</c:v>
                </c:pt>
                <c:pt idx="2739">
                  <c:v>43532</c:v>
                </c:pt>
                <c:pt idx="2740">
                  <c:v>43535</c:v>
                </c:pt>
                <c:pt idx="2741">
                  <c:v>43536</c:v>
                </c:pt>
                <c:pt idx="2742">
                  <c:v>43537</c:v>
                </c:pt>
                <c:pt idx="2743">
                  <c:v>43538</c:v>
                </c:pt>
                <c:pt idx="2744">
                  <c:v>43539</c:v>
                </c:pt>
                <c:pt idx="2745">
                  <c:v>43542</c:v>
                </c:pt>
                <c:pt idx="2746">
                  <c:v>43543</c:v>
                </c:pt>
                <c:pt idx="2747">
                  <c:v>43544</c:v>
                </c:pt>
                <c:pt idx="2748">
                  <c:v>43545</c:v>
                </c:pt>
                <c:pt idx="2749">
                  <c:v>43546</c:v>
                </c:pt>
                <c:pt idx="2750">
                  <c:v>43549</c:v>
                </c:pt>
                <c:pt idx="2751">
                  <c:v>43550</c:v>
                </c:pt>
                <c:pt idx="2752">
                  <c:v>43551</c:v>
                </c:pt>
                <c:pt idx="2753">
                  <c:v>43552</c:v>
                </c:pt>
                <c:pt idx="2754">
                  <c:v>43553</c:v>
                </c:pt>
                <c:pt idx="2755">
                  <c:v>43556</c:v>
                </c:pt>
                <c:pt idx="2756">
                  <c:v>43557</c:v>
                </c:pt>
                <c:pt idx="2757">
                  <c:v>43558</c:v>
                </c:pt>
                <c:pt idx="2758">
                  <c:v>43559</c:v>
                </c:pt>
                <c:pt idx="2759">
                  <c:v>43563</c:v>
                </c:pt>
                <c:pt idx="2760">
                  <c:v>43564</c:v>
                </c:pt>
                <c:pt idx="2761">
                  <c:v>43565</c:v>
                </c:pt>
                <c:pt idx="2762">
                  <c:v>43566</c:v>
                </c:pt>
                <c:pt idx="2763">
                  <c:v>43567</c:v>
                </c:pt>
                <c:pt idx="2764">
                  <c:v>43570</c:v>
                </c:pt>
                <c:pt idx="2765">
                  <c:v>43571</c:v>
                </c:pt>
                <c:pt idx="2766">
                  <c:v>43572</c:v>
                </c:pt>
                <c:pt idx="2767">
                  <c:v>43573</c:v>
                </c:pt>
                <c:pt idx="2768">
                  <c:v>43574</c:v>
                </c:pt>
                <c:pt idx="2769">
                  <c:v>43577</c:v>
                </c:pt>
                <c:pt idx="2770">
                  <c:v>43578</c:v>
                </c:pt>
                <c:pt idx="2771">
                  <c:v>43579</c:v>
                </c:pt>
                <c:pt idx="2772">
                  <c:v>43580</c:v>
                </c:pt>
                <c:pt idx="2773">
                  <c:v>43581</c:v>
                </c:pt>
                <c:pt idx="2774">
                  <c:v>43584</c:v>
                </c:pt>
                <c:pt idx="2775">
                  <c:v>43585</c:v>
                </c:pt>
                <c:pt idx="2776">
                  <c:v>43591</c:v>
                </c:pt>
                <c:pt idx="2777">
                  <c:v>43592</c:v>
                </c:pt>
                <c:pt idx="2778">
                  <c:v>43593</c:v>
                </c:pt>
                <c:pt idx="2779">
                  <c:v>43594</c:v>
                </c:pt>
                <c:pt idx="2780">
                  <c:v>43595</c:v>
                </c:pt>
                <c:pt idx="2781">
                  <c:v>43598</c:v>
                </c:pt>
                <c:pt idx="2782">
                  <c:v>43599</c:v>
                </c:pt>
                <c:pt idx="2783">
                  <c:v>43600</c:v>
                </c:pt>
                <c:pt idx="2784">
                  <c:v>43601</c:v>
                </c:pt>
                <c:pt idx="2785">
                  <c:v>43602</c:v>
                </c:pt>
                <c:pt idx="2786">
                  <c:v>43605</c:v>
                </c:pt>
                <c:pt idx="2787">
                  <c:v>43606</c:v>
                </c:pt>
                <c:pt idx="2788">
                  <c:v>43607</c:v>
                </c:pt>
                <c:pt idx="2789">
                  <c:v>43608</c:v>
                </c:pt>
                <c:pt idx="2790">
                  <c:v>43609</c:v>
                </c:pt>
                <c:pt idx="2791">
                  <c:v>43612</c:v>
                </c:pt>
                <c:pt idx="2792">
                  <c:v>43613</c:v>
                </c:pt>
                <c:pt idx="2793">
                  <c:v>43614</c:v>
                </c:pt>
                <c:pt idx="2794">
                  <c:v>43615</c:v>
                </c:pt>
                <c:pt idx="2795">
                  <c:v>43616</c:v>
                </c:pt>
                <c:pt idx="2796">
                  <c:v>43619</c:v>
                </c:pt>
                <c:pt idx="2797">
                  <c:v>43620</c:v>
                </c:pt>
                <c:pt idx="2798">
                  <c:v>43621</c:v>
                </c:pt>
                <c:pt idx="2799">
                  <c:v>43622</c:v>
                </c:pt>
                <c:pt idx="2800">
                  <c:v>43626</c:v>
                </c:pt>
                <c:pt idx="2801">
                  <c:v>43627</c:v>
                </c:pt>
                <c:pt idx="2802">
                  <c:v>43628</c:v>
                </c:pt>
                <c:pt idx="2803">
                  <c:v>43629</c:v>
                </c:pt>
                <c:pt idx="2804">
                  <c:v>43630</c:v>
                </c:pt>
                <c:pt idx="2805">
                  <c:v>43633</c:v>
                </c:pt>
                <c:pt idx="2806">
                  <c:v>43634</c:v>
                </c:pt>
                <c:pt idx="2807">
                  <c:v>43635</c:v>
                </c:pt>
                <c:pt idx="2808">
                  <c:v>43636</c:v>
                </c:pt>
                <c:pt idx="2809">
                  <c:v>43637</c:v>
                </c:pt>
                <c:pt idx="2810">
                  <c:v>43640</c:v>
                </c:pt>
                <c:pt idx="2811">
                  <c:v>43641</c:v>
                </c:pt>
                <c:pt idx="2812">
                  <c:v>43642</c:v>
                </c:pt>
                <c:pt idx="2813">
                  <c:v>43643</c:v>
                </c:pt>
                <c:pt idx="2814">
                  <c:v>43644</c:v>
                </c:pt>
                <c:pt idx="2815">
                  <c:v>43647</c:v>
                </c:pt>
                <c:pt idx="2816">
                  <c:v>43648</c:v>
                </c:pt>
                <c:pt idx="2817">
                  <c:v>43649</c:v>
                </c:pt>
                <c:pt idx="2818">
                  <c:v>43650</c:v>
                </c:pt>
                <c:pt idx="2819">
                  <c:v>43651</c:v>
                </c:pt>
                <c:pt idx="2820">
                  <c:v>43654</c:v>
                </c:pt>
                <c:pt idx="2821">
                  <c:v>43655</c:v>
                </c:pt>
                <c:pt idx="2822">
                  <c:v>43656</c:v>
                </c:pt>
                <c:pt idx="2823">
                  <c:v>43657</c:v>
                </c:pt>
                <c:pt idx="2824">
                  <c:v>43658</c:v>
                </c:pt>
                <c:pt idx="2825">
                  <c:v>43661</c:v>
                </c:pt>
                <c:pt idx="2826">
                  <c:v>43662</c:v>
                </c:pt>
                <c:pt idx="2827">
                  <c:v>43663</c:v>
                </c:pt>
                <c:pt idx="2828">
                  <c:v>43664</c:v>
                </c:pt>
                <c:pt idx="2829">
                  <c:v>43665</c:v>
                </c:pt>
                <c:pt idx="2830">
                  <c:v>43668</c:v>
                </c:pt>
                <c:pt idx="2831">
                  <c:v>43669</c:v>
                </c:pt>
                <c:pt idx="2832">
                  <c:v>43670</c:v>
                </c:pt>
                <c:pt idx="2833">
                  <c:v>43671</c:v>
                </c:pt>
                <c:pt idx="2834">
                  <c:v>43672</c:v>
                </c:pt>
                <c:pt idx="2835">
                  <c:v>43675</c:v>
                </c:pt>
                <c:pt idx="2836">
                  <c:v>43676</c:v>
                </c:pt>
                <c:pt idx="2837">
                  <c:v>43677</c:v>
                </c:pt>
                <c:pt idx="2838">
                  <c:v>43678</c:v>
                </c:pt>
                <c:pt idx="2839">
                  <c:v>43679</c:v>
                </c:pt>
                <c:pt idx="2840">
                  <c:v>43682</c:v>
                </c:pt>
                <c:pt idx="2841">
                  <c:v>43683</c:v>
                </c:pt>
                <c:pt idx="2842">
                  <c:v>43684</c:v>
                </c:pt>
                <c:pt idx="2843">
                  <c:v>43685</c:v>
                </c:pt>
                <c:pt idx="2844">
                  <c:v>43686</c:v>
                </c:pt>
                <c:pt idx="2845">
                  <c:v>43689</c:v>
                </c:pt>
                <c:pt idx="2846">
                  <c:v>43690</c:v>
                </c:pt>
                <c:pt idx="2847">
                  <c:v>43691</c:v>
                </c:pt>
                <c:pt idx="2848">
                  <c:v>43692</c:v>
                </c:pt>
                <c:pt idx="2849">
                  <c:v>43693</c:v>
                </c:pt>
                <c:pt idx="2850">
                  <c:v>43696</c:v>
                </c:pt>
                <c:pt idx="2851">
                  <c:v>43697</c:v>
                </c:pt>
                <c:pt idx="2852">
                  <c:v>43698</c:v>
                </c:pt>
                <c:pt idx="2853">
                  <c:v>43699</c:v>
                </c:pt>
                <c:pt idx="2854">
                  <c:v>43700</c:v>
                </c:pt>
                <c:pt idx="2855">
                  <c:v>43703</c:v>
                </c:pt>
                <c:pt idx="2856">
                  <c:v>43704</c:v>
                </c:pt>
                <c:pt idx="2857">
                  <c:v>43705</c:v>
                </c:pt>
                <c:pt idx="2858">
                  <c:v>43706</c:v>
                </c:pt>
                <c:pt idx="2859">
                  <c:v>43707</c:v>
                </c:pt>
                <c:pt idx="2860">
                  <c:v>43710</c:v>
                </c:pt>
                <c:pt idx="2861">
                  <c:v>43711</c:v>
                </c:pt>
                <c:pt idx="2862">
                  <c:v>43712</c:v>
                </c:pt>
                <c:pt idx="2863">
                  <c:v>43713</c:v>
                </c:pt>
                <c:pt idx="2864">
                  <c:v>43714</c:v>
                </c:pt>
                <c:pt idx="2865">
                  <c:v>43717</c:v>
                </c:pt>
                <c:pt idx="2866">
                  <c:v>43718</c:v>
                </c:pt>
                <c:pt idx="2867">
                  <c:v>43719</c:v>
                </c:pt>
                <c:pt idx="2868">
                  <c:v>43720</c:v>
                </c:pt>
                <c:pt idx="2869">
                  <c:v>43724</c:v>
                </c:pt>
                <c:pt idx="2870">
                  <c:v>43725</c:v>
                </c:pt>
                <c:pt idx="2871">
                  <c:v>43726</c:v>
                </c:pt>
                <c:pt idx="2872">
                  <c:v>43727</c:v>
                </c:pt>
                <c:pt idx="2873">
                  <c:v>43728</c:v>
                </c:pt>
                <c:pt idx="2874">
                  <c:v>43731</c:v>
                </c:pt>
                <c:pt idx="2875">
                  <c:v>43732</c:v>
                </c:pt>
                <c:pt idx="2876">
                  <c:v>43733</c:v>
                </c:pt>
                <c:pt idx="2877">
                  <c:v>43734</c:v>
                </c:pt>
                <c:pt idx="2878">
                  <c:v>43735</c:v>
                </c:pt>
                <c:pt idx="2879">
                  <c:v>43738</c:v>
                </c:pt>
                <c:pt idx="2880">
                  <c:v>43746</c:v>
                </c:pt>
                <c:pt idx="2881">
                  <c:v>43747</c:v>
                </c:pt>
                <c:pt idx="2882">
                  <c:v>43748</c:v>
                </c:pt>
                <c:pt idx="2883">
                  <c:v>43749</c:v>
                </c:pt>
                <c:pt idx="2884">
                  <c:v>43752</c:v>
                </c:pt>
                <c:pt idx="2885">
                  <c:v>43753</c:v>
                </c:pt>
                <c:pt idx="2886">
                  <c:v>43754</c:v>
                </c:pt>
                <c:pt idx="2887">
                  <c:v>43755</c:v>
                </c:pt>
                <c:pt idx="2888">
                  <c:v>43756</c:v>
                </c:pt>
                <c:pt idx="2889">
                  <c:v>43759</c:v>
                </c:pt>
                <c:pt idx="2890">
                  <c:v>43760</c:v>
                </c:pt>
                <c:pt idx="2891">
                  <c:v>43761</c:v>
                </c:pt>
                <c:pt idx="2892">
                  <c:v>43762</c:v>
                </c:pt>
                <c:pt idx="2893">
                  <c:v>43763</c:v>
                </c:pt>
                <c:pt idx="2894">
                  <c:v>43766</c:v>
                </c:pt>
                <c:pt idx="2895">
                  <c:v>43767</c:v>
                </c:pt>
                <c:pt idx="2896">
                  <c:v>43768</c:v>
                </c:pt>
                <c:pt idx="2897">
                  <c:v>43769</c:v>
                </c:pt>
                <c:pt idx="2898">
                  <c:v>43770</c:v>
                </c:pt>
                <c:pt idx="2899">
                  <c:v>43773</c:v>
                </c:pt>
                <c:pt idx="2900">
                  <c:v>43774</c:v>
                </c:pt>
                <c:pt idx="2901">
                  <c:v>43775</c:v>
                </c:pt>
                <c:pt idx="2902">
                  <c:v>43776</c:v>
                </c:pt>
                <c:pt idx="2903">
                  <c:v>43777</c:v>
                </c:pt>
                <c:pt idx="2904">
                  <c:v>43780</c:v>
                </c:pt>
                <c:pt idx="2905">
                  <c:v>43781</c:v>
                </c:pt>
                <c:pt idx="2906">
                  <c:v>43782</c:v>
                </c:pt>
                <c:pt idx="2907">
                  <c:v>43783</c:v>
                </c:pt>
                <c:pt idx="2908">
                  <c:v>43784</c:v>
                </c:pt>
                <c:pt idx="2909">
                  <c:v>43787</c:v>
                </c:pt>
                <c:pt idx="2910">
                  <c:v>43788</c:v>
                </c:pt>
                <c:pt idx="2911">
                  <c:v>43789</c:v>
                </c:pt>
                <c:pt idx="2912">
                  <c:v>43790</c:v>
                </c:pt>
                <c:pt idx="2913">
                  <c:v>43791</c:v>
                </c:pt>
                <c:pt idx="2914">
                  <c:v>43794</c:v>
                </c:pt>
                <c:pt idx="2915">
                  <c:v>43795</c:v>
                </c:pt>
                <c:pt idx="2916">
                  <c:v>43796</c:v>
                </c:pt>
                <c:pt idx="2917">
                  <c:v>43797</c:v>
                </c:pt>
                <c:pt idx="2918">
                  <c:v>43798</c:v>
                </c:pt>
                <c:pt idx="2919">
                  <c:v>43801</c:v>
                </c:pt>
                <c:pt idx="2920">
                  <c:v>43802</c:v>
                </c:pt>
                <c:pt idx="2921">
                  <c:v>43803</c:v>
                </c:pt>
                <c:pt idx="2922">
                  <c:v>43804</c:v>
                </c:pt>
                <c:pt idx="2923">
                  <c:v>43805</c:v>
                </c:pt>
                <c:pt idx="2924">
                  <c:v>43808</c:v>
                </c:pt>
                <c:pt idx="2925">
                  <c:v>43809</c:v>
                </c:pt>
                <c:pt idx="2926">
                  <c:v>43810</c:v>
                </c:pt>
                <c:pt idx="2927">
                  <c:v>43811</c:v>
                </c:pt>
                <c:pt idx="2928">
                  <c:v>43812</c:v>
                </c:pt>
                <c:pt idx="2929">
                  <c:v>43815</c:v>
                </c:pt>
                <c:pt idx="2930">
                  <c:v>43816</c:v>
                </c:pt>
                <c:pt idx="2931">
                  <c:v>43817</c:v>
                </c:pt>
                <c:pt idx="2932">
                  <c:v>43818</c:v>
                </c:pt>
                <c:pt idx="2933">
                  <c:v>43819</c:v>
                </c:pt>
                <c:pt idx="2934">
                  <c:v>43822</c:v>
                </c:pt>
                <c:pt idx="2935">
                  <c:v>43823</c:v>
                </c:pt>
                <c:pt idx="2936">
                  <c:v>43824</c:v>
                </c:pt>
                <c:pt idx="2937">
                  <c:v>43825</c:v>
                </c:pt>
                <c:pt idx="2938">
                  <c:v>43826</c:v>
                </c:pt>
                <c:pt idx="2939">
                  <c:v>43829</c:v>
                </c:pt>
                <c:pt idx="2940">
                  <c:v>43830</c:v>
                </c:pt>
                <c:pt idx="2941">
                  <c:v>43832</c:v>
                </c:pt>
                <c:pt idx="2942">
                  <c:v>43833</c:v>
                </c:pt>
                <c:pt idx="2943">
                  <c:v>43836</c:v>
                </c:pt>
                <c:pt idx="2944">
                  <c:v>43837</c:v>
                </c:pt>
                <c:pt idx="2945">
                  <c:v>43838</c:v>
                </c:pt>
                <c:pt idx="2946">
                  <c:v>43839</c:v>
                </c:pt>
                <c:pt idx="2947">
                  <c:v>43840</c:v>
                </c:pt>
                <c:pt idx="2948">
                  <c:v>43843</c:v>
                </c:pt>
                <c:pt idx="2949">
                  <c:v>43844</c:v>
                </c:pt>
                <c:pt idx="2950">
                  <c:v>43845</c:v>
                </c:pt>
                <c:pt idx="2951">
                  <c:v>43846</c:v>
                </c:pt>
                <c:pt idx="2952">
                  <c:v>43847</c:v>
                </c:pt>
                <c:pt idx="2953">
                  <c:v>43850</c:v>
                </c:pt>
                <c:pt idx="2954">
                  <c:v>43851</c:v>
                </c:pt>
                <c:pt idx="2955">
                  <c:v>43852</c:v>
                </c:pt>
                <c:pt idx="2956">
                  <c:v>43853</c:v>
                </c:pt>
                <c:pt idx="2957">
                  <c:v>43864</c:v>
                </c:pt>
                <c:pt idx="2958">
                  <c:v>43865</c:v>
                </c:pt>
                <c:pt idx="2959">
                  <c:v>43866</c:v>
                </c:pt>
                <c:pt idx="2960">
                  <c:v>43867</c:v>
                </c:pt>
                <c:pt idx="2961">
                  <c:v>43868</c:v>
                </c:pt>
                <c:pt idx="2962">
                  <c:v>43871</c:v>
                </c:pt>
                <c:pt idx="2963">
                  <c:v>43872</c:v>
                </c:pt>
                <c:pt idx="2964">
                  <c:v>43873</c:v>
                </c:pt>
                <c:pt idx="2965">
                  <c:v>43874</c:v>
                </c:pt>
                <c:pt idx="2966">
                  <c:v>43875</c:v>
                </c:pt>
                <c:pt idx="2967">
                  <c:v>43878</c:v>
                </c:pt>
                <c:pt idx="2968">
                  <c:v>43879</c:v>
                </c:pt>
                <c:pt idx="2969">
                  <c:v>43880</c:v>
                </c:pt>
                <c:pt idx="2970">
                  <c:v>43881</c:v>
                </c:pt>
                <c:pt idx="2971">
                  <c:v>43882</c:v>
                </c:pt>
                <c:pt idx="2972">
                  <c:v>43885</c:v>
                </c:pt>
                <c:pt idx="2973">
                  <c:v>43886</c:v>
                </c:pt>
                <c:pt idx="2974">
                  <c:v>43887</c:v>
                </c:pt>
                <c:pt idx="2975">
                  <c:v>43888</c:v>
                </c:pt>
                <c:pt idx="2976">
                  <c:v>43889</c:v>
                </c:pt>
                <c:pt idx="2977">
                  <c:v>43892</c:v>
                </c:pt>
                <c:pt idx="2978">
                  <c:v>43893</c:v>
                </c:pt>
                <c:pt idx="2979">
                  <c:v>43894</c:v>
                </c:pt>
                <c:pt idx="2980">
                  <c:v>43895</c:v>
                </c:pt>
                <c:pt idx="2981">
                  <c:v>43896</c:v>
                </c:pt>
                <c:pt idx="2982">
                  <c:v>43899</c:v>
                </c:pt>
                <c:pt idx="2983">
                  <c:v>43900</c:v>
                </c:pt>
                <c:pt idx="2984">
                  <c:v>43901</c:v>
                </c:pt>
                <c:pt idx="2985">
                  <c:v>43902</c:v>
                </c:pt>
                <c:pt idx="2986">
                  <c:v>43903</c:v>
                </c:pt>
                <c:pt idx="2987">
                  <c:v>43906</c:v>
                </c:pt>
                <c:pt idx="2988">
                  <c:v>43907</c:v>
                </c:pt>
                <c:pt idx="2989">
                  <c:v>43908</c:v>
                </c:pt>
                <c:pt idx="2990">
                  <c:v>43909</c:v>
                </c:pt>
                <c:pt idx="2991">
                  <c:v>43910</c:v>
                </c:pt>
                <c:pt idx="2992">
                  <c:v>43913</c:v>
                </c:pt>
                <c:pt idx="2993">
                  <c:v>43914</c:v>
                </c:pt>
                <c:pt idx="2994">
                  <c:v>43915</c:v>
                </c:pt>
                <c:pt idx="2995">
                  <c:v>43916</c:v>
                </c:pt>
                <c:pt idx="2996">
                  <c:v>43917</c:v>
                </c:pt>
                <c:pt idx="2997">
                  <c:v>43920</c:v>
                </c:pt>
                <c:pt idx="2998">
                  <c:v>43921</c:v>
                </c:pt>
                <c:pt idx="2999">
                  <c:v>43922</c:v>
                </c:pt>
                <c:pt idx="3000">
                  <c:v>43923</c:v>
                </c:pt>
                <c:pt idx="3001">
                  <c:v>43924</c:v>
                </c:pt>
                <c:pt idx="3002">
                  <c:v>43928</c:v>
                </c:pt>
                <c:pt idx="3003">
                  <c:v>43929</c:v>
                </c:pt>
                <c:pt idx="3004">
                  <c:v>43930</c:v>
                </c:pt>
                <c:pt idx="3005">
                  <c:v>43931</c:v>
                </c:pt>
                <c:pt idx="3006">
                  <c:v>43934</c:v>
                </c:pt>
                <c:pt idx="3007">
                  <c:v>43935</c:v>
                </c:pt>
                <c:pt idx="3008">
                  <c:v>43936</c:v>
                </c:pt>
                <c:pt idx="3009">
                  <c:v>43937</c:v>
                </c:pt>
                <c:pt idx="3010">
                  <c:v>43938</c:v>
                </c:pt>
                <c:pt idx="3011">
                  <c:v>43941</c:v>
                </c:pt>
                <c:pt idx="3012">
                  <c:v>43942</c:v>
                </c:pt>
                <c:pt idx="3013">
                  <c:v>43943</c:v>
                </c:pt>
                <c:pt idx="3014">
                  <c:v>43944</c:v>
                </c:pt>
                <c:pt idx="3015">
                  <c:v>43945</c:v>
                </c:pt>
                <c:pt idx="3016">
                  <c:v>43948</c:v>
                </c:pt>
                <c:pt idx="3017">
                  <c:v>43949</c:v>
                </c:pt>
                <c:pt idx="3018">
                  <c:v>43950</c:v>
                </c:pt>
                <c:pt idx="3019">
                  <c:v>43951</c:v>
                </c:pt>
                <c:pt idx="3020">
                  <c:v>43957</c:v>
                </c:pt>
                <c:pt idx="3021">
                  <c:v>43958</c:v>
                </c:pt>
                <c:pt idx="3022">
                  <c:v>43959</c:v>
                </c:pt>
                <c:pt idx="3023">
                  <c:v>43962</c:v>
                </c:pt>
                <c:pt idx="3024">
                  <c:v>43963</c:v>
                </c:pt>
                <c:pt idx="3025">
                  <c:v>43964</c:v>
                </c:pt>
                <c:pt idx="3026">
                  <c:v>43965</c:v>
                </c:pt>
                <c:pt idx="3027">
                  <c:v>43966</c:v>
                </c:pt>
                <c:pt idx="3028">
                  <c:v>43969</c:v>
                </c:pt>
                <c:pt idx="3029">
                  <c:v>43970</c:v>
                </c:pt>
                <c:pt idx="3030">
                  <c:v>43971</c:v>
                </c:pt>
                <c:pt idx="3031">
                  <c:v>43972</c:v>
                </c:pt>
                <c:pt idx="3032">
                  <c:v>43973</c:v>
                </c:pt>
                <c:pt idx="3033">
                  <c:v>43976</c:v>
                </c:pt>
                <c:pt idx="3034">
                  <c:v>43977</c:v>
                </c:pt>
                <c:pt idx="3035">
                  <c:v>43978</c:v>
                </c:pt>
                <c:pt idx="3036">
                  <c:v>43979</c:v>
                </c:pt>
                <c:pt idx="3037">
                  <c:v>43980</c:v>
                </c:pt>
                <c:pt idx="3038">
                  <c:v>43983</c:v>
                </c:pt>
                <c:pt idx="3039">
                  <c:v>43984</c:v>
                </c:pt>
                <c:pt idx="3040">
                  <c:v>43985</c:v>
                </c:pt>
                <c:pt idx="3041">
                  <c:v>43986</c:v>
                </c:pt>
                <c:pt idx="3042">
                  <c:v>43987</c:v>
                </c:pt>
                <c:pt idx="3043">
                  <c:v>43990</c:v>
                </c:pt>
                <c:pt idx="3044">
                  <c:v>43991</c:v>
                </c:pt>
                <c:pt idx="3045">
                  <c:v>43992</c:v>
                </c:pt>
                <c:pt idx="3046">
                  <c:v>43993</c:v>
                </c:pt>
                <c:pt idx="3047">
                  <c:v>43994</c:v>
                </c:pt>
                <c:pt idx="3048">
                  <c:v>43997</c:v>
                </c:pt>
                <c:pt idx="3049">
                  <c:v>43998</c:v>
                </c:pt>
                <c:pt idx="3050">
                  <c:v>43999</c:v>
                </c:pt>
                <c:pt idx="3051">
                  <c:v>44000</c:v>
                </c:pt>
                <c:pt idx="3052">
                  <c:v>44001</c:v>
                </c:pt>
                <c:pt idx="3053">
                  <c:v>44004</c:v>
                </c:pt>
                <c:pt idx="3054">
                  <c:v>44005</c:v>
                </c:pt>
                <c:pt idx="3055">
                  <c:v>44006</c:v>
                </c:pt>
                <c:pt idx="3056">
                  <c:v>44011</c:v>
                </c:pt>
                <c:pt idx="3057">
                  <c:v>44012</c:v>
                </c:pt>
                <c:pt idx="3058">
                  <c:v>44013</c:v>
                </c:pt>
                <c:pt idx="3059">
                  <c:v>44014</c:v>
                </c:pt>
                <c:pt idx="3060">
                  <c:v>44015</c:v>
                </c:pt>
                <c:pt idx="3061">
                  <c:v>44018</c:v>
                </c:pt>
                <c:pt idx="3062">
                  <c:v>44019</c:v>
                </c:pt>
                <c:pt idx="3063">
                  <c:v>44020</c:v>
                </c:pt>
                <c:pt idx="3064">
                  <c:v>44021</c:v>
                </c:pt>
                <c:pt idx="3065">
                  <c:v>44022</c:v>
                </c:pt>
                <c:pt idx="3066">
                  <c:v>44025</c:v>
                </c:pt>
                <c:pt idx="3067">
                  <c:v>44026</c:v>
                </c:pt>
              </c:numCache>
            </c:numRef>
          </c:cat>
          <c:val>
            <c:numRef>
              <c:f>Wind!$H$3:$H$3070</c:f>
            </c:numRef>
          </c:val>
          <c:smooth val="0"/>
          <c:extLst>
            <c:ext xmlns:c16="http://schemas.microsoft.com/office/drawing/2014/chart" uri="{C3380CC4-5D6E-409C-BE32-E72D297353CC}">
              <c16:uniqueId val="{00000001-F5DB-48C1-A897-55CC3048A01F}"/>
            </c:ext>
          </c:extLst>
        </c:ser>
        <c:ser>
          <c:idx val="3"/>
          <c:order val="3"/>
          <c:tx>
            <c:strRef>
              <c:f>Wind!$I$2</c:f>
              <c:strCache>
                <c:ptCount val="1"/>
                <c:pt idx="0">
                  <c:v>GDP (￥bln)</c:v>
                </c:pt>
              </c:strCache>
            </c:strRef>
          </c:tx>
          <c:spPr>
            <a:ln w="28575" cap="rnd">
              <a:solidFill>
                <a:schemeClr val="accent1">
                  <a:lumMod val="40000"/>
                  <a:lumOff val="60000"/>
                </a:schemeClr>
              </a:solidFill>
              <a:round/>
            </a:ln>
            <a:effectLst/>
          </c:spPr>
          <c:marker>
            <c:symbol val="none"/>
          </c:marker>
          <c:cat>
            <c:numRef>
              <c:f>Wind!$E$3:$E$3070</c:f>
              <c:numCache>
                <c:formatCode>yyyy\-mm\-dd</c:formatCode>
                <c:ptCount val="3068"/>
                <c:pt idx="0" formatCode="m/d/yyyy">
                  <c:v>39419</c:v>
                </c:pt>
                <c:pt idx="1">
                  <c:v>39420</c:v>
                </c:pt>
                <c:pt idx="2">
                  <c:v>39421</c:v>
                </c:pt>
                <c:pt idx="3">
                  <c:v>39422</c:v>
                </c:pt>
                <c:pt idx="4">
                  <c:v>39423</c:v>
                </c:pt>
                <c:pt idx="5">
                  <c:v>39426</c:v>
                </c:pt>
                <c:pt idx="6">
                  <c:v>39427</c:v>
                </c:pt>
                <c:pt idx="7">
                  <c:v>39428</c:v>
                </c:pt>
                <c:pt idx="8">
                  <c:v>39429</c:v>
                </c:pt>
                <c:pt idx="9">
                  <c:v>39430</c:v>
                </c:pt>
                <c:pt idx="10">
                  <c:v>39433</c:v>
                </c:pt>
                <c:pt idx="11">
                  <c:v>39434</c:v>
                </c:pt>
                <c:pt idx="12">
                  <c:v>39435</c:v>
                </c:pt>
                <c:pt idx="13">
                  <c:v>39436</c:v>
                </c:pt>
                <c:pt idx="14">
                  <c:v>39437</c:v>
                </c:pt>
                <c:pt idx="15">
                  <c:v>39440</c:v>
                </c:pt>
                <c:pt idx="16">
                  <c:v>39441</c:v>
                </c:pt>
                <c:pt idx="17">
                  <c:v>39442</c:v>
                </c:pt>
                <c:pt idx="18">
                  <c:v>39443</c:v>
                </c:pt>
                <c:pt idx="19">
                  <c:v>39444</c:v>
                </c:pt>
                <c:pt idx="20">
                  <c:v>39449</c:v>
                </c:pt>
                <c:pt idx="21">
                  <c:v>39450</c:v>
                </c:pt>
                <c:pt idx="22">
                  <c:v>39451</c:v>
                </c:pt>
                <c:pt idx="23">
                  <c:v>39454</c:v>
                </c:pt>
                <c:pt idx="24">
                  <c:v>39455</c:v>
                </c:pt>
                <c:pt idx="25">
                  <c:v>39456</c:v>
                </c:pt>
                <c:pt idx="26">
                  <c:v>39457</c:v>
                </c:pt>
                <c:pt idx="27">
                  <c:v>39458</c:v>
                </c:pt>
                <c:pt idx="28">
                  <c:v>39461</c:v>
                </c:pt>
                <c:pt idx="29">
                  <c:v>39462</c:v>
                </c:pt>
                <c:pt idx="30">
                  <c:v>39463</c:v>
                </c:pt>
                <c:pt idx="31">
                  <c:v>39464</c:v>
                </c:pt>
                <c:pt idx="32">
                  <c:v>39465</c:v>
                </c:pt>
                <c:pt idx="33">
                  <c:v>39468</c:v>
                </c:pt>
                <c:pt idx="34">
                  <c:v>39469</c:v>
                </c:pt>
                <c:pt idx="35">
                  <c:v>39470</c:v>
                </c:pt>
                <c:pt idx="36">
                  <c:v>39471</c:v>
                </c:pt>
                <c:pt idx="37">
                  <c:v>39472</c:v>
                </c:pt>
                <c:pt idx="38">
                  <c:v>39475</c:v>
                </c:pt>
                <c:pt idx="39">
                  <c:v>39476</c:v>
                </c:pt>
                <c:pt idx="40">
                  <c:v>39477</c:v>
                </c:pt>
                <c:pt idx="41">
                  <c:v>39478</c:v>
                </c:pt>
                <c:pt idx="42">
                  <c:v>39479</c:v>
                </c:pt>
                <c:pt idx="43">
                  <c:v>39482</c:v>
                </c:pt>
                <c:pt idx="44">
                  <c:v>39483</c:v>
                </c:pt>
                <c:pt idx="45">
                  <c:v>39491</c:v>
                </c:pt>
                <c:pt idx="46">
                  <c:v>39492</c:v>
                </c:pt>
                <c:pt idx="47">
                  <c:v>39493</c:v>
                </c:pt>
                <c:pt idx="48">
                  <c:v>39496</c:v>
                </c:pt>
                <c:pt idx="49">
                  <c:v>39497</c:v>
                </c:pt>
                <c:pt idx="50">
                  <c:v>39498</c:v>
                </c:pt>
                <c:pt idx="51">
                  <c:v>39499</c:v>
                </c:pt>
                <c:pt idx="52">
                  <c:v>39500</c:v>
                </c:pt>
                <c:pt idx="53">
                  <c:v>39503</c:v>
                </c:pt>
                <c:pt idx="54">
                  <c:v>39504</c:v>
                </c:pt>
                <c:pt idx="55">
                  <c:v>39505</c:v>
                </c:pt>
                <c:pt idx="56">
                  <c:v>39506</c:v>
                </c:pt>
                <c:pt idx="57">
                  <c:v>39507</c:v>
                </c:pt>
                <c:pt idx="58">
                  <c:v>39510</c:v>
                </c:pt>
                <c:pt idx="59">
                  <c:v>39511</c:v>
                </c:pt>
                <c:pt idx="60">
                  <c:v>39512</c:v>
                </c:pt>
                <c:pt idx="61">
                  <c:v>39513</c:v>
                </c:pt>
                <c:pt idx="62">
                  <c:v>39514</c:v>
                </c:pt>
                <c:pt idx="63">
                  <c:v>39517</c:v>
                </c:pt>
                <c:pt idx="64">
                  <c:v>39518</c:v>
                </c:pt>
                <c:pt idx="65">
                  <c:v>39519</c:v>
                </c:pt>
                <c:pt idx="66">
                  <c:v>39520</c:v>
                </c:pt>
                <c:pt idx="67">
                  <c:v>39521</c:v>
                </c:pt>
                <c:pt idx="68">
                  <c:v>39524</c:v>
                </c:pt>
                <c:pt idx="69">
                  <c:v>39525</c:v>
                </c:pt>
                <c:pt idx="70">
                  <c:v>39526</c:v>
                </c:pt>
                <c:pt idx="71">
                  <c:v>39527</c:v>
                </c:pt>
                <c:pt idx="72">
                  <c:v>39528</c:v>
                </c:pt>
                <c:pt idx="73">
                  <c:v>39531</c:v>
                </c:pt>
                <c:pt idx="74">
                  <c:v>39532</c:v>
                </c:pt>
                <c:pt idx="75">
                  <c:v>39533</c:v>
                </c:pt>
                <c:pt idx="76">
                  <c:v>39534</c:v>
                </c:pt>
                <c:pt idx="77">
                  <c:v>39535</c:v>
                </c:pt>
                <c:pt idx="78">
                  <c:v>39538</c:v>
                </c:pt>
                <c:pt idx="79">
                  <c:v>39539</c:v>
                </c:pt>
                <c:pt idx="80">
                  <c:v>39540</c:v>
                </c:pt>
                <c:pt idx="81">
                  <c:v>39541</c:v>
                </c:pt>
                <c:pt idx="82">
                  <c:v>39545</c:v>
                </c:pt>
                <c:pt idx="83">
                  <c:v>39546</c:v>
                </c:pt>
                <c:pt idx="84">
                  <c:v>39547</c:v>
                </c:pt>
                <c:pt idx="85">
                  <c:v>39548</c:v>
                </c:pt>
                <c:pt idx="86">
                  <c:v>39549</c:v>
                </c:pt>
                <c:pt idx="87">
                  <c:v>39552</c:v>
                </c:pt>
                <c:pt idx="88">
                  <c:v>39553</c:v>
                </c:pt>
                <c:pt idx="89">
                  <c:v>39554</c:v>
                </c:pt>
                <c:pt idx="90">
                  <c:v>39555</c:v>
                </c:pt>
                <c:pt idx="91">
                  <c:v>39556</c:v>
                </c:pt>
                <c:pt idx="92">
                  <c:v>39559</c:v>
                </c:pt>
                <c:pt idx="93">
                  <c:v>39560</c:v>
                </c:pt>
                <c:pt idx="94">
                  <c:v>39561</c:v>
                </c:pt>
                <c:pt idx="95">
                  <c:v>39562</c:v>
                </c:pt>
                <c:pt idx="96">
                  <c:v>39563</c:v>
                </c:pt>
                <c:pt idx="97">
                  <c:v>39566</c:v>
                </c:pt>
                <c:pt idx="98">
                  <c:v>39567</c:v>
                </c:pt>
                <c:pt idx="99">
                  <c:v>39568</c:v>
                </c:pt>
                <c:pt idx="100">
                  <c:v>39573</c:v>
                </c:pt>
                <c:pt idx="101">
                  <c:v>39574</c:v>
                </c:pt>
                <c:pt idx="102">
                  <c:v>39575</c:v>
                </c:pt>
                <c:pt idx="103">
                  <c:v>39576</c:v>
                </c:pt>
                <c:pt idx="104">
                  <c:v>39577</c:v>
                </c:pt>
                <c:pt idx="105">
                  <c:v>39580</c:v>
                </c:pt>
                <c:pt idx="106">
                  <c:v>39581</c:v>
                </c:pt>
                <c:pt idx="107">
                  <c:v>39582</c:v>
                </c:pt>
                <c:pt idx="108">
                  <c:v>39583</c:v>
                </c:pt>
                <c:pt idx="109">
                  <c:v>39584</c:v>
                </c:pt>
                <c:pt idx="110">
                  <c:v>39587</c:v>
                </c:pt>
                <c:pt idx="111">
                  <c:v>39588</c:v>
                </c:pt>
                <c:pt idx="112">
                  <c:v>39589</c:v>
                </c:pt>
                <c:pt idx="113">
                  <c:v>39590</c:v>
                </c:pt>
                <c:pt idx="114">
                  <c:v>39591</c:v>
                </c:pt>
                <c:pt idx="115">
                  <c:v>39594</c:v>
                </c:pt>
                <c:pt idx="116">
                  <c:v>39595</c:v>
                </c:pt>
                <c:pt idx="117">
                  <c:v>39596</c:v>
                </c:pt>
                <c:pt idx="118">
                  <c:v>39597</c:v>
                </c:pt>
                <c:pt idx="119">
                  <c:v>39598</c:v>
                </c:pt>
                <c:pt idx="120">
                  <c:v>39601</c:v>
                </c:pt>
                <c:pt idx="121">
                  <c:v>39602</c:v>
                </c:pt>
                <c:pt idx="122">
                  <c:v>39603</c:v>
                </c:pt>
                <c:pt idx="123">
                  <c:v>39604</c:v>
                </c:pt>
                <c:pt idx="124">
                  <c:v>39605</c:v>
                </c:pt>
                <c:pt idx="125">
                  <c:v>39609</c:v>
                </c:pt>
                <c:pt idx="126">
                  <c:v>39610</c:v>
                </c:pt>
                <c:pt idx="127">
                  <c:v>39611</c:v>
                </c:pt>
                <c:pt idx="128">
                  <c:v>39612</c:v>
                </c:pt>
                <c:pt idx="129">
                  <c:v>39615</c:v>
                </c:pt>
                <c:pt idx="130">
                  <c:v>39616</c:v>
                </c:pt>
                <c:pt idx="131">
                  <c:v>39617</c:v>
                </c:pt>
                <c:pt idx="132">
                  <c:v>39618</c:v>
                </c:pt>
                <c:pt idx="133">
                  <c:v>39619</c:v>
                </c:pt>
                <c:pt idx="134">
                  <c:v>39622</c:v>
                </c:pt>
                <c:pt idx="135">
                  <c:v>39623</c:v>
                </c:pt>
                <c:pt idx="136">
                  <c:v>39624</c:v>
                </c:pt>
                <c:pt idx="137">
                  <c:v>39625</c:v>
                </c:pt>
                <c:pt idx="138">
                  <c:v>39626</c:v>
                </c:pt>
                <c:pt idx="139">
                  <c:v>39629</c:v>
                </c:pt>
                <c:pt idx="140">
                  <c:v>39630</c:v>
                </c:pt>
                <c:pt idx="141">
                  <c:v>39631</c:v>
                </c:pt>
                <c:pt idx="142">
                  <c:v>39632</c:v>
                </c:pt>
                <c:pt idx="143">
                  <c:v>39633</c:v>
                </c:pt>
                <c:pt idx="144">
                  <c:v>39636</c:v>
                </c:pt>
                <c:pt idx="145">
                  <c:v>39637</c:v>
                </c:pt>
                <c:pt idx="146">
                  <c:v>39638</c:v>
                </c:pt>
                <c:pt idx="147">
                  <c:v>39639</c:v>
                </c:pt>
                <c:pt idx="148">
                  <c:v>39640</c:v>
                </c:pt>
                <c:pt idx="149">
                  <c:v>39643</c:v>
                </c:pt>
                <c:pt idx="150">
                  <c:v>39644</c:v>
                </c:pt>
                <c:pt idx="151">
                  <c:v>39645</c:v>
                </c:pt>
                <c:pt idx="152">
                  <c:v>39646</c:v>
                </c:pt>
                <c:pt idx="153">
                  <c:v>39647</c:v>
                </c:pt>
                <c:pt idx="154">
                  <c:v>39650</c:v>
                </c:pt>
                <c:pt idx="155">
                  <c:v>39651</c:v>
                </c:pt>
                <c:pt idx="156">
                  <c:v>39652</c:v>
                </c:pt>
                <c:pt idx="157">
                  <c:v>39653</c:v>
                </c:pt>
                <c:pt idx="158">
                  <c:v>39654</c:v>
                </c:pt>
                <c:pt idx="159">
                  <c:v>39657</c:v>
                </c:pt>
                <c:pt idx="160">
                  <c:v>39658</c:v>
                </c:pt>
                <c:pt idx="161">
                  <c:v>39659</c:v>
                </c:pt>
                <c:pt idx="162">
                  <c:v>39660</c:v>
                </c:pt>
                <c:pt idx="163">
                  <c:v>39661</c:v>
                </c:pt>
                <c:pt idx="164">
                  <c:v>39664</c:v>
                </c:pt>
                <c:pt idx="165">
                  <c:v>39665</c:v>
                </c:pt>
                <c:pt idx="166">
                  <c:v>39666</c:v>
                </c:pt>
                <c:pt idx="167">
                  <c:v>39667</c:v>
                </c:pt>
                <c:pt idx="168">
                  <c:v>39668</c:v>
                </c:pt>
                <c:pt idx="169">
                  <c:v>39671</c:v>
                </c:pt>
                <c:pt idx="170">
                  <c:v>39672</c:v>
                </c:pt>
                <c:pt idx="171">
                  <c:v>39673</c:v>
                </c:pt>
                <c:pt idx="172">
                  <c:v>39674</c:v>
                </c:pt>
                <c:pt idx="173">
                  <c:v>39675</c:v>
                </c:pt>
                <c:pt idx="174">
                  <c:v>39678</c:v>
                </c:pt>
                <c:pt idx="175">
                  <c:v>39679</c:v>
                </c:pt>
                <c:pt idx="176">
                  <c:v>39680</c:v>
                </c:pt>
                <c:pt idx="177">
                  <c:v>39681</c:v>
                </c:pt>
                <c:pt idx="178">
                  <c:v>39682</c:v>
                </c:pt>
                <c:pt idx="179">
                  <c:v>39685</c:v>
                </c:pt>
                <c:pt idx="180">
                  <c:v>39686</c:v>
                </c:pt>
                <c:pt idx="181">
                  <c:v>39687</c:v>
                </c:pt>
                <c:pt idx="182">
                  <c:v>39688</c:v>
                </c:pt>
                <c:pt idx="183">
                  <c:v>39689</c:v>
                </c:pt>
                <c:pt idx="184">
                  <c:v>39692</c:v>
                </c:pt>
                <c:pt idx="185">
                  <c:v>39693</c:v>
                </c:pt>
                <c:pt idx="186">
                  <c:v>39694</c:v>
                </c:pt>
                <c:pt idx="187">
                  <c:v>39695</c:v>
                </c:pt>
                <c:pt idx="188">
                  <c:v>39696</c:v>
                </c:pt>
                <c:pt idx="189">
                  <c:v>39699</c:v>
                </c:pt>
                <c:pt idx="190">
                  <c:v>39700</c:v>
                </c:pt>
                <c:pt idx="191">
                  <c:v>39701</c:v>
                </c:pt>
                <c:pt idx="192">
                  <c:v>39702</c:v>
                </c:pt>
                <c:pt idx="193">
                  <c:v>39703</c:v>
                </c:pt>
                <c:pt idx="194">
                  <c:v>39707</c:v>
                </c:pt>
                <c:pt idx="195">
                  <c:v>39708</c:v>
                </c:pt>
                <c:pt idx="196">
                  <c:v>39709</c:v>
                </c:pt>
                <c:pt idx="197">
                  <c:v>39710</c:v>
                </c:pt>
                <c:pt idx="198">
                  <c:v>39713</c:v>
                </c:pt>
                <c:pt idx="199">
                  <c:v>39714</c:v>
                </c:pt>
                <c:pt idx="200">
                  <c:v>39715</c:v>
                </c:pt>
                <c:pt idx="201">
                  <c:v>39716</c:v>
                </c:pt>
                <c:pt idx="202">
                  <c:v>39717</c:v>
                </c:pt>
                <c:pt idx="203">
                  <c:v>39727</c:v>
                </c:pt>
                <c:pt idx="204">
                  <c:v>39728</c:v>
                </c:pt>
                <c:pt idx="205">
                  <c:v>39729</c:v>
                </c:pt>
                <c:pt idx="206">
                  <c:v>39730</c:v>
                </c:pt>
                <c:pt idx="207">
                  <c:v>39731</c:v>
                </c:pt>
                <c:pt idx="208">
                  <c:v>39734</c:v>
                </c:pt>
                <c:pt idx="209">
                  <c:v>39735</c:v>
                </c:pt>
                <c:pt idx="210">
                  <c:v>39736</c:v>
                </c:pt>
                <c:pt idx="211">
                  <c:v>39737</c:v>
                </c:pt>
                <c:pt idx="212">
                  <c:v>39738</c:v>
                </c:pt>
                <c:pt idx="213">
                  <c:v>39741</c:v>
                </c:pt>
                <c:pt idx="214">
                  <c:v>39742</c:v>
                </c:pt>
                <c:pt idx="215">
                  <c:v>39743</c:v>
                </c:pt>
                <c:pt idx="216">
                  <c:v>39744</c:v>
                </c:pt>
                <c:pt idx="217">
                  <c:v>39745</c:v>
                </c:pt>
                <c:pt idx="218">
                  <c:v>39748</c:v>
                </c:pt>
                <c:pt idx="219">
                  <c:v>39749</c:v>
                </c:pt>
                <c:pt idx="220">
                  <c:v>39750</c:v>
                </c:pt>
                <c:pt idx="221">
                  <c:v>39751</c:v>
                </c:pt>
                <c:pt idx="222">
                  <c:v>39752</c:v>
                </c:pt>
                <c:pt idx="223">
                  <c:v>39755</c:v>
                </c:pt>
                <c:pt idx="224">
                  <c:v>39756</c:v>
                </c:pt>
                <c:pt idx="225">
                  <c:v>39757</c:v>
                </c:pt>
                <c:pt idx="226">
                  <c:v>39758</c:v>
                </c:pt>
                <c:pt idx="227">
                  <c:v>39759</c:v>
                </c:pt>
                <c:pt idx="228">
                  <c:v>39762</c:v>
                </c:pt>
                <c:pt idx="229">
                  <c:v>39763</c:v>
                </c:pt>
                <c:pt idx="230">
                  <c:v>39764</c:v>
                </c:pt>
                <c:pt idx="231">
                  <c:v>39765</c:v>
                </c:pt>
                <c:pt idx="232">
                  <c:v>39766</c:v>
                </c:pt>
                <c:pt idx="233">
                  <c:v>39769</c:v>
                </c:pt>
                <c:pt idx="234">
                  <c:v>39770</c:v>
                </c:pt>
                <c:pt idx="235">
                  <c:v>39771</c:v>
                </c:pt>
                <c:pt idx="236">
                  <c:v>39772</c:v>
                </c:pt>
                <c:pt idx="237">
                  <c:v>39773</c:v>
                </c:pt>
                <c:pt idx="238">
                  <c:v>39776</c:v>
                </c:pt>
                <c:pt idx="239">
                  <c:v>39777</c:v>
                </c:pt>
                <c:pt idx="240">
                  <c:v>39778</c:v>
                </c:pt>
                <c:pt idx="241">
                  <c:v>39779</c:v>
                </c:pt>
                <c:pt idx="242">
                  <c:v>39780</c:v>
                </c:pt>
                <c:pt idx="243">
                  <c:v>39783</c:v>
                </c:pt>
                <c:pt idx="244">
                  <c:v>39784</c:v>
                </c:pt>
                <c:pt idx="245">
                  <c:v>39785</c:v>
                </c:pt>
                <c:pt idx="246">
                  <c:v>39786</c:v>
                </c:pt>
                <c:pt idx="247">
                  <c:v>39787</c:v>
                </c:pt>
                <c:pt idx="248">
                  <c:v>39790</c:v>
                </c:pt>
                <c:pt idx="249">
                  <c:v>39791</c:v>
                </c:pt>
                <c:pt idx="250">
                  <c:v>39792</c:v>
                </c:pt>
                <c:pt idx="251">
                  <c:v>39793</c:v>
                </c:pt>
                <c:pt idx="252">
                  <c:v>39794</c:v>
                </c:pt>
                <c:pt idx="253">
                  <c:v>39797</c:v>
                </c:pt>
                <c:pt idx="254">
                  <c:v>39798</c:v>
                </c:pt>
                <c:pt idx="255">
                  <c:v>39799</c:v>
                </c:pt>
                <c:pt idx="256">
                  <c:v>39800</c:v>
                </c:pt>
                <c:pt idx="257">
                  <c:v>39801</c:v>
                </c:pt>
                <c:pt idx="258">
                  <c:v>39804</c:v>
                </c:pt>
                <c:pt idx="259">
                  <c:v>39805</c:v>
                </c:pt>
                <c:pt idx="260">
                  <c:v>39806</c:v>
                </c:pt>
                <c:pt idx="261">
                  <c:v>39807</c:v>
                </c:pt>
                <c:pt idx="262">
                  <c:v>39808</c:v>
                </c:pt>
                <c:pt idx="263">
                  <c:v>39811</c:v>
                </c:pt>
                <c:pt idx="264">
                  <c:v>39812</c:v>
                </c:pt>
                <c:pt idx="265">
                  <c:v>39813</c:v>
                </c:pt>
                <c:pt idx="266">
                  <c:v>39818</c:v>
                </c:pt>
                <c:pt idx="267">
                  <c:v>39819</c:v>
                </c:pt>
                <c:pt idx="268">
                  <c:v>39820</c:v>
                </c:pt>
                <c:pt idx="269">
                  <c:v>39821</c:v>
                </c:pt>
                <c:pt idx="270">
                  <c:v>39822</c:v>
                </c:pt>
                <c:pt idx="271">
                  <c:v>39825</c:v>
                </c:pt>
                <c:pt idx="272">
                  <c:v>39826</c:v>
                </c:pt>
                <c:pt idx="273">
                  <c:v>39827</c:v>
                </c:pt>
                <c:pt idx="274">
                  <c:v>39828</c:v>
                </c:pt>
                <c:pt idx="275">
                  <c:v>39829</c:v>
                </c:pt>
                <c:pt idx="276">
                  <c:v>39832</c:v>
                </c:pt>
                <c:pt idx="277">
                  <c:v>39833</c:v>
                </c:pt>
                <c:pt idx="278">
                  <c:v>39834</c:v>
                </c:pt>
                <c:pt idx="279">
                  <c:v>39835</c:v>
                </c:pt>
                <c:pt idx="280">
                  <c:v>39836</c:v>
                </c:pt>
                <c:pt idx="281">
                  <c:v>39846</c:v>
                </c:pt>
                <c:pt idx="282">
                  <c:v>39847</c:v>
                </c:pt>
                <c:pt idx="283">
                  <c:v>39848</c:v>
                </c:pt>
                <c:pt idx="284">
                  <c:v>39849</c:v>
                </c:pt>
                <c:pt idx="285">
                  <c:v>39850</c:v>
                </c:pt>
                <c:pt idx="286">
                  <c:v>39853</c:v>
                </c:pt>
                <c:pt idx="287">
                  <c:v>39854</c:v>
                </c:pt>
                <c:pt idx="288">
                  <c:v>39855</c:v>
                </c:pt>
                <c:pt idx="289">
                  <c:v>39856</c:v>
                </c:pt>
                <c:pt idx="290">
                  <c:v>39857</c:v>
                </c:pt>
                <c:pt idx="291">
                  <c:v>39860</c:v>
                </c:pt>
                <c:pt idx="292">
                  <c:v>39861</c:v>
                </c:pt>
                <c:pt idx="293">
                  <c:v>39862</c:v>
                </c:pt>
                <c:pt idx="294">
                  <c:v>39863</c:v>
                </c:pt>
                <c:pt idx="295">
                  <c:v>39864</c:v>
                </c:pt>
                <c:pt idx="296">
                  <c:v>39867</c:v>
                </c:pt>
                <c:pt idx="297">
                  <c:v>39868</c:v>
                </c:pt>
                <c:pt idx="298">
                  <c:v>39869</c:v>
                </c:pt>
                <c:pt idx="299">
                  <c:v>39870</c:v>
                </c:pt>
                <c:pt idx="300">
                  <c:v>39871</c:v>
                </c:pt>
                <c:pt idx="301">
                  <c:v>39874</c:v>
                </c:pt>
                <c:pt idx="302">
                  <c:v>39875</c:v>
                </c:pt>
                <c:pt idx="303">
                  <c:v>39876</c:v>
                </c:pt>
                <c:pt idx="304">
                  <c:v>39877</c:v>
                </c:pt>
                <c:pt idx="305">
                  <c:v>39878</c:v>
                </c:pt>
                <c:pt idx="306">
                  <c:v>39881</c:v>
                </c:pt>
                <c:pt idx="307">
                  <c:v>39882</c:v>
                </c:pt>
                <c:pt idx="308">
                  <c:v>39883</c:v>
                </c:pt>
                <c:pt idx="309">
                  <c:v>39884</c:v>
                </c:pt>
                <c:pt idx="310">
                  <c:v>39885</c:v>
                </c:pt>
                <c:pt idx="311">
                  <c:v>39888</c:v>
                </c:pt>
                <c:pt idx="312">
                  <c:v>39889</c:v>
                </c:pt>
                <c:pt idx="313">
                  <c:v>39890</c:v>
                </c:pt>
                <c:pt idx="314">
                  <c:v>39891</c:v>
                </c:pt>
                <c:pt idx="315">
                  <c:v>39892</c:v>
                </c:pt>
                <c:pt idx="316">
                  <c:v>39895</c:v>
                </c:pt>
                <c:pt idx="317">
                  <c:v>39896</c:v>
                </c:pt>
                <c:pt idx="318">
                  <c:v>39897</c:v>
                </c:pt>
                <c:pt idx="319">
                  <c:v>39898</c:v>
                </c:pt>
                <c:pt idx="320">
                  <c:v>39899</c:v>
                </c:pt>
                <c:pt idx="321">
                  <c:v>39902</c:v>
                </c:pt>
                <c:pt idx="322">
                  <c:v>39903</c:v>
                </c:pt>
                <c:pt idx="323">
                  <c:v>39904</c:v>
                </c:pt>
                <c:pt idx="324">
                  <c:v>39905</c:v>
                </c:pt>
                <c:pt idx="325">
                  <c:v>39906</c:v>
                </c:pt>
                <c:pt idx="326">
                  <c:v>39910</c:v>
                </c:pt>
                <c:pt idx="327">
                  <c:v>39911</c:v>
                </c:pt>
                <c:pt idx="328">
                  <c:v>39912</c:v>
                </c:pt>
                <c:pt idx="329">
                  <c:v>39913</c:v>
                </c:pt>
                <c:pt idx="330">
                  <c:v>39916</c:v>
                </c:pt>
                <c:pt idx="331">
                  <c:v>39917</c:v>
                </c:pt>
                <c:pt idx="332">
                  <c:v>39918</c:v>
                </c:pt>
                <c:pt idx="333">
                  <c:v>39919</c:v>
                </c:pt>
                <c:pt idx="334">
                  <c:v>39920</c:v>
                </c:pt>
                <c:pt idx="335">
                  <c:v>39923</c:v>
                </c:pt>
                <c:pt idx="336">
                  <c:v>39924</c:v>
                </c:pt>
                <c:pt idx="337">
                  <c:v>39925</c:v>
                </c:pt>
                <c:pt idx="338">
                  <c:v>39926</c:v>
                </c:pt>
                <c:pt idx="339">
                  <c:v>39927</c:v>
                </c:pt>
                <c:pt idx="340">
                  <c:v>39930</c:v>
                </c:pt>
                <c:pt idx="341">
                  <c:v>39931</c:v>
                </c:pt>
                <c:pt idx="342">
                  <c:v>39932</c:v>
                </c:pt>
                <c:pt idx="343">
                  <c:v>39933</c:v>
                </c:pt>
                <c:pt idx="344">
                  <c:v>39937</c:v>
                </c:pt>
                <c:pt idx="345">
                  <c:v>39938</c:v>
                </c:pt>
                <c:pt idx="346">
                  <c:v>39939</c:v>
                </c:pt>
                <c:pt idx="347">
                  <c:v>39940</c:v>
                </c:pt>
                <c:pt idx="348">
                  <c:v>39941</c:v>
                </c:pt>
                <c:pt idx="349">
                  <c:v>39944</c:v>
                </c:pt>
                <c:pt idx="350">
                  <c:v>39945</c:v>
                </c:pt>
                <c:pt idx="351">
                  <c:v>39946</c:v>
                </c:pt>
                <c:pt idx="352">
                  <c:v>39947</c:v>
                </c:pt>
                <c:pt idx="353">
                  <c:v>39948</c:v>
                </c:pt>
                <c:pt idx="354">
                  <c:v>39951</c:v>
                </c:pt>
                <c:pt idx="355">
                  <c:v>39952</c:v>
                </c:pt>
                <c:pt idx="356">
                  <c:v>39953</c:v>
                </c:pt>
                <c:pt idx="357">
                  <c:v>39954</c:v>
                </c:pt>
                <c:pt idx="358">
                  <c:v>39955</c:v>
                </c:pt>
                <c:pt idx="359">
                  <c:v>39958</c:v>
                </c:pt>
                <c:pt idx="360">
                  <c:v>39959</c:v>
                </c:pt>
                <c:pt idx="361">
                  <c:v>39960</c:v>
                </c:pt>
                <c:pt idx="362">
                  <c:v>39965</c:v>
                </c:pt>
                <c:pt idx="363">
                  <c:v>39966</c:v>
                </c:pt>
                <c:pt idx="364">
                  <c:v>39967</c:v>
                </c:pt>
                <c:pt idx="365">
                  <c:v>39968</c:v>
                </c:pt>
                <c:pt idx="366">
                  <c:v>39969</c:v>
                </c:pt>
                <c:pt idx="367">
                  <c:v>39972</c:v>
                </c:pt>
                <c:pt idx="368">
                  <c:v>39973</c:v>
                </c:pt>
                <c:pt idx="369">
                  <c:v>39974</c:v>
                </c:pt>
                <c:pt idx="370">
                  <c:v>39975</c:v>
                </c:pt>
                <c:pt idx="371">
                  <c:v>39976</c:v>
                </c:pt>
                <c:pt idx="372">
                  <c:v>39979</c:v>
                </c:pt>
                <c:pt idx="373">
                  <c:v>39980</c:v>
                </c:pt>
                <c:pt idx="374">
                  <c:v>39981</c:v>
                </c:pt>
                <c:pt idx="375">
                  <c:v>39982</c:v>
                </c:pt>
                <c:pt idx="376">
                  <c:v>39983</c:v>
                </c:pt>
                <c:pt idx="377">
                  <c:v>39986</c:v>
                </c:pt>
                <c:pt idx="378">
                  <c:v>39987</c:v>
                </c:pt>
                <c:pt idx="379">
                  <c:v>39988</c:v>
                </c:pt>
                <c:pt idx="380">
                  <c:v>39989</c:v>
                </c:pt>
                <c:pt idx="381">
                  <c:v>39990</c:v>
                </c:pt>
                <c:pt idx="382">
                  <c:v>39993</c:v>
                </c:pt>
                <c:pt idx="383">
                  <c:v>39994</c:v>
                </c:pt>
                <c:pt idx="384">
                  <c:v>39995</c:v>
                </c:pt>
                <c:pt idx="385">
                  <c:v>39996</c:v>
                </c:pt>
                <c:pt idx="386">
                  <c:v>39997</c:v>
                </c:pt>
                <c:pt idx="387">
                  <c:v>40000</c:v>
                </c:pt>
                <c:pt idx="388">
                  <c:v>40001</c:v>
                </c:pt>
                <c:pt idx="389">
                  <c:v>40002</c:v>
                </c:pt>
                <c:pt idx="390">
                  <c:v>40003</c:v>
                </c:pt>
                <c:pt idx="391">
                  <c:v>40004</c:v>
                </c:pt>
                <c:pt idx="392">
                  <c:v>40007</c:v>
                </c:pt>
                <c:pt idx="393">
                  <c:v>40008</c:v>
                </c:pt>
                <c:pt idx="394">
                  <c:v>40009</c:v>
                </c:pt>
                <c:pt idx="395">
                  <c:v>40010</c:v>
                </c:pt>
                <c:pt idx="396">
                  <c:v>40011</c:v>
                </c:pt>
                <c:pt idx="397">
                  <c:v>40014</c:v>
                </c:pt>
                <c:pt idx="398">
                  <c:v>40015</c:v>
                </c:pt>
                <c:pt idx="399">
                  <c:v>40016</c:v>
                </c:pt>
                <c:pt idx="400">
                  <c:v>40017</c:v>
                </c:pt>
                <c:pt idx="401">
                  <c:v>40018</c:v>
                </c:pt>
                <c:pt idx="402">
                  <c:v>40021</c:v>
                </c:pt>
                <c:pt idx="403">
                  <c:v>40022</c:v>
                </c:pt>
                <c:pt idx="404">
                  <c:v>40023</c:v>
                </c:pt>
                <c:pt idx="405">
                  <c:v>40024</c:v>
                </c:pt>
                <c:pt idx="406">
                  <c:v>40025</c:v>
                </c:pt>
                <c:pt idx="407">
                  <c:v>40028</c:v>
                </c:pt>
                <c:pt idx="408">
                  <c:v>40029</c:v>
                </c:pt>
                <c:pt idx="409">
                  <c:v>40030</c:v>
                </c:pt>
                <c:pt idx="410">
                  <c:v>40031</c:v>
                </c:pt>
                <c:pt idx="411">
                  <c:v>40032</c:v>
                </c:pt>
                <c:pt idx="412">
                  <c:v>40035</c:v>
                </c:pt>
                <c:pt idx="413">
                  <c:v>40036</c:v>
                </c:pt>
                <c:pt idx="414">
                  <c:v>40037</c:v>
                </c:pt>
                <c:pt idx="415">
                  <c:v>40038</c:v>
                </c:pt>
                <c:pt idx="416">
                  <c:v>40039</c:v>
                </c:pt>
                <c:pt idx="417">
                  <c:v>40042</c:v>
                </c:pt>
                <c:pt idx="418">
                  <c:v>40043</c:v>
                </c:pt>
                <c:pt idx="419">
                  <c:v>40044</c:v>
                </c:pt>
                <c:pt idx="420">
                  <c:v>40045</c:v>
                </c:pt>
                <c:pt idx="421">
                  <c:v>40046</c:v>
                </c:pt>
                <c:pt idx="422">
                  <c:v>40049</c:v>
                </c:pt>
                <c:pt idx="423">
                  <c:v>40050</c:v>
                </c:pt>
                <c:pt idx="424">
                  <c:v>40051</c:v>
                </c:pt>
                <c:pt idx="425">
                  <c:v>40052</c:v>
                </c:pt>
                <c:pt idx="426">
                  <c:v>40053</c:v>
                </c:pt>
                <c:pt idx="427">
                  <c:v>40056</c:v>
                </c:pt>
                <c:pt idx="428">
                  <c:v>40057</c:v>
                </c:pt>
                <c:pt idx="429">
                  <c:v>40058</c:v>
                </c:pt>
                <c:pt idx="430">
                  <c:v>40059</c:v>
                </c:pt>
                <c:pt idx="431">
                  <c:v>40060</c:v>
                </c:pt>
                <c:pt idx="432">
                  <c:v>40063</c:v>
                </c:pt>
                <c:pt idx="433">
                  <c:v>40064</c:v>
                </c:pt>
                <c:pt idx="434">
                  <c:v>40065</c:v>
                </c:pt>
                <c:pt idx="435">
                  <c:v>40066</c:v>
                </c:pt>
                <c:pt idx="436">
                  <c:v>40067</c:v>
                </c:pt>
                <c:pt idx="437">
                  <c:v>40070</c:v>
                </c:pt>
                <c:pt idx="438">
                  <c:v>40071</c:v>
                </c:pt>
                <c:pt idx="439">
                  <c:v>40072</c:v>
                </c:pt>
                <c:pt idx="440">
                  <c:v>40073</c:v>
                </c:pt>
                <c:pt idx="441">
                  <c:v>40074</c:v>
                </c:pt>
                <c:pt idx="442">
                  <c:v>40077</c:v>
                </c:pt>
                <c:pt idx="443">
                  <c:v>40078</c:v>
                </c:pt>
                <c:pt idx="444">
                  <c:v>40079</c:v>
                </c:pt>
                <c:pt idx="445">
                  <c:v>40080</c:v>
                </c:pt>
                <c:pt idx="446">
                  <c:v>40081</c:v>
                </c:pt>
                <c:pt idx="447">
                  <c:v>40084</c:v>
                </c:pt>
                <c:pt idx="448">
                  <c:v>40085</c:v>
                </c:pt>
                <c:pt idx="449">
                  <c:v>40086</c:v>
                </c:pt>
                <c:pt idx="450">
                  <c:v>40095</c:v>
                </c:pt>
                <c:pt idx="451">
                  <c:v>40098</c:v>
                </c:pt>
                <c:pt idx="452">
                  <c:v>40099</c:v>
                </c:pt>
                <c:pt idx="453">
                  <c:v>40100</c:v>
                </c:pt>
                <c:pt idx="454">
                  <c:v>40101</c:v>
                </c:pt>
                <c:pt idx="455">
                  <c:v>40102</c:v>
                </c:pt>
                <c:pt idx="456">
                  <c:v>40105</c:v>
                </c:pt>
                <c:pt idx="457">
                  <c:v>40106</c:v>
                </c:pt>
                <c:pt idx="458">
                  <c:v>40107</c:v>
                </c:pt>
                <c:pt idx="459">
                  <c:v>40108</c:v>
                </c:pt>
                <c:pt idx="460">
                  <c:v>40109</c:v>
                </c:pt>
                <c:pt idx="461">
                  <c:v>40112</c:v>
                </c:pt>
                <c:pt idx="462">
                  <c:v>40113</c:v>
                </c:pt>
                <c:pt idx="463">
                  <c:v>40114</c:v>
                </c:pt>
                <c:pt idx="464">
                  <c:v>40115</c:v>
                </c:pt>
                <c:pt idx="465">
                  <c:v>40116</c:v>
                </c:pt>
                <c:pt idx="466">
                  <c:v>40119</c:v>
                </c:pt>
                <c:pt idx="467">
                  <c:v>40120</c:v>
                </c:pt>
                <c:pt idx="468">
                  <c:v>40121</c:v>
                </c:pt>
                <c:pt idx="469">
                  <c:v>40122</c:v>
                </c:pt>
                <c:pt idx="470">
                  <c:v>40123</c:v>
                </c:pt>
                <c:pt idx="471">
                  <c:v>40126</c:v>
                </c:pt>
                <c:pt idx="472">
                  <c:v>40127</c:v>
                </c:pt>
                <c:pt idx="473">
                  <c:v>40128</c:v>
                </c:pt>
                <c:pt idx="474">
                  <c:v>40129</c:v>
                </c:pt>
                <c:pt idx="475">
                  <c:v>40130</c:v>
                </c:pt>
                <c:pt idx="476">
                  <c:v>40133</c:v>
                </c:pt>
                <c:pt idx="477">
                  <c:v>40134</c:v>
                </c:pt>
                <c:pt idx="478">
                  <c:v>40135</c:v>
                </c:pt>
                <c:pt idx="479">
                  <c:v>40136</c:v>
                </c:pt>
                <c:pt idx="480">
                  <c:v>40137</c:v>
                </c:pt>
                <c:pt idx="481">
                  <c:v>40140</c:v>
                </c:pt>
                <c:pt idx="482">
                  <c:v>40141</c:v>
                </c:pt>
                <c:pt idx="483">
                  <c:v>40142</c:v>
                </c:pt>
                <c:pt idx="484">
                  <c:v>40143</c:v>
                </c:pt>
                <c:pt idx="485">
                  <c:v>40144</c:v>
                </c:pt>
                <c:pt idx="486">
                  <c:v>40147</c:v>
                </c:pt>
                <c:pt idx="487">
                  <c:v>40148</c:v>
                </c:pt>
                <c:pt idx="488">
                  <c:v>40149</c:v>
                </c:pt>
                <c:pt idx="489">
                  <c:v>40150</c:v>
                </c:pt>
                <c:pt idx="490">
                  <c:v>40151</c:v>
                </c:pt>
                <c:pt idx="491">
                  <c:v>40154</c:v>
                </c:pt>
                <c:pt idx="492">
                  <c:v>40155</c:v>
                </c:pt>
                <c:pt idx="493">
                  <c:v>40156</c:v>
                </c:pt>
                <c:pt idx="494">
                  <c:v>40157</c:v>
                </c:pt>
                <c:pt idx="495">
                  <c:v>40158</c:v>
                </c:pt>
                <c:pt idx="496">
                  <c:v>40161</c:v>
                </c:pt>
                <c:pt idx="497">
                  <c:v>40162</c:v>
                </c:pt>
                <c:pt idx="498">
                  <c:v>40163</c:v>
                </c:pt>
                <c:pt idx="499">
                  <c:v>40164</c:v>
                </c:pt>
                <c:pt idx="500">
                  <c:v>40165</c:v>
                </c:pt>
                <c:pt idx="501">
                  <c:v>40168</c:v>
                </c:pt>
                <c:pt idx="502">
                  <c:v>40169</c:v>
                </c:pt>
                <c:pt idx="503">
                  <c:v>40170</c:v>
                </c:pt>
                <c:pt idx="504">
                  <c:v>40171</c:v>
                </c:pt>
                <c:pt idx="505">
                  <c:v>40172</c:v>
                </c:pt>
                <c:pt idx="506">
                  <c:v>40175</c:v>
                </c:pt>
                <c:pt idx="507">
                  <c:v>40176</c:v>
                </c:pt>
                <c:pt idx="508">
                  <c:v>40177</c:v>
                </c:pt>
                <c:pt idx="509">
                  <c:v>40178</c:v>
                </c:pt>
                <c:pt idx="510">
                  <c:v>40182</c:v>
                </c:pt>
                <c:pt idx="511">
                  <c:v>40183</c:v>
                </c:pt>
                <c:pt idx="512">
                  <c:v>40184</c:v>
                </c:pt>
                <c:pt idx="513">
                  <c:v>40185</c:v>
                </c:pt>
                <c:pt idx="514">
                  <c:v>40186</c:v>
                </c:pt>
                <c:pt idx="515">
                  <c:v>40189</c:v>
                </c:pt>
                <c:pt idx="516">
                  <c:v>40190</c:v>
                </c:pt>
                <c:pt idx="517">
                  <c:v>40191</c:v>
                </c:pt>
                <c:pt idx="518">
                  <c:v>40192</c:v>
                </c:pt>
                <c:pt idx="519">
                  <c:v>40193</c:v>
                </c:pt>
                <c:pt idx="520">
                  <c:v>40196</c:v>
                </c:pt>
                <c:pt idx="521">
                  <c:v>40197</c:v>
                </c:pt>
                <c:pt idx="522">
                  <c:v>40198</c:v>
                </c:pt>
                <c:pt idx="523">
                  <c:v>40199</c:v>
                </c:pt>
                <c:pt idx="524">
                  <c:v>40200</c:v>
                </c:pt>
                <c:pt idx="525">
                  <c:v>40203</c:v>
                </c:pt>
                <c:pt idx="526">
                  <c:v>40204</c:v>
                </c:pt>
                <c:pt idx="527">
                  <c:v>40205</c:v>
                </c:pt>
                <c:pt idx="528">
                  <c:v>40206</c:v>
                </c:pt>
                <c:pt idx="529">
                  <c:v>40207</c:v>
                </c:pt>
                <c:pt idx="530">
                  <c:v>40210</c:v>
                </c:pt>
                <c:pt idx="531">
                  <c:v>40211</c:v>
                </c:pt>
                <c:pt idx="532">
                  <c:v>40212</c:v>
                </c:pt>
                <c:pt idx="533">
                  <c:v>40213</c:v>
                </c:pt>
                <c:pt idx="534">
                  <c:v>40214</c:v>
                </c:pt>
                <c:pt idx="535">
                  <c:v>40217</c:v>
                </c:pt>
                <c:pt idx="536">
                  <c:v>40218</c:v>
                </c:pt>
                <c:pt idx="537">
                  <c:v>40219</c:v>
                </c:pt>
                <c:pt idx="538">
                  <c:v>40220</c:v>
                </c:pt>
                <c:pt idx="539">
                  <c:v>40221</c:v>
                </c:pt>
                <c:pt idx="540">
                  <c:v>40231</c:v>
                </c:pt>
                <c:pt idx="541">
                  <c:v>40232</c:v>
                </c:pt>
                <c:pt idx="542">
                  <c:v>40233</c:v>
                </c:pt>
                <c:pt idx="543">
                  <c:v>40234</c:v>
                </c:pt>
                <c:pt idx="544">
                  <c:v>40235</c:v>
                </c:pt>
                <c:pt idx="545">
                  <c:v>40238</c:v>
                </c:pt>
                <c:pt idx="546">
                  <c:v>40239</c:v>
                </c:pt>
                <c:pt idx="547">
                  <c:v>40240</c:v>
                </c:pt>
                <c:pt idx="548">
                  <c:v>40241</c:v>
                </c:pt>
                <c:pt idx="549">
                  <c:v>40242</c:v>
                </c:pt>
                <c:pt idx="550">
                  <c:v>40245</c:v>
                </c:pt>
                <c:pt idx="551">
                  <c:v>40246</c:v>
                </c:pt>
                <c:pt idx="552">
                  <c:v>40247</c:v>
                </c:pt>
                <c:pt idx="553">
                  <c:v>40248</c:v>
                </c:pt>
                <c:pt idx="554">
                  <c:v>40249</c:v>
                </c:pt>
                <c:pt idx="555">
                  <c:v>40252</c:v>
                </c:pt>
                <c:pt idx="556">
                  <c:v>40253</c:v>
                </c:pt>
                <c:pt idx="557">
                  <c:v>40254</c:v>
                </c:pt>
                <c:pt idx="558">
                  <c:v>40255</c:v>
                </c:pt>
                <c:pt idx="559">
                  <c:v>40256</c:v>
                </c:pt>
                <c:pt idx="560">
                  <c:v>40259</c:v>
                </c:pt>
                <c:pt idx="561">
                  <c:v>40260</c:v>
                </c:pt>
                <c:pt idx="562">
                  <c:v>40261</c:v>
                </c:pt>
                <c:pt idx="563">
                  <c:v>40262</c:v>
                </c:pt>
                <c:pt idx="564">
                  <c:v>40263</c:v>
                </c:pt>
                <c:pt idx="565">
                  <c:v>40266</c:v>
                </c:pt>
                <c:pt idx="566">
                  <c:v>40267</c:v>
                </c:pt>
                <c:pt idx="567">
                  <c:v>40268</c:v>
                </c:pt>
                <c:pt idx="568">
                  <c:v>40269</c:v>
                </c:pt>
                <c:pt idx="569">
                  <c:v>40270</c:v>
                </c:pt>
                <c:pt idx="570">
                  <c:v>40274</c:v>
                </c:pt>
                <c:pt idx="571">
                  <c:v>40275</c:v>
                </c:pt>
                <c:pt idx="572">
                  <c:v>40276</c:v>
                </c:pt>
                <c:pt idx="573">
                  <c:v>40277</c:v>
                </c:pt>
                <c:pt idx="574">
                  <c:v>40280</c:v>
                </c:pt>
                <c:pt idx="575">
                  <c:v>40281</c:v>
                </c:pt>
                <c:pt idx="576">
                  <c:v>40282</c:v>
                </c:pt>
                <c:pt idx="577">
                  <c:v>40283</c:v>
                </c:pt>
                <c:pt idx="578">
                  <c:v>40284</c:v>
                </c:pt>
                <c:pt idx="579">
                  <c:v>40287</c:v>
                </c:pt>
                <c:pt idx="580">
                  <c:v>40288</c:v>
                </c:pt>
                <c:pt idx="581">
                  <c:v>40289</c:v>
                </c:pt>
                <c:pt idx="582">
                  <c:v>40290</c:v>
                </c:pt>
                <c:pt idx="583">
                  <c:v>40291</c:v>
                </c:pt>
                <c:pt idx="584">
                  <c:v>40294</c:v>
                </c:pt>
                <c:pt idx="585">
                  <c:v>40295</c:v>
                </c:pt>
                <c:pt idx="586">
                  <c:v>40296</c:v>
                </c:pt>
                <c:pt idx="587">
                  <c:v>40297</c:v>
                </c:pt>
                <c:pt idx="588">
                  <c:v>40298</c:v>
                </c:pt>
                <c:pt idx="589">
                  <c:v>40302</c:v>
                </c:pt>
                <c:pt idx="590">
                  <c:v>40303</c:v>
                </c:pt>
                <c:pt idx="591">
                  <c:v>40304</c:v>
                </c:pt>
                <c:pt idx="592">
                  <c:v>40305</c:v>
                </c:pt>
                <c:pt idx="593">
                  <c:v>40308</c:v>
                </c:pt>
                <c:pt idx="594">
                  <c:v>40309</c:v>
                </c:pt>
                <c:pt idx="595">
                  <c:v>40310</c:v>
                </c:pt>
                <c:pt idx="596">
                  <c:v>40311</c:v>
                </c:pt>
                <c:pt idx="597">
                  <c:v>40312</c:v>
                </c:pt>
                <c:pt idx="598">
                  <c:v>40315</c:v>
                </c:pt>
                <c:pt idx="599">
                  <c:v>40316</c:v>
                </c:pt>
                <c:pt idx="600">
                  <c:v>40317</c:v>
                </c:pt>
                <c:pt idx="601">
                  <c:v>40318</c:v>
                </c:pt>
                <c:pt idx="602">
                  <c:v>40319</c:v>
                </c:pt>
                <c:pt idx="603">
                  <c:v>40322</c:v>
                </c:pt>
                <c:pt idx="604">
                  <c:v>40323</c:v>
                </c:pt>
                <c:pt idx="605">
                  <c:v>40324</c:v>
                </c:pt>
                <c:pt idx="606">
                  <c:v>40325</c:v>
                </c:pt>
                <c:pt idx="607">
                  <c:v>40326</c:v>
                </c:pt>
                <c:pt idx="608">
                  <c:v>40329</c:v>
                </c:pt>
                <c:pt idx="609">
                  <c:v>40330</c:v>
                </c:pt>
                <c:pt idx="610">
                  <c:v>40331</c:v>
                </c:pt>
                <c:pt idx="611">
                  <c:v>40332</c:v>
                </c:pt>
                <c:pt idx="612">
                  <c:v>40333</c:v>
                </c:pt>
                <c:pt idx="613">
                  <c:v>40336</c:v>
                </c:pt>
                <c:pt idx="614">
                  <c:v>40337</c:v>
                </c:pt>
                <c:pt idx="615">
                  <c:v>40338</c:v>
                </c:pt>
                <c:pt idx="616">
                  <c:v>40339</c:v>
                </c:pt>
                <c:pt idx="617">
                  <c:v>40340</c:v>
                </c:pt>
                <c:pt idx="618">
                  <c:v>40346</c:v>
                </c:pt>
                <c:pt idx="619">
                  <c:v>40347</c:v>
                </c:pt>
                <c:pt idx="620">
                  <c:v>40350</c:v>
                </c:pt>
                <c:pt idx="621">
                  <c:v>40351</c:v>
                </c:pt>
                <c:pt idx="622">
                  <c:v>40352</c:v>
                </c:pt>
                <c:pt idx="623">
                  <c:v>40353</c:v>
                </c:pt>
                <c:pt idx="624">
                  <c:v>40354</c:v>
                </c:pt>
                <c:pt idx="625">
                  <c:v>40357</c:v>
                </c:pt>
                <c:pt idx="626">
                  <c:v>40358</c:v>
                </c:pt>
                <c:pt idx="627">
                  <c:v>40359</c:v>
                </c:pt>
                <c:pt idx="628">
                  <c:v>40360</c:v>
                </c:pt>
                <c:pt idx="629">
                  <c:v>40361</c:v>
                </c:pt>
                <c:pt idx="630">
                  <c:v>40364</c:v>
                </c:pt>
                <c:pt idx="631">
                  <c:v>40365</c:v>
                </c:pt>
                <c:pt idx="632">
                  <c:v>40366</c:v>
                </c:pt>
                <c:pt idx="633">
                  <c:v>40367</c:v>
                </c:pt>
                <c:pt idx="634">
                  <c:v>40368</c:v>
                </c:pt>
                <c:pt idx="635">
                  <c:v>40371</c:v>
                </c:pt>
                <c:pt idx="636">
                  <c:v>40372</c:v>
                </c:pt>
                <c:pt idx="637">
                  <c:v>40373</c:v>
                </c:pt>
                <c:pt idx="638">
                  <c:v>40374</c:v>
                </c:pt>
                <c:pt idx="639">
                  <c:v>40375</c:v>
                </c:pt>
                <c:pt idx="640">
                  <c:v>40378</c:v>
                </c:pt>
                <c:pt idx="641">
                  <c:v>40379</c:v>
                </c:pt>
                <c:pt idx="642">
                  <c:v>40380</c:v>
                </c:pt>
                <c:pt idx="643">
                  <c:v>40381</c:v>
                </c:pt>
                <c:pt idx="644">
                  <c:v>40382</c:v>
                </c:pt>
                <c:pt idx="645">
                  <c:v>40385</c:v>
                </c:pt>
                <c:pt idx="646">
                  <c:v>40386</c:v>
                </c:pt>
                <c:pt idx="647">
                  <c:v>40387</c:v>
                </c:pt>
                <c:pt idx="648">
                  <c:v>40388</c:v>
                </c:pt>
                <c:pt idx="649">
                  <c:v>40389</c:v>
                </c:pt>
                <c:pt idx="650">
                  <c:v>40392</c:v>
                </c:pt>
                <c:pt idx="651">
                  <c:v>40393</c:v>
                </c:pt>
                <c:pt idx="652">
                  <c:v>40394</c:v>
                </c:pt>
                <c:pt idx="653">
                  <c:v>40395</c:v>
                </c:pt>
                <c:pt idx="654">
                  <c:v>40396</c:v>
                </c:pt>
                <c:pt idx="655">
                  <c:v>40399</c:v>
                </c:pt>
                <c:pt idx="656">
                  <c:v>40400</c:v>
                </c:pt>
                <c:pt idx="657">
                  <c:v>40401</c:v>
                </c:pt>
                <c:pt idx="658">
                  <c:v>40402</c:v>
                </c:pt>
                <c:pt idx="659">
                  <c:v>40403</c:v>
                </c:pt>
                <c:pt idx="660">
                  <c:v>40406</c:v>
                </c:pt>
                <c:pt idx="661">
                  <c:v>40407</c:v>
                </c:pt>
                <c:pt idx="662">
                  <c:v>40408</c:v>
                </c:pt>
                <c:pt idx="663">
                  <c:v>40409</c:v>
                </c:pt>
                <c:pt idx="664">
                  <c:v>40410</c:v>
                </c:pt>
                <c:pt idx="665">
                  <c:v>40413</c:v>
                </c:pt>
                <c:pt idx="666">
                  <c:v>40414</c:v>
                </c:pt>
                <c:pt idx="667">
                  <c:v>40415</c:v>
                </c:pt>
                <c:pt idx="668">
                  <c:v>40416</c:v>
                </c:pt>
                <c:pt idx="669">
                  <c:v>40417</c:v>
                </c:pt>
                <c:pt idx="670">
                  <c:v>40420</c:v>
                </c:pt>
                <c:pt idx="671">
                  <c:v>40421</c:v>
                </c:pt>
                <c:pt idx="672">
                  <c:v>40422</c:v>
                </c:pt>
                <c:pt idx="673">
                  <c:v>40423</c:v>
                </c:pt>
                <c:pt idx="674">
                  <c:v>40424</c:v>
                </c:pt>
                <c:pt idx="675">
                  <c:v>40427</c:v>
                </c:pt>
                <c:pt idx="676">
                  <c:v>40428</c:v>
                </c:pt>
                <c:pt idx="677">
                  <c:v>40429</c:v>
                </c:pt>
                <c:pt idx="678">
                  <c:v>40430</c:v>
                </c:pt>
                <c:pt idx="679">
                  <c:v>40431</c:v>
                </c:pt>
                <c:pt idx="680">
                  <c:v>40434</c:v>
                </c:pt>
                <c:pt idx="681">
                  <c:v>40435</c:v>
                </c:pt>
                <c:pt idx="682">
                  <c:v>40436</c:v>
                </c:pt>
                <c:pt idx="683">
                  <c:v>40437</c:v>
                </c:pt>
                <c:pt idx="684">
                  <c:v>40438</c:v>
                </c:pt>
                <c:pt idx="685">
                  <c:v>40441</c:v>
                </c:pt>
                <c:pt idx="686">
                  <c:v>40442</c:v>
                </c:pt>
                <c:pt idx="687">
                  <c:v>40448</c:v>
                </c:pt>
                <c:pt idx="688">
                  <c:v>40449</c:v>
                </c:pt>
                <c:pt idx="689">
                  <c:v>40450</c:v>
                </c:pt>
                <c:pt idx="690">
                  <c:v>40451</c:v>
                </c:pt>
                <c:pt idx="691">
                  <c:v>40459</c:v>
                </c:pt>
                <c:pt idx="692">
                  <c:v>40462</c:v>
                </c:pt>
                <c:pt idx="693">
                  <c:v>40463</c:v>
                </c:pt>
                <c:pt idx="694">
                  <c:v>40464</c:v>
                </c:pt>
                <c:pt idx="695">
                  <c:v>40465</c:v>
                </c:pt>
                <c:pt idx="696">
                  <c:v>40466</c:v>
                </c:pt>
                <c:pt idx="697">
                  <c:v>40469</c:v>
                </c:pt>
                <c:pt idx="698">
                  <c:v>40470</c:v>
                </c:pt>
                <c:pt idx="699">
                  <c:v>40471</c:v>
                </c:pt>
                <c:pt idx="700">
                  <c:v>40472</c:v>
                </c:pt>
                <c:pt idx="701">
                  <c:v>40473</c:v>
                </c:pt>
                <c:pt idx="702">
                  <c:v>40476</c:v>
                </c:pt>
                <c:pt idx="703">
                  <c:v>40477</c:v>
                </c:pt>
                <c:pt idx="704">
                  <c:v>40478</c:v>
                </c:pt>
                <c:pt idx="705">
                  <c:v>40479</c:v>
                </c:pt>
                <c:pt idx="706">
                  <c:v>40480</c:v>
                </c:pt>
                <c:pt idx="707">
                  <c:v>40483</c:v>
                </c:pt>
                <c:pt idx="708">
                  <c:v>40484</c:v>
                </c:pt>
                <c:pt idx="709">
                  <c:v>40485</c:v>
                </c:pt>
                <c:pt idx="710">
                  <c:v>40486</c:v>
                </c:pt>
                <c:pt idx="711">
                  <c:v>40487</c:v>
                </c:pt>
                <c:pt idx="712">
                  <c:v>40490</c:v>
                </c:pt>
                <c:pt idx="713">
                  <c:v>40491</c:v>
                </c:pt>
                <c:pt idx="714">
                  <c:v>40492</c:v>
                </c:pt>
                <c:pt idx="715">
                  <c:v>40493</c:v>
                </c:pt>
                <c:pt idx="716">
                  <c:v>40494</c:v>
                </c:pt>
                <c:pt idx="717">
                  <c:v>40497</c:v>
                </c:pt>
                <c:pt idx="718">
                  <c:v>40498</c:v>
                </c:pt>
                <c:pt idx="719">
                  <c:v>40499</c:v>
                </c:pt>
                <c:pt idx="720">
                  <c:v>40500</c:v>
                </c:pt>
                <c:pt idx="721">
                  <c:v>40501</c:v>
                </c:pt>
                <c:pt idx="722">
                  <c:v>40504</c:v>
                </c:pt>
                <c:pt idx="723">
                  <c:v>40505</c:v>
                </c:pt>
                <c:pt idx="724">
                  <c:v>40506</c:v>
                </c:pt>
                <c:pt idx="725">
                  <c:v>40507</c:v>
                </c:pt>
                <c:pt idx="726">
                  <c:v>40508</c:v>
                </c:pt>
                <c:pt idx="727">
                  <c:v>40511</c:v>
                </c:pt>
                <c:pt idx="728">
                  <c:v>40512</c:v>
                </c:pt>
                <c:pt idx="729">
                  <c:v>40513</c:v>
                </c:pt>
                <c:pt idx="730">
                  <c:v>40514</c:v>
                </c:pt>
                <c:pt idx="731">
                  <c:v>40515</c:v>
                </c:pt>
                <c:pt idx="732">
                  <c:v>40518</c:v>
                </c:pt>
                <c:pt idx="733">
                  <c:v>40519</c:v>
                </c:pt>
                <c:pt idx="734">
                  <c:v>40520</c:v>
                </c:pt>
                <c:pt idx="735">
                  <c:v>40521</c:v>
                </c:pt>
                <c:pt idx="736">
                  <c:v>40522</c:v>
                </c:pt>
                <c:pt idx="737">
                  <c:v>40525</c:v>
                </c:pt>
                <c:pt idx="738">
                  <c:v>40526</c:v>
                </c:pt>
                <c:pt idx="739">
                  <c:v>40527</c:v>
                </c:pt>
                <c:pt idx="740">
                  <c:v>40528</c:v>
                </c:pt>
                <c:pt idx="741">
                  <c:v>40529</c:v>
                </c:pt>
                <c:pt idx="742">
                  <c:v>40532</c:v>
                </c:pt>
                <c:pt idx="743">
                  <c:v>40533</c:v>
                </c:pt>
                <c:pt idx="744">
                  <c:v>40534</c:v>
                </c:pt>
                <c:pt idx="745">
                  <c:v>40535</c:v>
                </c:pt>
                <c:pt idx="746">
                  <c:v>40536</c:v>
                </c:pt>
                <c:pt idx="747">
                  <c:v>40539</c:v>
                </c:pt>
                <c:pt idx="748">
                  <c:v>40540</c:v>
                </c:pt>
                <c:pt idx="749">
                  <c:v>40541</c:v>
                </c:pt>
                <c:pt idx="750">
                  <c:v>40542</c:v>
                </c:pt>
                <c:pt idx="751">
                  <c:v>40543</c:v>
                </c:pt>
                <c:pt idx="752">
                  <c:v>40547</c:v>
                </c:pt>
                <c:pt idx="753">
                  <c:v>40548</c:v>
                </c:pt>
                <c:pt idx="754">
                  <c:v>40549</c:v>
                </c:pt>
                <c:pt idx="755">
                  <c:v>40550</c:v>
                </c:pt>
                <c:pt idx="756">
                  <c:v>40553</c:v>
                </c:pt>
                <c:pt idx="757">
                  <c:v>40554</c:v>
                </c:pt>
                <c:pt idx="758">
                  <c:v>40555</c:v>
                </c:pt>
                <c:pt idx="759">
                  <c:v>40556</c:v>
                </c:pt>
                <c:pt idx="760">
                  <c:v>40557</c:v>
                </c:pt>
                <c:pt idx="761">
                  <c:v>40560</c:v>
                </c:pt>
                <c:pt idx="762">
                  <c:v>40561</c:v>
                </c:pt>
                <c:pt idx="763">
                  <c:v>40562</c:v>
                </c:pt>
                <c:pt idx="764">
                  <c:v>40563</c:v>
                </c:pt>
                <c:pt idx="765">
                  <c:v>40564</c:v>
                </c:pt>
                <c:pt idx="766">
                  <c:v>40567</c:v>
                </c:pt>
                <c:pt idx="767">
                  <c:v>40568</c:v>
                </c:pt>
                <c:pt idx="768">
                  <c:v>40569</c:v>
                </c:pt>
                <c:pt idx="769">
                  <c:v>40570</c:v>
                </c:pt>
                <c:pt idx="770">
                  <c:v>40571</c:v>
                </c:pt>
                <c:pt idx="771">
                  <c:v>40574</c:v>
                </c:pt>
                <c:pt idx="772">
                  <c:v>40575</c:v>
                </c:pt>
                <c:pt idx="773">
                  <c:v>40583</c:v>
                </c:pt>
                <c:pt idx="774">
                  <c:v>40584</c:v>
                </c:pt>
                <c:pt idx="775">
                  <c:v>40585</c:v>
                </c:pt>
                <c:pt idx="776">
                  <c:v>40588</c:v>
                </c:pt>
                <c:pt idx="777">
                  <c:v>40589</c:v>
                </c:pt>
                <c:pt idx="778">
                  <c:v>40590</c:v>
                </c:pt>
                <c:pt idx="779">
                  <c:v>40591</c:v>
                </c:pt>
                <c:pt idx="780">
                  <c:v>40592</c:v>
                </c:pt>
                <c:pt idx="781">
                  <c:v>40595</c:v>
                </c:pt>
                <c:pt idx="782">
                  <c:v>40596</c:v>
                </c:pt>
                <c:pt idx="783">
                  <c:v>40597</c:v>
                </c:pt>
                <c:pt idx="784">
                  <c:v>40598</c:v>
                </c:pt>
                <c:pt idx="785">
                  <c:v>40599</c:v>
                </c:pt>
                <c:pt idx="786">
                  <c:v>40602</c:v>
                </c:pt>
                <c:pt idx="787">
                  <c:v>40603</c:v>
                </c:pt>
                <c:pt idx="788">
                  <c:v>40604</c:v>
                </c:pt>
                <c:pt idx="789">
                  <c:v>40605</c:v>
                </c:pt>
                <c:pt idx="790">
                  <c:v>40606</c:v>
                </c:pt>
                <c:pt idx="791">
                  <c:v>40609</c:v>
                </c:pt>
                <c:pt idx="792">
                  <c:v>40610</c:v>
                </c:pt>
                <c:pt idx="793">
                  <c:v>40611</c:v>
                </c:pt>
                <c:pt idx="794">
                  <c:v>40612</c:v>
                </c:pt>
                <c:pt idx="795">
                  <c:v>40613</c:v>
                </c:pt>
                <c:pt idx="796">
                  <c:v>40616</c:v>
                </c:pt>
                <c:pt idx="797">
                  <c:v>40617</c:v>
                </c:pt>
                <c:pt idx="798">
                  <c:v>40618</c:v>
                </c:pt>
                <c:pt idx="799">
                  <c:v>40619</c:v>
                </c:pt>
                <c:pt idx="800">
                  <c:v>40620</c:v>
                </c:pt>
                <c:pt idx="801">
                  <c:v>40623</c:v>
                </c:pt>
                <c:pt idx="802">
                  <c:v>40624</c:v>
                </c:pt>
                <c:pt idx="803">
                  <c:v>40625</c:v>
                </c:pt>
                <c:pt idx="804">
                  <c:v>40626</c:v>
                </c:pt>
                <c:pt idx="805">
                  <c:v>40627</c:v>
                </c:pt>
                <c:pt idx="806">
                  <c:v>40630</c:v>
                </c:pt>
                <c:pt idx="807">
                  <c:v>40631</c:v>
                </c:pt>
                <c:pt idx="808">
                  <c:v>40632</c:v>
                </c:pt>
                <c:pt idx="809">
                  <c:v>40633</c:v>
                </c:pt>
                <c:pt idx="810">
                  <c:v>40634</c:v>
                </c:pt>
                <c:pt idx="811">
                  <c:v>40639</c:v>
                </c:pt>
                <c:pt idx="812">
                  <c:v>40640</c:v>
                </c:pt>
                <c:pt idx="813">
                  <c:v>40641</c:v>
                </c:pt>
                <c:pt idx="814">
                  <c:v>40644</c:v>
                </c:pt>
                <c:pt idx="815">
                  <c:v>40645</c:v>
                </c:pt>
                <c:pt idx="816">
                  <c:v>40646</c:v>
                </c:pt>
                <c:pt idx="817">
                  <c:v>40647</c:v>
                </c:pt>
                <c:pt idx="818">
                  <c:v>40648</c:v>
                </c:pt>
                <c:pt idx="819">
                  <c:v>40651</c:v>
                </c:pt>
                <c:pt idx="820">
                  <c:v>40652</c:v>
                </c:pt>
                <c:pt idx="821">
                  <c:v>40653</c:v>
                </c:pt>
                <c:pt idx="822">
                  <c:v>40654</c:v>
                </c:pt>
                <c:pt idx="823">
                  <c:v>40655</c:v>
                </c:pt>
                <c:pt idx="824">
                  <c:v>40658</c:v>
                </c:pt>
                <c:pt idx="825">
                  <c:v>40659</c:v>
                </c:pt>
                <c:pt idx="826">
                  <c:v>40660</c:v>
                </c:pt>
                <c:pt idx="827">
                  <c:v>40661</c:v>
                </c:pt>
                <c:pt idx="828">
                  <c:v>40662</c:v>
                </c:pt>
                <c:pt idx="829">
                  <c:v>40666</c:v>
                </c:pt>
                <c:pt idx="830">
                  <c:v>40667</c:v>
                </c:pt>
                <c:pt idx="831">
                  <c:v>40668</c:v>
                </c:pt>
                <c:pt idx="832">
                  <c:v>40669</c:v>
                </c:pt>
                <c:pt idx="833">
                  <c:v>40672</c:v>
                </c:pt>
                <c:pt idx="834">
                  <c:v>40673</c:v>
                </c:pt>
                <c:pt idx="835">
                  <c:v>40674</c:v>
                </c:pt>
                <c:pt idx="836">
                  <c:v>40675</c:v>
                </c:pt>
                <c:pt idx="837">
                  <c:v>40676</c:v>
                </c:pt>
                <c:pt idx="838">
                  <c:v>40679</c:v>
                </c:pt>
                <c:pt idx="839">
                  <c:v>40680</c:v>
                </c:pt>
                <c:pt idx="840">
                  <c:v>40681</c:v>
                </c:pt>
                <c:pt idx="841">
                  <c:v>40682</c:v>
                </c:pt>
                <c:pt idx="842">
                  <c:v>40683</c:v>
                </c:pt>
                <c:pt idx="843">
                  <c:v>40686</c:v>
                </c:pt>
                <c:pt idx="844">
                  <c:v>40687</c:v>
                </c:pt>
                <c:pt idx="845">
                  <c:v>40688</c:v>
                </c:pt>
                <c:pt idx="846">
                  <c:v>40689</c:v>
                </c:pt>
                <c:pt idx="847">
                  <c:v>40690</c:v>
                </c:pt>
                <c:pt idx="848">
                  <c:v>40693</c:v>
                </c:pt>
                <c:pt idx="849">
                  <c:v>40694</c:v>
                </c:pt>
                <c:pt idx="850">
                  <c:v>40695</c:v>
                </c:pt>
                <c:pt idx="851">
                  <c:v>40696</c:v>
                </c:pt>
                <c:pt idx="852">
                  <c:v>40697</c:v>
                </c:pt>
                <c:pt idx="853">
                  <c:v>40701</c:v>
                </c:pt>
                <c:pt idx="854">
                  <c:v>40702</c:v>
                </c:pt>
                <c:pt idx="855">
                  <c:v>40703</c:v>
                </c:pt>
                <c:pt idx="856">
                  <c:v>40704</c:v>
                </c:pt>
                <c:pt idx="857">
                  <c:v>40707</c:v>
                </c:pt>
                <c:pt idx="858">
                  <c:v>40708</c:v>
                </c:pt>
                <c:pt idx="859">
                  <c:v>40709</c:v>
                </c:pt>
                <c:pt idx="860">
                  <c:v>40710</c:v>
                </c:pt>
                <c:pt idx="861">
                  <c:v>40711</c:v>
                </c:pt>
                <c:pt idx="862">
                  <c:v>40714</c:v>
                </c:pt>
                <c:pt idx="863">
                  <c:v>40715</c:v>
                </c:pt>
                <c:pt idx="864">
                  <c:v>40716</c:v>
                </c:pt>
                <c:pt idx="865">
                  <c:v>40717</c:v>
                </c:pt>
                <c:pt idx="866">
                  <c:v>40718</c:v>
                </c:pt>
                <c:pt idx="867">
                  <c:v>40721</c:v>
                </c:pt>
                <c:pt idx="868">
                  <c:v>40722</c:v>
                </c:pt>
                <c:pt idx="869">
                  <c:v>40723</c:v>
                </c:pt>
                <c:pt idx="870">
                  <c:v>40724</c:v>
                </c:pt>
                <c:pt idx="871">
                  <c:v>40725</c:v>
                </c:pt>
                <c:pt idx="872">
                  <c:v>40728</c:v>
                </c:pt>
                <c:pt idx="873">
                  <c:v>40729</c:v>
                </c:pt>
                <c:pt idx="874">
                  <c:v>40730</c:v>
                </c:pt>
                <c:pt idx="875">
                  <c:v>40731</c:v>
                </c:pt>
                <c:pt idx="876">
                  <c:v>40732</c:v>
                </c:pt>
                <c:pt idx="877">
                  <c:v>40735</c:v>
                </c:pt>
                <c:pt idx="878">
                  <c:v>40736</c:v>
                </c:pt>
                <c:pt idx="879">
                  <c:v>40737</c:v>
                </c:pt>
                <c:pt idx="880">
                  <c:v>40738</c:v>
                </c:pt>
                <c:pt idx="881">
                  <c:v>40739</c:v>
                </c:pt>
                <c:pt idx="882">
                  <c:v>40742</c:v>
                </c:pt>
                <c:pt idx="883">
                  <c:v>40743</c:v>
                </c:pt>
                <c:pt idx="884">
                  <c:v>40744</c:v>
                </c:pt>
                <c:pt idx="885">
                  <c:v>40745</c:v>
                </c:pt>
                <c:pt idx="886">
                  <c:v>40746</c:v>
                </c:pt>
                <c:pt idx="887">
                  <c:v>40749</c:v>
                </c:pt>
                <c:pt idx="888">
                  <c:v>40750</c:v>
                </c:pt>
                <c:pt idx="889">
                  <c:v>40751</c:v>
                </c:pt>
                <c:pt idx="890">
                  <c:v>40752</c:v>
                </c:pt>
                <c:pt idx="891">
                  <c:v>40753</c:v>
                </c:pt>
                <c:pt idx="892">
                  <c:v>40756</c:v>
                </c:pt>
                <c:pt idx="893">
                  <c:v>40757</c:v>
                </c:pt>
                <c:pt idx="894">
                  <c:v>40758</c:v>
                </c:pt>
                <c:pt idx="895">
                  <c:v>40759</c:v>
                </c:pt>
                <c:pt idx="896">
                  <c:v>40760</c:v>
                </c:pt>
                <c:pt idx="897">
                  <c:v>40763</c:v>
                </c:pt>
                <c:pt idx="898">
                  <c:v>40764</c:v>
                </c:pt>
                <c:pt idx="899">
                  <c:v>40765</c:v>
                </c:pt>
                <c:pt idx="900">
                  <c:v>40766</c:v>
                </c:pt>
                <c:pt idx="901">
                  <c:v>40767</c:v>
                </c:pt>
                <c:pt idx="902">
                  <c:v>40770</c:v>
                </c:pt>
                <c:pt idx="903">
                  <c:v>40771</c:v>
                </c:pt>
                <c:pt idx="904">
                  <c:v>40772</c:v>
                </c:pt>
                <c:pt idx="905">
                  <c:v>40773</c:v>
                </c:pt>
                <c:pt idx="906">
                  <c:v>40774</c:v>
                </c:pt>
                <c:pt idx="907">
                  <c:v>40777</c:v>
                </c:pt>
                <c:pt idx="908">
                  <c:v>40778</c:v>
                </c:pt>
                <c:pt idx="909">
                  <c:v>40779</c:v>
                </c:pt>
                <c:pt idx="910">
                  <c:v>40780</c:v>
                </c:pt>
                <c:pt idx="911">
                  <c:v>40781</c:v>
                </c:pt>
                <c:pt idx="912">
                  <c:v>40784</c:v>
                </c:pt>
                <c:pt idx="913">
                  <c:v>40785</c:v>
                </c:pt>
                <c:pt idx="914">
                  <c:v>40786</c:v>
                </c:pt>
                <c:pt idx="915">
                  <c:v>40787</c:v>
                </c:pt>
                <c:pt idx="916">
                  <c:v>40788</c:v>
                </c:pt>
                <c:pt idx="917">
                  <c:v>40791</c:v>
                </c:pt>
                <c:pt idx="918">
                  <c:v>40792</c:v>
                </c:pt>
                <c:pt idx="919">
                  <c:v>40793</c:v>
                </c:pt>
                <c:pt idx="920">
                  <c:v>40794</c:v>
                </c:pt>
                <c:pt idx="921">
                  <c:v>40795</c:v>
                </c:pt>
                <c:pt idx="922">
                  <c:v>40799</c:v>
                </c:pt>
                <c:pt idx="923">
                  <c:v>40800</c:v>
                </c:pt>
                <c:pt idx="924">
                  <c:v>40801</c:v>
                </c:pt>
                <c:pt idx="925">
                  <c:v>40802</c:v>
                </c:pt>
                <c:pt idx="926">
                  <c:v>40805</c:v>
                </c:pt>
                <c:pt idx="927">
                  <c:v>40806</c:v>
                </c:pt>
                <c:pt idx="928">
                  <c:v>40807</c:v>
                </c:pt>
                <c:pt idx="929">
                  <c:v>40808</c:v>
                </c:pt>
                <c:pt idx="930">
                  <c:v>40809</c:v>
                </c:pt>
                <c:pt idx="931">
                  <c:v>40812</c:v>
                </c:pt>
                <c:pt idx="932">
                  <c:v>40813</c:v>
                </c:pt>
                <c:pt idx="933">
                  <c:v>40814</c:v>
                </c:pt>
                <c:pt idx="934">
                  <c:v>40815</c:v>
                </c:pt>
                <c:pt idx="935">
                  <c:v>40816</c:v>
                </c:pt>
                <c:pt idx="936">
                  <c:v>40826</c:v>
                </c:pt>
                <c:pt idx="937">
                  <c:v>40827</c:v>
                </c:pt>
                <c:pt idx="938">
                  <c:v>40828</c:v>
                </c:pt>
                <c:pt idx="939">
                  <c:v>40829</c:v>
                </c:pt>
                <c:pt idx="940">
                  <c:v>40830</c:v>
                </c:pt>
                <c:pt idx="941">
                  <c:v>40833</c:v>
                </c:pt>
                <c:pt idx="942">
                  <c:v>40834</c:v>
                </c:pt>
                <c:pt idx="943">
                  <c:v>40835</c:v>
                </c:pt>
                <c:pt idx="944">
                  <c:v>40836</c:v>
                </c:pt>
                <c:pt idx="945">
                  <c:v>40837</c:v>
                </c:pt>
                <c:pt idx="946">
                  <c:v>40840</c:v>
                </c:pt>
                <c:pt idx="947">
                  <c:v>40841</c:v>
                </c:pt>
                <c:pt idx="948">
                  <c:v>40842</c:v>
                </c:pt>
                <c:pt idx="949">
                  <c:v>40843</c:v>
                </c:pt>
                <c:pt idx="950">
                  <c:v>40844</c:v>
                </c:pt>
                <c:pt idx="951">
                  <c:v>40847</c:v>
                </c:pt>
                <c:pt idx="952">
                  <c:v>40848</c:v>
                </c:pt>
                <c:pt idx="953">
                  <c:v>40849</c:v>
                </c:pt>
                <c:pt idx="954">
                  <c:v>40850</c:v>
                </c:pt>
                <c:pt idx="955">
                  <c:v>40851</c:v>
                </c:pt>
                <c:pt idx="956">
                  <c:v>40854</c:v>
                </c:pt>
                <c:pt idx="957">
                  <c:v>40855</c:v>
                </c:pt>
                <c:pt idx="958">
                  <c:v>40856</c:v>
                </c:pt>
                <c:pt idx="959">
                  <c:v>40857</c:v>
                </c:pt>
                <c:pt idx="960">
                  <c:v>40858</c:v>
                </c:pt>
                <c:pt idx="961">
                  <c:v>40861</c:v>
                </c:pt>
                <c:pt idx="962">
                  <c:v>40862</c:v>
                </c:pt>
                <c:pt idx="963">
                  <c:v>40863</c:v>
                </c:pt>
                <c:pt idx="964">
                  <c:v>40864</c:v>
                </c:pt>
                <c:pt idx="965">
                  <c:v>40865</c:v>
                </c:pt>
                <c:pt idx="966">
                  <c:v>40868</c:v>
                </c:pt>
                <c:pt idx="967">
                  <c:v>40869</c:v>
                </c:pt>
                <c:pt idx="968">
                  <c:v>40870</c:v>
                </c:pt>
                <c:pt idx="969">
                  <c:v>40871</c:v>
                </c:pt>
                <c:pt idx="970">
                  <c:v>40872</c:v>
                </c:pt>
                <c:pt idx="971">
                  <c:v>40875</c:v>
                </c:pt>
                <c:pt idx="972">
                  <c:v>40876</c:v>
                </c:pt>
                <c:pt idx="973">
                  <c:v>40877</c:v>
                </c:pt>
                <c:pt idx="974">
                  <c:v>40878</c:v>
                </c:pt>
                <c:pt idx="975">
                  <c:v>40879</c:v>
                </c:pt>
                <c:pt idx="976">
                  <c:v>40882</c:v>
                </c:pt>
                <c:pt idx="977">
                  <c:v>40883</c:v>
                </c:pt>
                <c:pt idx="978">
                  <c:v>40884</c:v>
                </c:pt>
                <c:pt idx="979">
                  <c:v>40885</c:v>
                </c:pt>
                <c:pt idx="980">
                  <c:v>40886</c:v>
                </c:pt>
                <c:pt idx="981">
                  <c:v>40889</c:v>
                </c:pt>
                <c:pt idx="982">
                  <c:v>40890</c:v>
                </c:pt>
                <c:pt idx="983">
                  <c:v>40891</c:v>
                </c:pt>
                <c:pt idx="984">
                  <c:v>40892</c:v>
                </c:pt>
                <c:pt idx="985">
                  <c:v>40893</c:v>
                </c:pt>
                <c:pt idx="986">
                  <c:v>40896</c:v>
                </c:pt>
                <c:pt idx="987">
                  <c:v>40897</c:v>
                </c:pt>
                <c:pt idx="988">
                  <c:v>40898</c:v>
                </c:pt>
                <c:pt idx="989">
                  <c:v>40899</c:v>
                </c:pt>
                <c:pt idx="990">
                  <c:v>40900</c:v>
                </c:pt>
                <c:pt idx="991">
                  <c:v>40903</c:v>
                </c:pt>
                <c:pt idx="992">
                  <c:v>40904</c:v>
                </c:pt>
                <c:pt idx="993">
                  <c:v>40905</c:v>
                </c:pt>
                <c:pt idx="994">
                  <c:v>40906</c:v>
                </c:pt>
                <c:pt idx="995">
                  <c:v>40907</c:v>
                </c:pt>
                <c:pt idx="996">
                  <c:v>40912</c:v>
                </c:pt>
                <c:pt idx="997">
                  <c:v>40913</c:v>
                </c:pt>
                <c:pt idx="998">
                  <c:v>40914</c:v>
                </c:pt>
                <c:pt idx="999">
                  <c:v>40917</c:v>
                </c:pt>
                <c:pt idx="1000">
                  <c:v>40918</c:v>
                </c:pt>
                <c:pt idx="1001">
                  <c:v>40919</c:v>
                </c:pt>
                <c:pt idx="1002">
                  <c:v>40920</c:v>
                </c:pt>
                <c:pt idx="1003">
                  <c:v>40921</c:v>
                </c:pt>
                <c:pt idx="1004">
                  <c:v>40924</c:v>
                </c:pt>
                <c:pt idx="1005">
                  <c:v>40925</c:v>
                </c:pt>
                <c:pt idx="1006">
                  <c:v>40926</c:v>
                </c:pt>
                <c:pt idx="1007">
                  <c:v>40927</c:v>
                </c:pt>
                <c:pt idx="1008">
                  <c:v>40928</c:v>
                </c:pt>
                <c:pt idx="1009">
                  <c:v>40938</c:v>
                </c:pt>
                <c:pt idx="1010">
                  <c:v>40939</c:v>
                </c:pt>
                <c:pt idx="1011">
                  <c:v>40940</c:v>
                </c:pt>
                <c:pt idx="1012">
                  <c:v>40941</c:v>
                </c:pt>
                <c:pt idx="1013">
                  <c:v>40942</c:v>
                </c:pt>
                <c:pt idx="1014">
                  <c:v>40945</c:v>
                </c:pt>
                <c:pt idx="1015">
                  <c:v>40946</c:v>
                </c:pt>
                <c:pt idx="1016">
                  <c:v>40947</c:v>
                </c:pt>
                <c:pt idx="1017">
                  <c:v>40948</c:v>
                </c:pt>
                <c:pt idx="1018">
                  <c:v>40949</c:v>
                </c:pt>
                <c:pt idx="1019">
                  <c:v>40952</c:v>
                </c:pt>
                <c:pt idx="1020">
                  <c:v>40953</c:v>
                </c:pt>
                <c:pt idx="1021">
                  <c:v>40954</c:v>
                </c:pt>
                <c:pt idx="1022">
                  <c:v>40955</c:v>
                </c:pt>
                <c:pt idx="1023">
                  <c:v>40956</c:v>
                </c:pt>
                <c:pt idx="1024">
                  <c:v>40959</c:v>
                </c:pt>
                <c:pt idx="1025">
                  <c:v>40960</c:v>
                </c:pt>
                <c:pt idx="1026">
                  <c:v>40961</c:v>
                </c:pt>
                <c:pt idx="1027">
                  <c:v>40962</c:v>
                </c:pt>
                <c:pt idx="1028">
                  <c:v>40963</c:v>
                </c:pt>
                <c:pt idx="1029">
                  <c:v>40966</c:v>
                </c:pt>
                <c:pt idx="1030">
                  <c:v>40967</c:v>
                </c:pt>
                <c:pt idx="1031">
                  <c:v>40968</c:v>
                </c:pt>
                <c:pt idx="1032">
                  <c:v>40969</c:v>
                </c:pt>
                <c:pt idx="1033">
                  <c:v>40970</c:v>
                </c:pt>
                <c:pt idx="1034">
                  <c:v>40973</c:v>
                </c:pt>
                <c:pt idx="1035">
                  <c:v>40974</c:v>
                </c:pt>
                <c:pt idx="1036">
                  <c:v>40975</c:v>
                </c:pt>
                <c:pt idx="1037">
                  <c:v>40976</c:v>
                </c:pt>
                <c:pt idx="1038">
                  <c:v>40977</c:v>
                </c:pt>
                <c:pt idx="1039">
                  <c:v>40980</c:v>
                </c:pt>
                <c:pt idx="1040">
                  <c:v>40981</c:v>
                </c:pt>
                <c:pt idx="1041">
                  <c:v>40982</c:v>
                </c:pt>
                <c:pt idx="1042">
                  <c:v>40983</c:v>
                </c:pt>
                <c:pt idx="1043">
                  <c:v>40984</c:v>
                </c:pt>
                <c:pt idx="1044">
                  <c:v>40987</c:v>
                </c:pt>
                <c:pt idx="1045">
                  <c:v>40988</c:v>
                </c:pt>
                <c:pt idx="1046">
                  <c:v>40989</c:v>
                </c:pt>
                <c:pt idx="1047">
                  <c:v>40990</c:v>
                </c:pt>
                <c:pt idx="1048">
                  <c:v>40991</c:v>
                </c:pt>
                <c:pt idx="1049">
                  <c:v>40994</c:v>
                </c:pt>
                <c:pt idx="1050">
                  <c:v>40995</c:v>
                </c:pt>
                <c:pt idx="1051">
                  <c:v>40996</c:v>
                </c:pt>
                <c:pt idx="1052">
                  <c:v>40997</c:v>
                </c:pt>
                <c:pt idx="1053">
                  <c:v>40998</c:v>
                </c:pt>
                <c:pt idx="1054">
                  <c:v>41004</c:v>
                </c:pt>
                <c:pt idx="1055">
                  <c:v>41005</c:v>
                </c:pt>
                <c:pt idx="1056">
                  <c:v>41008</c:v>
                </c:pt>
                <c:pt idx="1057">
                  <c:v>41009</c:v>
                </c:pt>
                <c:pt idx="1058">
                  <c:v>41010</c:v>
                </c:pt>
                <c:pt idx="1059">
                  <c:v>41011</c:v>
                </c:pt>
                <c:pt idx="1060">
                  <c:v>41012</c:v>
                </c:pt>
                <c:pt idx="1061">
                  <c:v>41015</c:v>
                </c:pt>
                <c:pt idx="1062">
                  <c:v>41016</c:v>
                </c:pt>
                <c:pt idx="1063">
                  <c:v>41017</c:v>
                </c:pt>
                <c:pt idx="1064">
                  <c:v>41018</c:v>
                </c:pt>
                <c:pt idx="1065">
                  <c:v>41019</c:v>
                </c:pt>
                <c:pt idx="1066">
                  <c:v>41022</c:v>
                </c:pt>
                <c:pt idx="1067">
                  <c:v>41023</c:v>
                </c:pt>
                <c:pt idx="1068">
                  <c:v>41024</c:v>
                </c:pt>
                <c:pt idx="1069">
                  <c:v>41025</c:v>
                </c:pt>
                <c:pt idx="1070">
                  <c:v>41026</c:v>
                </c:pt>
                <c:pt idx="1071">
                  <c:v>41031</c:v>
                </c:pt>
                <c:pt idx="1072">
                  <c:v>41032</c:v>
                </c:pt>
                <c:pt idx="1073">
                  <c:v>41033</c:v>
                </c:pt>
                <c:pt idx="1074">
                  <c:v>41036</c:v>
                </c:pt>
                <c:pt idx="1075">
                  <c:v>41037</c:v>
                </c:pt>
                <c:pt idx="1076">
                  <c:v>41038</c:v>
                </c:pt>
                <c:pt idx="1077">
                  <c:v>41039</c:v>
                </c:pt>
                <c:pt idx="1078">
                  <c:v>41040</c:v>
                </c:pt>
                <c:pt idx="1079">
                  <c:v>41043</c:v>
                </c:pt>
                <c:pt idx="1080">
                  <c:v>41044</c:v>
                </c:pt>
                <c:pt idx="1081">
                  <c:v>41045</c:v>
                </c:pt>
                <c:pt idx="1082">
                  <c:v>41046</c:v>
                </c:pt>
                <c:pt idx="1083">
                  <c:v>41047</c:v>
                </c:pt>
                <c:pt idx="1084">
                  <c:v>41050</c:v>
                </c:pt>
                <c:pt idx="1085">
                  <c:v>41051</c:v>
                </c:pt>
                <c:pt idx="1086">
                  <c:v>41052</c:v>
                </c:pt>
                <c:pt idx="1087">
                  <c:v>41053</c:v>
                </c:pt>
                <c:pt idx="1088">
                  <c:v>41054</c:v>
                </c:pt>
                <c:pt idx="1089">
                  <c:v>41057</c:v>
                </c:pt>
                <c:pt idx="1090">
                  <c:v>41058</c:v>
                </c:pt>
                <c:pt idx="1091">
                  <c:v>41059</c:v>
                </c:pt>
                <c:pt idx="1092">
                  <c:v>41060</c:v>
                </c:pt>
                <c:pt idx="1093">
                  <c:v>41061</c:v>
                </c:pt>
                <c:pt idx="1094">
                  <c:v>41064</c:v>
                </c:pt>
                <c:pt idx="1095">
                  <c:v>41065</c:v>
                </c:pt>
                <c:pt idx="1096">
                  <c:v>41066</c:v>
                </c:pt>
                <c:pt idx="1097">
                  <c:v>41067</c:v>
                </c:pt>
                <c:pt idx="1098">
                  <c:v>41068</c:v>
                </c:pt>
                <c:pt idx="1099">
                  <c:v>41071</c:v>
                </c:pt>
                <c:pt idx="1100">
                  <c:v>41072</c:v>
                </c:pt>
                <c:pt idx="1101">
                  <c:v>41073</c:v>
                </c:pt>
                <c:pt idx="1102">
                  <c:v>41074</c:v>
                </c:pt>
                <c:pt idx="1103">
                  <c:v>41075</c:v>
                </c:pt>
                <c:pt idx="1104">
                  <c:v>41078</c:v>
                </c:pt>
                <c:pt idx="1105">
                  <c:v>41079</c:v>
                </c:pt>
                <c:pt idx="1106">
                  <c:v>41080</c:v>
                </c:pt>
                <c:pt idx="1107">
                  <c:v>41081</c:v>
                </c:pt>
                <c:pt idx="1108">
                  <c:v>41085</c:v>
                </c:pt>
                <c:pt idx="1109">
                  <c:v>41086</c:v>
                </c:pt>
                <c:pt idx="1110">
                  <c:v>41087</c:v>
                </c:pt>
                <c:pt idx="1111">
                  <c:v>41088</c:v>
                </c:pt>
                <c:pt idx="1112">
                  <c:v>41089</c:v>
                </c:pt>
                <c:pt idx="1113">
                  <c:v>41092</c:v>
                </c:pt>
                <c:pt idx="1114">
                  <c:v>41093</c:v>
                </c:pt>
                <c:pt idx="1115">
                  <c:v>41094</c:v>
                </c:pt>
                <c:pt idx="1116">
                  <c:v>41095</c:v>
                </c:pt>
                <c:pt idx="1117">
                  <c:v>41096</c:v>
                </c:pt>
                <c:pt idx="1118">
                  <c:v>41099</c:v>
                </c:pt>
                <c:pt idx="1119">
                  <c:v>41100</c:v>
                </c:pt>
                <c:pt idx="1120">
                  <c:v>41101</c:v>
                </c:pt>
                <c:pt idx="1121">
                  <c:v>41102</c:v>
                </c:pt>
                <c:pt idx="1122">
                  <c:v>41103</c:v>
                </c:pt>
                <c:pt idx="1123">
                  <c:v>41106</c:v>
                </c:pt>
                <c:pt idx="1124">
                  <c:v>41107</c:v>
                </c:pt>
                <c:pt idx="1125">
                  <c:v>41108</c:v>
                </c:pt>
                <c:pt idx="1126">
                  <c:v>41109</c:v>
                </c:pt>
                <c:pt idx="1127">
                  <c:v>41110</c:v>
                </c:pt>
                <c:pt idx="1128">
                  <c:v>41113</c:v>
                </c:pt>
                <c:pt idx="1129">
                  <c:v>41114</c:v>
                </c:pt>
                <c:pt idx="1130">
                  <c:v>41115</c:v>
                </c:pt>
                <c:pt idx="1131">
                  <c:v>41116</c:v>
                </c:pt>
                <c:pt idx="1132">
                  <c:v>41117</c:v>
                </c:pt>
                <c:pt idx="1133">
                  <c:v>41120</c:v>
                </c:pt>
                <c:pt idx="1134">
                  <c:v>41121</c:v>
                </c:pt>
                <c:pt idx="1135">
                  <c:v>41122</c:v>
                </c:pt>
                <c:pt idx="1136">
                  <c:v>41123</c:v>
                </c:pt>
                <c:pt idx="1137">
                  <c:v>41124</c:v>
                </c:pt>
                <c:pt idx="1138">
                  <c:v>41127</c:v>
                </c:pt>
                <c:pt idx="1139">
                  <c:v>41128</c:v>
                </c:pt>
                <c:pt idx="1140">
                  <c:v>41129</c:v>
                </c:pt>
                <c:pt idx="1141">
                  <c:v>41130</c:v>
                </c:pt>
                <c:pt idx="1142">
                  <c:v>41131</c:v>
                </c:pt>
                <c:pt idx="1143">
                  <c:v>41134</c:v>
                </c:pt>
                <c:pt idx="1144">
                  <c:v>41135</c:v>
                </c:pt>
                <c:pt idx="1145">
                  <c:v>41136</c:v>
                </c:pt>
                <c:pt idx="1146">
                  <c:v>41137</c:v>
                </c:pt>
                <c:pt idx="1147">
                  <c:v>41138</c:v>
                </c:pt>
                <c:pt idx="1148">
                  <c:v>41141</c:v>
                </c:pt>
                <c:pt idx="1149">
                  <c:v>41142</c:v>
                </c:pt>
                <c:pt idx="1150">
                  <c:v>41143</c:v>
                </c:pt>
                <c:pt idx="1151">
                  <c:v>41144</c:v>
                </c:pt>
                <c:pt idx="1152">
                  <c:v>41145</c:v>
                </c:pt>
                <c:pt idx="1153">
                  <c:v>41148</c:v>
                </c:pt>
                <c:pt idx="1154">
                  <c:v>41149</c:v>
                </c:pt>
                <c:pt idx="1155">
                  <c:v>41150</c:v>
                </c:pt>
                <c:pt idx="1156">
                  <c:v>41151</c:v>
                </c:pt>
                <c:pt idx="1157">
                  <c:v>41152</c:v>
                </c:pt>
                <c:pt idx="1158">
                  <c:v>41155</c:v>
                </c:pt>
                <c:pt idx="1159">
                  <c:v>41156</c:v>
                </c:pt>
                <c:pt idx="1160">
                  <c:v>41157</c:v>
                </c:pt>
                <c:pt idx="1161">
                  <c:v>41158</c:v>
                </c:pt>
                <c:pt idx="1162">
                  <c:v>41159</c:v>
                </c:pt>
                <c:pt idx="1163">
                  <c:v>41162</c:v>
                </c:pt>
                <c:pt idx="1164">
                  <c:v>41163</c:v>
                </c:pt>
                <c:pt idx="1165">
                  <c:v>41164</c:v>
                </c:pt>
                <c:pt idx="1166">
                  <c:v>41165</c:v>
                </c:pt>
                <c:pt idx="1167">
                  <c:v>41166</c:v>
                </c:pt>
                <c:pt idx="1168">
                  <c:v>41169</c:v>
                </c:pt>
                <c:pt idx="1169">
                  <c:v>41170</c:v>
                </c:pt>
                <c:pt idx="1170">
                  <c:v>41171</c:v>
                </c:pt>
                <c:pt idx="1171">
                  <c:v>41172</c:v>
                </c:pt>
                <c:pt idx="1172">
                  <c:v>41173</c:v>
                </c:pt>
                <c:pt idx="1173">
                  <c:v>41176</c:v>
                </c:pt>
                <c:pt idx="1174">
                  <c:v>41177</c:v>
                </c:pt>
                <c:pt idx="1175">
                  <c:v>41178</c:v>
                </c:pt>
                <c:pt idx="1176">
                  <c:v>41179</c:v>
                </c:pt>
                <c:pt idx="1177">
                  <c:v>41180</c:v>
                </c:pt>
                <c:pt idx="1178">
                  <c:v>41190</c:v>
                </c:pt>
                <c:pt idx="1179">
                  <c:v>41191</c:v>
                </c:pt>
                <c:pt idx="1180">
                  <c:v>41192</c:v>
                </c:pt>
                <c:pt idx="1181">
                  <c:v>41193</c:v>
                </c:pt>
                <c:pt idx="1182">
                  <c:v>41194</c:v>
                </c:pt>
                <c:pt idx="1183">
                  <c:v>41197</c:v>
                </c:pt>
                <c:pt idx="1184">
                  <c:v>41198</c:v>
                </c:pt>
                <c:pt idx="1185">
                  <c:v>41199</c:v>
                </c:pt>
                <c:pt idx="1186">
                  <c:v>41200</c:v>
                </c:pt>
                <c:pt idx="1187">
                  <c:v>41201</c:v>
                </c:pt>
                <c:pt idx="1188">
                  <c:v>41204</c:v>
                </c:pt>
                <c:pt idx="1189">
                  <c:v>41205</c:v>
                </c:pt>
                <c:pt idx="1190">
                  <c:v>41206</c:v>
                </c:pt>
                <c:pt idx="1191">
                  <c:v>41207</c:v>
                </c:pt>
                <c:pt idx="1192">
                  <c:v>41208</c:v>
                </c:pt>
                <c:pt idx="1193">
                  <c:v>41211</c:v>
                </c:pt>
                <c:pt idx="1194">
                  <c:v>41212</c:v>
                </c:pt>
                <c:pt idx="1195">
                  <c:v>41213</c:v>
                </c:pt>
                <c:pt idx="1196">
                  <c:v>41214</c:v>
                </c:pt>
                <c:pt idx="1197">
                  <c:v>41215</c:v>
                </c:pt>
                <c:pt idx="1198">
                  <c:v>41218</c:v>
                </c:pt>
                <c:pt idx="1199">
                  <c:v>41219</c:v>
                </c:pt>
                <c:pt idx="1200">
                  <c:v>41220</c:v>
                </c:pt>
                <c:pt idx="1201">
                  <c:v>41221</c:v>
                </c:pt>
                <c:pt idx="1202">
                  <c:v>41222</c:v>
                </c:pt>
                <c:pt idx="1203">
                  <c:v>41225</c:v>
                </c:pt>
                <c:pt idx="1204">
                  <c:v>41226</c:v>
                </c:pt>
                <c:pt idx="1205">
                  <c:v>41227</c:v>
                </c:pt>
                <c:pt idx="1206">
                  <c:v>41228</c:v>
                </c:pt>
                <c:pt idx="1207">
                  <c:v>41229</c:v>
                </c:pt>
                <c:pt idx="1208">
                  <c:v>41232</c:v>
                </c:pt>
                <c:pt idx="1209">
                  <c:v>41233</c:v>
                </c:pt>
                <c:pt idx="1210">
                  <c:v>41234</c:v>
                </c:pt>
                <c:pt idx="1211">
                  <c:v>41235</c:v>
                </c:pt>
                <c:pt idx="1212">
                  <c:v>41236</c:v>
                </c:pt>
                <c:pt idx="1213">
                  <c:v>41239</c:v>
                </c:pt>
                <c:pt idx="1214">
                  <c:v>41240</c:v>
                </c:pt>
                <c:pt idx="1215">
                  <c:v>41241</c:v>
                </c:pt>
                <c:pt idx="1216">
                  <c:v>41242</c:v>
                </c:pt>
                <c:pt idx="1217">
                  <c:v>41243</c:v>
                </c:pt>
                <c:pt idx="1218">
                  <c:v>41246</c:v>
                </c:pt>
                <c:pt idx="1219">
                  <c:v>41247</c:v>
                </c:pt>
                <c:pt idx="1220">
                  <c:v>41248</c:v>
                </c:pt>
                <c:pt idx="1221">
                  <c:v>41249</c:v>
                </c:pt>
                <c:pt idx="1222">
                  <c:v>41250</c:v>
                </c:pt>
                <c:pt idx="1223">
                  <c:v>41253</c:v>
                </c:pt>
                <c:pt idx="1224">
                  <c:v>41254</c:v>
                </c:pt>
                <c:pt idx="1225">
                  <c:v>41255</c:v>
                </c:pt>
                <c:pt idx="1226">
                  <c:v>41256</c:v>
                </c:pt>
                <c:pt idx="1227">
                  <c:v>41257</c:v>
                </c:pt>
                <c:pt idx="1228">
                  <c:v>41260</c:v>
                </c:pt>
                <c:pt idx="1229">
                  <c:v>41261</c:v>
                </c:pt>
                <c:pt idx="1230">
                  <c:v>41262</c:v>
                </c:pt>
                <c:pt idx="1231">
                  <c:v>41263</c:v>
                </c:pt>
                <c:pt idx="1232">
                  <c:v>41264</c:v>
                </c:pt>
                <c:pt idx="1233">
                  <c:v>41267</c:v>
                </c:pt>
                <c:pt idx="1234">
                  <c:v>41268</c:v>
                </c:pt>
                <c:pt idx="1235">
                  <c:v>41269</c:v>
                </c:pt>
                <c:pt idx="1236">
                  <c:v>41270</c:v>
                </c:pt>
                <c:pt idx="1237">
                  <c:v>41271</c:v>
                </c:pt>
                <c:pt idx="1238">
                  <c:v>41274</c:v>
                </c:pt>
                <c:pt idx="1239">
                  <c:v>41278</c:v>
                </c:pt>
                <c:pt idx="1240">
                  <c:v>41281</c:v>
                </c:pt>
                <c:pt idx="1241">
                  <c:v>41282</c:v>
                </c:pt>
                <c:pt idx="1242">
                  <c:v>41283</c:v>
                </c:pt>
                <c:pt idx="1243">
                  <c:v>41284</c:v>
                </c:pt>
                <c:pt idx="1244">
                  <c:v>41285</c:v>
                </c:pt>
                <c:pt idx="1245">
                  <c:v>41288</c:v>
                </c:pt>
                <c:pt idx="1246">
                  <c:v>41289</c:v>
                </c:pt>
                <c:pt idx="1247">
                  <c:v>41290</c:v>
                </c:pt>
                <c:pt idx="1248">
                  <c:v>41291</c:v>
                </c:pt>
                <c:pt idx="1249">
                  <c:v>41292</c:v>
                </c:pt>
                <c:pt idx="1250">
                  <c:v>41295</c:v>
                </c:pt>
                <c:pt idx="1251">
                  <c:v>41296</c:v>
                </c:pt>
                <c:pt idx="1252">
                  <c:v>41297</c:v>
                </c:pt>
                <c:pt idx="1253">
                  <c:v>41298</c:v>
                </c:pt>
                <c:pt idx="1254">
                  <c:v>41299</c:v>
                </c:pt>
                <c:pt idx="1255">
                  <c:v>41302</c:v>
                </c:pt>
                <c:pt idx="1256">
                  <c:v>41303</c:v>
                </c:pt>
                <c:pt idx="1257">
                  <c:v>41304</c:v>
                </c:pt>
                <c:pt idx="1258">
                  <c:v>41305</c:v>
                </c:pt>
                <c:pt idx="1259">
                  <c:v>41306</c:v>
                </c:pt>
                <c:pt idx="1260">
                  <c:v>41309</c:v>
                </c:pt>
                <c:pt idx="1261">
                  <c:v>41310</c:v>
                </c:pt>
                <c:pt idx="1262">
                  <c:v>41311</c:v>
                </c:pt>
                <c:pt idx="1263">
                  <c:v>41312</c:v>
                </c:pt>
                <c:pt idx="1264">
                  <c:v>41313</c:v>
                </c:pt>
                <c:pt idx="1265">
                  <c:v>41323</c:v>
                </c:pt>
                <c:pt idx="1266">
                  <c:v>41324</c:v>
                </c:pt>
                <c:pt idx="1267">
                  <c:v>41325</c:v>
                </c:pt>
                <c:pt idx="1268">
                  <c:v>41326</c:v>
                </c:pt>
                <c:pt idx="1269">
                  <c:v>41327</c:v>
                </c:pt>
                <c:pt idx="1270">
                  <c:v>41330</c:v>
                </c:pt>
                <c:pt idx="1271">
                  <c:v>41331</c:v>
                </c:pt>
                <c:pt idx="1272">
                  <c:v>41332</c:v>
                </c:pt>
                <c:pt idx="1273">
                  <c:v>41333</c:v>
                </c:pt>
                <c:pt idx="1274">
                  <c:v>41334</c:v>
                </c:pt>
                <c:pt idx="1275">
                  <c:v>41337</c:v>
                </c:pt>
                <c:pt idx="1276">
                  <c:v>41338</c:v>
                </c:pt>
                <c:pt idx="1277">
                  <c:v>41339</c:v>
                </c:pt>
                <c:pt idx="1278">
                  <c:v>41340</c:v>
                </c:pt>
                <c:pt idx="1279">
                  <c:v>41341</c:v>
                </c:pt>
                <c:pt idx="1280">
                  <c:v>41344</c:v>
                </c:pt>
                <c:pt idx="1281">
                  <c:v>41345</c:v>
                </c:pt>
                <c:pt idx="1282">
                  <c:v>41346</c:v>
                </c:pt>
                <c:pt idx="1283">
                  <c:v>41347</c:v>
                </c:pt>
                <c:pt idx="1284">
                  <c:v>41348</c:v>
                </c:pt>
                <c:pt idx="1285">
                  <c:v>41351</c:v>
                </c:pt>
                <c:pt idx="1286">
                  <c:v>41352</c:v>
                </c:pt>
                <c:pt idx="1287">
                  <c:v>41353</c:v>
                </c:pt>
                <c:pt idx="1288">
                  <c:v>41354</c:v>
                </c:pt>
                <c:pt idx="1289">
                  <c:v>41355</c:v>
                </c:pt>
                <c:pt idx="1290">
                  <c:v>41358</c:v>
                </c:pt>
                <c:pt idx="1291">
                  <c:v>41359</c:v>
                </c:pt>
                <c:pt idx="1292">
                  <c:v>41360</c:v>
                </c:pt>
                <c:pt idx="1293">
                  <c:v>41361</c:v>
                </c:pt>
                <c:pt idx="1294">
                  <c:v>41362</c:v>
                </c:pt>
                <c:pt idx="1295">
                  <c:v>41365</c:v>
                </c:pt>
                <c:pt idx="1296">
                  <c:v>41366</c:v>
                </c:pt>
                <c:pt idx="1297">
                  <c:v>41367</c:v>
                </c:pt>
                <c:pt idx="1298">
                  <c:v>41372</c:v>
                </c:pt>
                <c:pt idx="1299">
                  <c:v>41373</c:v>
                </c:pt>
                <c:pt idx="1300">
                  <c:v>41374</c:v>
                </c:pt>
                <c:pt idx="1301">
                  <c:v>41375</c:v>
                </c:pt>
                <c:pt idx="1302">
                  <c:v>41376</c:v>
                </c:pt>
                <c:pt idx="1303">
                  <c:v>41379</c:v>
                </c:pt>
                <c:pt idx="1304">
                  <c:v>41380</c:v>
                </c:pt>
                <c:pt idx="1305">
                  <c:v>41381</c:v>
                </c:pt>
                <c:pt idx="1306">
                  <c:v>41382</c:v>
                </c:pt>
                <c:pt idx="1307">
                  <c:v>41383</c:v>
                </c:pt>
                <c:pt idx="1308">
                  <c:v>41386</c:v>
                </c:pt>
                <c:pt idx="1309">
                  <c:v>41387</c:v>
                </c:pt>
                <c:pt idx="1310">
                  <c:v>41388</c:v>
                </c:pt>
                <c:pt idx="1311">
                  <c:v>41389</c:v>
                </c:pt>
                <c:pt idx="1312">
                  <c:v>41390</c:v>
                </c:pt>
                <c:pt idx="1313">
                  <c:v>41396</c:v>
                </c:pt>
                <c:pt idx="1314">
                  <c:v>41397</c:v>
                </c:pt>
                <c:pt idx="1315">
                  <c:v>41400</c:v>
                </c:pt>
                <c:pt idx="1316">
                  <c:v>41401</c:v>
                </c:pt>
                <c:pt idx="1317">
                  <c:v>41402</c:v>
                </c:pt>
                <c:pt idx="1318">
                  <c:v>41403</c:v>
                </c:pt>
                <c:pt idx="1319">
                  <c:v>41404</c:v>
                </c:pt>
                <c:pt idx="1320">
                  <c:v>41407</c:v>
                </c:pt>
                <c:pt idx="1321">
                  <c:v>41408</c:v>
                </c:pt>
                <c:pt idx="1322">
                  <c:v>41409</c:v>
                </c:pt>
                <c:pt idx="1323">
                  <c:v>41410</c:v>
                </c:pt>
                <c:pt idx="1324">
                  <c:v>41411</c:v>
                </c:pt>
                <c:pt idx="1325">
                  <c:v>41414</c:v>
                </c:pt>
                <c:pt idx="1326">
                  <c:v>41415</c:v>
                </c:pt>
                <c:pt idx="1327">
                  <c:v>41416</c:v>
                </c:pt>
                <c:pt idx="1328">
                  <c:v>41417</c:v>
                </c:pt>
                <c:pt idx="1329">
                  <c:v>41418</c:v>
                </c:pt>
                <c:pt idx="1330">
                  <c:v>41421</c:v>
                </c:pt>
                <c:pt idx="1331">
                  <c:v>41422</c:v>
                </c:pt>
                <c:pt idx="1332">
                  <c:v>41423</c:v>
                </c:pt>
                <c:pt idx="1333">
                  <c:v>41424</c:v>
                </c:pt>
                <c:pt idx="1334">
                  <c:v>41425</c:v>
                </c:pt>
                <c:pt idx="1335">
                  <c:v>41428</c:v>
                </c:pt>
                <c:pt idx="1336">
                  <c:v>41429</c:v>
                </c:pt>
                <c:pt idx="1337">
                  <c:v>41430</c:v>
                </c:pt>
                <c:pt idx="1338">
                  <c:v>41431</c:v>
                </c:pt>
                <c:pt idx="1339">
                  <c:v>41432</c:v>
                </c:pt>
                <c:pt idx="1340">
                  <c:v>41438</c:v>
                </c:pt>
                <c:pt idx="1341">
                  <c:v>41439</c:v>
                </c:pt>
                <c:pt idx="1342">
                  <c:v>41442</c:v>
                </c:pt>
                <c:pt idx="1343">
                  <c:v>41443</c:v>
                </c:pt>
                <c:pt idx="1344">
                  <c:v>41444</c:v>
                </c:pt>
                <c:pt idx="1345">
                  <c:v>41445</c:v>
                </c:pt>
                <c:pt idx="1346">
                  <c:v>41446</c:v>
                </c:pt>
                <c:pt idx="1347">
                  <c:v>41449</c:v>
                </c:pt>
                <c:pt idx="1348">
                  <c:v>41450</c:v>
                </c:pt>
                <c:pt idx="1349">
                  <c:v>41451</c:v>
                </c:pt>
                <c:pt idx="1350">
                  <c:v>41452</c:v>
                </c:pt>
                <c:pt idx="1351">
                  <c:v>41453</c:v>
                </c:pt>
                <c:pt idx="1352">
                  <c:v>41456</c:v>
                </c:pt>
                <c:pt idx="1353">
                  <c:v>41457</c:v>
                </c:pt>
                <c:pt idx="1354">
                  <c:v>41458</c:v>
                </c:pt>
                <c:pt idx="1355">
                  <c:v>41459</c:v>
                </c:pt>
                <c:pt idx="1356">
                  <c:v>41460</c:v>
                </c:pt>
                <c:pt idx="1357">
                  <c:v>41463</c:v>
                </c:pt>
                <c:pt idx="1358">
                  <c:v>41464</c:v>
                </c:pt>
                <c:pt idx="1359">
                  <c:v>41465</c:v>
                </c:pt>
                <c:pt idx="1360">
                  <c:v>41466</c:v>
                </c:pt>
                <c:pt idx="1361">
                  <c:v>41467</c:v>
                </c:pt>
                <c:pt idx="1362">
                  <c:v>41470</c:v>
                </c:pt>
                <c:pt idx="1363">
                  <c:v>41471</c:v>
                </c:pt>
                <c:pt idx="1364">
                  <c:v>41472</c:v>
                </c:pt>
                <c:pt idx="1365">
                  <c:v>41473</c:v>
                </c:pt>
                <c:pt idx="1366">
                  <c:v>41474</c:v>
                </c:pt>
                <c:pt idx="1367">
                  <c:v>41477</c:v>
                </c:pt>
                <c:pt idx="1368">
                  <c:v>41478</c:v>
                </c:pt>
                <c:pt idx="1369">
                  <c:v>41479</c:v>
                </c:pt>
                <c:pt idx="1370">
                  <c:v>41480</c:v>
                </c:pt>
                <c:pt idx="1371">
                  <c:v>41481</c:v>
                </c:pt>
                <c:pt idx="1372">
                  <c:v>41484</c:v>
                </c:pt>
                <c:pt idx="1373">
                  <c:v>41485</c:v>
                </c:pt>
                <c:pt idx="1374">
                  <c:v>41486</c:v>
                </c:pt>
                <c:pt idx="1375">
                  <c:v>41487</c:v>
                </c:pt>
                <c:pt idx="1376">
                  <c:v>41488</c:v>
                </c:pt>
                <c:pt idx="1377">
                  <c:v>41491</c:v>
                </c:pt>
                <c:pt idx="1378">
                  <c:v>41492</c:v>
                </c:pt>
                <c:pt idx="1379">
                  <c:v>41493</c:v>
                </c:pt>
                <c:pt idx="1380">
                  <c:v>41494</c:v>
                </c:pt>
                <c:pt idx="1381">
                  <c:v>41495</c:v>
                </c:pt>
                <c:pt idx="1382">
                  <c:v>41498</c:v>
                </c:pt>
                <c:pt idx="1383">
                  <c:v>41499</c:v>
                </c:pt>
                <c:pt idx="1384">
                  <c:v>41500</c:v>
                </c:pt>
                <c:pt idx="1385">
                  <c:v>41501</c:v>
                </c:pt>
                <c:pt idx="1386">
                  <c:v>41502</c:v>
                </c:pt>
                <c:pt idx="1387">
                  <c:v>41505</c:v>
                </c:pt>
                <c:pt idx="1388">
                  <c:v>41506</c:v>
                </c:pt>
                <c:pt idx="1389">
                  <c:v>41507</c:v>
                </c:pt>
                <c:pt idx="1390">
                  <c:v>41508</c:v>
                </c:pt>
                <c:pt idx="1391">
                  <c:v>41509</c:v>
                </c:pt>
                <c:pt idx="1392">
                  <c:v>41512</c:v>
                </c:pt>
                <c:pt idx="1393">
                  <c:v>41513</c:v>
                </c:pt>
                <c:pt idx="1394">
                  <c:v>41514</c:v>
                </c:pt>
                <c:pt idx="1395">
                  <c:v>41515</c:v>
                </c:pt>
                <c:pt idx="1396">
                  <c:v>41516</c:v>
                </c:pt>
                <c:pt idx="1397">
                  <c:v>41519</c:v>
                </c:pt>
                <c:pt idx="1398">
                  <c:v>41520</c:v>
                </c:pt>
                <c:pt idx="1399">
                  <c:v>41521</c:v>
                </c:pt>
                <c:pt idx="1400">
                  <c:v>41522</c:v>
                </c:pt>
                <c:pt idx="1401">
                  <c:v>41523</c:v>
                </c:pt>
                <c:pt idx="1402">
                  <c:v>41526</c:v>
                </c:pt>
                <c:pt idx="1403">
                  <c:v>41527</c:v>
                </c:pt>
                <c:pt idx="1404">
                  <c:v>41528</c:v>
                </c:pt>
                <c:pt idx="1405">
                  <c:v>41529</c:v>
                </c:pt>
                <c:pt idx="1406">
                  <c:v>41530</c:v>
                </c:pt>
                <c:pt idx="1407">
                  <c:v>41533</c:v>
                </c:pt>
                <c:pt idx="1408">
                  <c:v>41534</c:v>
                </c:pt>
                <c:pt idx="1409">
                  <c:v>41535</c:v>
                </c:pt>
                <c:pt idx="1410">
                  <c:v>41540</c:v>
                </c:pt>
                <c:pt idx="1411">
                  <c:v>41541</c:v>
                </c:pt>
                <c:pt idx="1412">
                  <c:v>41542</c:v>
                </c:pt>
                <c:pt idx="1413">
                  <c:v>41543</c:v>
                </c:pt>
                <c:pt idx="1414">
                  <c:v>41544</c:v>
                </c:pt>
                <c:pt idx="1415">
                  <c:v>41547</c:v>
                </c:pt>
                <c:pt idx="1416">
                  <c:v>41555</c:v>
                </c:pt>
                <c:pt idx="1417">
                  <c:v>41556</c:v>
                </c:pt>
                <c:pt idx="1418">
                  <c:v>41557</c:v>
                </c:pt>
                <c:pt idx="1419">
                  <c:v>41558</c:v>
                </c:pt>
                <c:pt idx="1420">
                  <c:v>41561</c:v>
                </c:pt>
                <c:pt idx="1421">
                  <c:v>41562</c:v>
                </c:pt>
                <c:pt idx="1422">
                  <c:v>41563</c:v>
                </c:pt>
                <c:pt idx="1423">
                  <c:v>41564</c:v>
                </c:pt>
                <c:pt idx="1424">
                  <c:v>41565</c:v>
                </c:pt>
                <c:pt idx="1425">
                  <c:v>41568</c:v>
                </c:pt>
                <c:pt idx="1426">
                  <c:v>41569</c:v>
                </c:pt>
                <c:pt idx="1427">
                  <c:v>41570</c:v>
                </c:pt>
                <c:pt idx="1428">
                  <c:v>41571</c:v>
                </c:pt>
                <c:pt idx="1429">
                  <c:v>41572</c:v>
                </c:pt>
                <c:pt idx="1430">
                  <c:v>41575</c:v>
                </c:pt>
                <c:pt idx="1431">
                  <c:v>41576</c:v>
                </c:pt>
                <c:pt idx="1432">
                  <c:v>41577</c:v>
                </c:pt>
                <c:pt idx="1433">
                  <c:v>41578</c:v>
                </c:pt>
                <c:pt idx="1434">
                  <c:v>41579</c:v>
                </c:pt>
                <c:pt idx="1435">
                  <c:v>41582</c:v>
                </c:pt>
                <c:pt idx="1436">
                  <c:v>41583</c:v>
                </c:pt>
                <c:pt idx="1437">
                  <c:v>41584</c:v>
                </c:pt>
                <c:pt idx="1438">
                  <c:v>41585</c:v>
                </c:pt>
                <c:pt idx="1439">
                  <c:v>41586</c:v>
                </c:pt>
                <c:pt idx="1440">
                  <c:v>41589</c:v>
                </c:pt>
                <c:pt idx="1441">
                  <c:v>41590</c:v>
                </c:pt>
                <c:pt idx="1442">
                  <c:v>41591</c:v>
                </c:pt>
                <c:pt idx="1443">
                  <c:v>41592</c:v>
                </c:pt>
                <c:pt idx="1444">
                  <c:v>41593</c:v>
                </c:pt>
                <c:pt idx="1445">
                  <c:v>41596</c:v>
                </c:pt>
                <c:pt idx="1446">
                  <c:v>41597</c:v>
                </c:pt>
                <c:pt idx="1447">
                  <c:v>41598</c:v>
                </c:pt>
                <c:pt idx="1448">
                  <c:v>41599</c:v>
                </c:pt>
                <c:pt idx="1449">
                  <c:v>41600</c:v>
                </c:pt>
                <c:pt idx="1450">
                  <c:v>41603</c:v>
                </c:pt>
                <c:pt idx="1451">
                  <c:v>41604</c:v>
                </c:pt>
                <c:pt idx="1452">
                  <c:v>41605</c:v>
                </c:pt>
                <c:pt idx="1453">
                  <c:v>41606</c:v>
                </c:pt>
                <c:pt idx="1454">
                  <c:v>41607</c:v>
                </c:pt>
                <c:pt idx="1455">
                  <c:v>41610</c:v>
                </c:pt>
                <c:pt idx="1456">
                  <c:v>41611</c:v>
                </c:pt>
                <c:pt idx="1457">
                  <c:v>41612</c:v>
                </c:pt>
                <c:pt idx="1458">
                  <c:v>41613</c:v>
                </c:pt>
                <c:pt idx="1459">
                  <c:v>41614</c:v>
                </c:pt>
                <c:pt idx="1460">
                  <c:v>41617</c:v>
                </c:pt>
                <c:pt idx="1461">
                  <c:v>41618</c:v>
                </c:pt>
                <c:pt idx="1462">
                  <c:v>41619</c:v>
                </c:pt>
                <c:pt idx="1463">
                  <c:v>41620</c:v>
                </c:pt>
                <c:pt idx="1464">
                  <c:v>41621</c:v>
                </c:pt>
                <c:pt idx="1465">
                  <c:v>41624</c:v>
                </c:pt>
                <c:pt idx="1466">
                  <c:v>41625</c:v>
                </c:pt>
                <c:pt idx="1467">
                  <c:v>41626</c:v>
                </c:pt>
                <c:pt idx="1468">
                  <c:v>41627</c:v>
                </c:pt>
                <c:pt idx="1469">
                  <c:v>41628</c:v>
                </c:pt>
                <c:pt idx="1470">
                  <c:v>41631</c:v>
                </c:pt>
                <c:pt idx="1471">
                  <c:v>41632</c:v>
                </c:pt>
                <c:pt idx="1472">
                  <c:v>41633</c:v>
                </c:pt>
                <c:pt idx="1473">
                  <c:v>41634</c:v>
                </c:pt>
                <c:pt idx="1474">
                  <c:v>41635</c:v>
                </c:pt>
                <c:pt idx="1475">
                  <c:v>41638</c:v>
                </c:pt>
                <c:pt idx="1476">
                  <c:v>41639</c:v>
                </c:pt>
                <c:pt idx="1477">
                  <c:v>41641</c:v>
                </c:pt>
                <c:pt idx="1478">
                  <c:v>41642</c:v>
                </c:pt>
                <c:pt idx="1479">
                  <c:v>41645</c:v>
                </c:pt>
                <c:pt idx="1480">
                  <c:v>41646</c:v>
                </c:pt>
                <c:pt idx="1481">
                  <c:v>41647</c:v>
                </c:pt>
                <c:pt idx="1482">
                  <c:v>41648</c:v>
                </c:pt>
                <c:pt idx="1483">
                  <c:v>41649</c:v>
                </c:pt>
                <c:pt idx="1484">
                  <c:v>41652</c:v>
                </c:pt>
                <c:pt idx="1485">
                  <c:v>41653</c:v>
                </c:pt>
                <c:pt idx="1486">
                  <c:v>41654</c:v>
                </c:pt>
                <c:pt idx="1487">
                  <c:v>41655</c:v>
                </c:pt>
                <c:pt idx="1488">
                  <c:v>41656</c:v>
                </c:pt>
                <c:pt idx="1489">
                  <c:v>41659</c:v>
                </c:pt>
                <c:pt idx="1490">
                  <c:v>41660</c:v>
                </c:pt>
                <c:pt idx="1491">
                  <c:v>41661</c:v>
                </c:pt>
                <c:pt idx="1492">
                  <c:v>41662</c:v>
                </c:pt>
                <c:pt idx="1493">
                  <c:v>41663</c:v>
                </c:pt>
                <c:pt idx="1494">
                  <c:v>41666</c:v>
                </c:pt>
                <c:pt idx="1495">
                  <c:v>41667</c:v>
                </c:pt>
                <c:pt idx="1496">
                  <c:v>41668</c:v>
                </c:pt>
                <c:pt idx="1497">
                  <c:v>41669</c:v>
                </c:pt>
                <c:pt idx="1498">
                  <c:v>41677</c:v>
                </c:pt>
                <c:pt idx="1499">
                  <c:v>41680</c:v>
                </c:pt>
                <c:pt idx="1500">
                  <c:v>41681</c:v>
                </c:pt>
                <c:pt idx="1501">
                  <c:v>41682</c:v>
                </c:pt>
                <c:pt idx="1502">
                  <c:v>41683</c:v>
                </c:pt>
                <c:pt idx="1503">
                  <c:v>41684</c:v>
                </c:pt>
                <c:pt idx="1504">
                  <c:v>41687</c:v>
                </c:pt>
                <c:pt idx="1505">
                  <c:v>41688</c:v>
                </c:pt>
                <c:pt idx="1506">
                  <c:v>41689</c:v>
                </c:pt>
                <c:pt idx="1507">
                  <c:v>41690</c:v>
                </c:pt>
                <c:pt idx="1508">
                  <c:v>41691</c:v>
                </c:pt>
                <c:pt idx="1509">
                  <c:v>41694</c:v>
                </c:pt>
                <c:pt idx="1510">
                  <c:v>41695</c:v>
                </c:pt>
                <c:pt idx="1511">
                  <c:v>41696</c:v>
                </c:pt>
                <c:pt idx="1512">
                  <c:v>41697</c:v>
                </c:pt>
                <c:pt idx="1513">
                  <c:v>41698</c:v>
                </c:pt>
                <c:pt idx="1514">
                  <c:v>41701</c:v>
                </c:pt>
                <c:pt idx="1515">
                  <c:v>41702</c:v>
                </c:pt>
                <c:pt idx="1516">
                  <c:v>41703</c:v>
                </c:pt>
                <c:pt idx="1517">
                  <c:v>41704</c:v>
                </c:pt>
                <c:pt idx="1518">
                  <c:v>41705</c:v>
                </c:pt>
                <c:pt idx="1519">
                  <c:v>41708</c:v>
                </c:pt>
                <c:pt idx="1520">
                  <c:v>41709</c:v>
                </c:pt>
                <c:pt idx="1521">
                  <c:v>41710</c:v>
                </c:pt>
                <c:pt idx="1522">
                  <c:v>41711</c:v>
                </c:pt>
                <c:pt idx="1523">
                  <c:v>41712</c:v>
                </c:pt>
                <c:pt idx="1524">
                  <c:v>41715</c:v>
                </c:pt>
                <c:pt idx="1525">
                  <c:v>41716</c:v>
                </c:pt>
                <c:pt idx="1526">
                  <c:v>41717</c:v>
                </c:pt>
                <c:pt idx="1527">
                  <c:v>41718</c:v>
                </c:pt>
                <c:pt idx="1528">
                  <c:v>41719</c:v>
                </c:pt>
                <c:pt idx="1529">
                  <c:v>41722</c:v>
                </c:pt>
                <c:pt idx="1530">
                  <c:v>41723</c:v>
                </c:pt>
                <c:pt idx="1531">
                  <c:v>41724</c:v>
                </c:pt>
                <c:pt idx="1532">
                  <c:v>41725</c:v>
                </c:pt>
                <c:pt idx="1533">
                  <c:v>41726</c:v>
                </c:pt>
                <c:pt idx="1534">
                  <c:v>41729</c:v>
                </c:pt>
                <c:pt idx="1535">
                  <c:v>41730</c:v>
                </c:pt>
                <c:pt idx="1536">
                  <c:v>41731</c:v>
                </c:pt>
                <c:pt idx="1537">
                  <c:v>41732</c:v>
                </c:pt>
                <c:pt idx="1538">
                  <c:v>41733</c:v>
                </c:pt>
                <c:pt idx="1539">
                  <c:v>41737</c:v>
                </c:pt>
                <c:pt idx="1540">
                  <c:v>41738</c:v>
                </c:pt>
                <c:pt idx="1541">
                  <c:v>41739</c:v>
                </c:pt>
                <c:pt idx="1542">
                  <c:v>41740</c:v>
                </c:pt>
                <c:pt idx="1543">
                  <c:v>41743</c:v>
                </c:pt>
                <c:pt idx="1544">
                  <c:v>41744</c:v>
                </c:pt>
                <c:pt idx="1545">
                  <c:v>41745</c:v>
                </c:pt>
                <c:pt idx="1546">
                  <c:v>41746</c:v>
                </c:pt>
                <c:pt idx="1547">
                  <c:v>41747</c:v>
                </c:pt>
                <c:pt idx="1548">
                  <c:v>41750</c:v>
                </c:pt>
                <c:pt idx="1549">
                  <c:v>41751</c:v>
                </c:pt>
                <c:pt idx="1550">
                  <c:v>41752</c:v>
                </c:pt>
                <c:pt idx="1551">
                  <c:v>41753</c:v>
                </c:pt>
                <c:pt idx="1552">
                  <c:v>41754</c:v>
                </c:pt>
                <c:pt idx="1553">
                  <c:v>41757</c:v>
                </c:pt>
                <c:pt idx="1554">
                  <c:v>41758</c:v>
                </c:pt>
                <c:pt idx="1555">
                  <c:v>41759</c:v>
                </c:pt>
                <c:pt idx="1556">
                  <c:v>41764</c:v>
                </c:pt>
                <c:pt idx="1557">
                  <c:v>41765</c:v>
                </c:pt>
                <c:pt idx="1558">
                  <c:v>41766</c:v>
                </c:pt>
                <c:pt idx="1559">
                  <c:v>41767</c:v>
                </c:pt>
                <c:pt idx="1560">
                  <c:v>41768</c:v>
                </c:pt>
                <c:pt idx="1561">
                  <c:v>41771</c:v>
                </c:pt>
                <c:pt idx="1562">
                  <c:v>41772</c:v>
                </c:pt>
                <c:pt idx="1563">
                  <c:v>41773</c:v>
                </c:pt>
                <c:pt idx="1564">
                  <c:v>41774</c:v>
                </c:pt>
                <c:pt idx="1565">
                  <c:v>41775</c:v>
                </c:pt>
                <c:pt idx="1566">
                  <c:v>41778</c:v>
                </c:pt>
                <c:pt idx="1567">
                  <c:v>41779</c:v>
                </c:pt>
                <c:pt idx="1568">
                  <c:v>41780</c:v>
                </c:pt>
                <c:pt idx="1569">
                  <c:v>41781</c:v>
                </c:pt>
                <c:pt idx="1570">
                  <c:v>41782</c:v>
                </c:pt>
                <c:pt idx="1571">
                  <c:v>41785</c:v>
                </c:pt>
                <c:pt idx="1572">
                  <c:v>41786</c:v>
                </c:pt>
                <c:pt idx="1573">
                  <c:v>41787</c:v>
                </c:pt>
                <c:pt idx="1574">
                  <c:v>41788</c:v>
                </c:pt>
                <c:pt idx="1575">
                  <c:v>41789</c:v>
                </c:pt>
                <c:pt idx="1576">
                  <c:v>41793</c:v>
                </c:pt>
                <c:pt idx="1577">
                  <c:v>41794</c:v>
                </c:pt>
                <c:pt idx="1578">
                  <c:v>41795</c:v>
                </c:pt>
                <c:pt idx="1579">
                  <c:v>41796</c:v>
                </c:pt>
                <c:pt idx="1580">
                  <c:v>41799</c:v>
                </c:pt>
                <c:pt idx="1581">
                  <c:v>41800</c:v>
                </c:pt>
                <c:pt idx="1582">
                  <c:v>41801</c:v>
                </c:pt>
                <c:pt idx="1583">
                  <c:v>41802</c:v>
                </c:pt>
                <c:pt idx="1584">
                  <c:v>41803</c:v>
                </c:pt>
                <c:pt idx="1585">
                  <c:v>41806</c:v>
                </c:pt>
                <c:pt idx="1586">
                  <c:v>41807</c:v>
                </c:pt>
                <c:pt idx="1587">
                  <c:v>41808</c:v>
                </c:pt>
                <c:pt idx="1588">
                  <c:v>41809</c:v>
                </c:pt>
                <c:pt idx="1589">
                  <c:v>41810</c:v>
                </c:pt>
                <c:pt idx="1590">
                  <c:v>41813</c:v>
                </c:pt>
                <c:pt idx="1591">
                  <c:v>41814</c:v>
                </c:pt>
                <c:pt idx="1592">
                  <c:v>41815</c:v>
                </c:pt>
                <c:pt idx="1593">
                  <c:v>41816</c:v>
                </c:pt>
                <c:pt idx="1594">
                  <c:v>41817</c:v>
                </c:pt>
                <c:pt idx="1595">
                  <c:v>41820</c:v>
                </c:pt>
                <c:pt idx="1596">
                  <c:v>41821</c:v>
                </c:pt>
                <c:pt idx="1597">
                  <c:v>41822</c:v>
                </c:pt>
                <c:pt idx="1598">
                  <c:v>41823</c:v>
                </c:pt>
                <c:pt idx="1599">
                  <c:v>41824</c:v>
                </c:pt>
                <c:pt idx="1600">
                  <c:v>41827</c:v>
                </c:pt>
                <c:pt idx="1601">
                  <c:v>41828</c:v>
                </c:pt>
                <c:pt idx="1602">
                  <c:v>41829</c:v>
                </c:pt>
                <c:pt idx="1603">
                  <c:v>41830</c:v>
                </c:pt>
                <c:pt idx="1604">
                  <c:v>41831</c:v>
                </c:pt>
                <c:pt idx="1605">
                  <c:v>41834</c:v>
                </c:pt>
                <c:pt idx="1606">
                  <c:v>41835</c:v>
                </c:pt>
                <c:pt idx="1607">
                  <c:v>41836</c:v>
                </c:pt>
                <c:pt idx="1608">
                  <c:v>41837</c:v>
                </c:pt>
                <c:pt idx="1609">
                  <c:v>41838</c:v>
                </c:pt>
                <c:pt idx="1610">
                  <c:v>41841</c:v>
                </c:pt>
                <c:pt idx="1611">
                  <c:v>41842</c:v>
                </c:pt>
                <c:pt idx="1612">
                  <c:v>41843</c:v>
                </c:pt>
                <c:pt idx="1613">
                  <c:v>41844</c:v>
                </c:pt>
                <c:pt idx="1614">
                  <c:v>41845</c:v>
                </c:pt>
                <c:pt idx="1615">
                  <c:v>41848</c:v>
                </c:pt>
                <c:pt idx="1616">
                  <c:v>41849</c:v>
                </c:pt>
                <c:pt idx="1617">
                  <c:v>41850</c:v>
                </c:pt>
                <c:pt idx="1618">
                  <c:v>41851</c:v>
                </c:pt>
                <c:pt idx="1619">
                  <c:v>41852</c:v>
                </c:pt>
                <c:pt idx="1620">
                  <c:v>41855</c:v>
                </c:pt>
                <c:pt idx="1621">
                  <c:v>41856</c:v>
                </c:pt>
                <c:pt idx="1622">
                  <c:v>41857</c:v>
                </c:pt>
                <c:pt idx="1623">
                  <c:v>41858</c:v>
                </c:pt>
                <c:pt idx="1624">
                  <c:v>41859</c:v>
                </c:pt>
                <c:pt idx="1625">
                  <c:v>41862</c:v>
                </c:pt>
                <c:pt idx="1626">
                  <c:v>41863</c:v>
                </c:pt>
                <c:pt idx="1627">
                  <c:v>41864</c:v>
                </c:pt>
                <c:pt idx="1628">
                  <c:v>41865</c:v>
                </c:pt>
                <c:pt idx="1629">
                  <c:v>41866</c:v>
                </c:pt>
                <c:pt idx="1630">
                  <c:v>41869</c:v>
                </c:pt>
                <c:pt idx="1631">
                  <c:v>41870</c:v>
                </c:pt>
                <c:pt idx="1632">
                  <c:v>41871</c:v>
                </c:pt>
                <c:pt idx="1633">
                  <c:v>41872</c:v>
                </c:pt>
                <c:pt idx="1634">
                  <c:v>41873</c:v>
                </c:pt>
                <c:pt idx="1635">
                  <c:v>41876</c:v>
                </c:pt>
                <c:pt idx="1636">
                  <c:v>41877</c:v>
                </c:pt>
                <c:pt idx="1637">
                  <c:v>41878</c:v>
                </c:pt>
                <c:pt idx="1638">
                  <c:v>41879</c:v>
                </c:pt>
                <c:pt idx="1639">
                  <c:v>41880</c:v>
                </c:pt>
                <c:pt idx="1640">
                  <c:v>41883</c:v>
                </c:pt>
                <c:pt idx="1641">
                  <c:v>41884</c:v>
                </c:pt>
                <c:pt idx="1642">
                  <c:v>41885</c:v>
                </c:pt>
                <c:pt idx="1643">
                  <c:v>41886</c:v>
                </c:pt>
                <c:pt idx="1644">
                  <c:v>41887</c:v>
                </c:pt>
                <c:pt idx="1645">
                  <c:v>41891</c:v>
                </c:pt>
                <c:pt idx="1646">
                  <c:v>41892</c:v>
                </c:pt>
                <c:pt idx="1647">
                  <c:v>41893</c:v>
                </c:pt>
                <c:pt idx="1648">
                  <c:v>41894</c:v>
                </c:pt>
                <c:pt idx="1649">
                  <c:v>41897</c:v>
                </c:pt>
                <c:pt idx="1650">
                  <c:v>41898</c:v>
                </c:pt>
                <c:pt idx="1651">
                  <c:v>41899</c:v>
                </c:pt>
                <c:pt idx="1652">
                  <c:v>41900</c:v>
                </c:pt>
                <c:pt idx="1653">
                  <c:v>41901</c:v>
                </c:pt>
                <c:pt idx="1654">
                  <c:v>41904</c:v>
                </c:pt>
                <c:pt idx="1655">
                  <c:v>41905</c:v>
                </c:pt>
                <c:pt idx="1656">
                  <c:v>41906</c:v>
                </c:pt>
                <c:pt idx="1657">
                  <c:v>41907</c:v>
                </c:pt>
                <c:pt idx="1658">
                  <c:v>41908</c:v>
                </c:pt>
                <c:pt idx="1659">
                  <c:v>41911</c:v>
                </c:pt>
                <c:pt idx="1660">
                  <c:v>41912</c:v>
                </c:pt>
                <c:pt idx="1661">
                  <c:v>41920</c:v>
                </c:pt>
                <c:pt idx="1662">
                  <c:v>41921</c:v>
                </c:pt>
                <c:pt idx="1663">
                  <c:v>41922</c:v>
                </c:pt>
                <c:pt idx="1664">
                  <c:v>41925</c:v>
                </c:pt>
                <c:pt idx="1665">
                  <c:v>41926</c:v>
                </c:pt>
                <c:pt idx="1666">
                  <c:v>41927</c:v>
                </c:pt>
                <c:pt idx="1667">
                  <c:v>41928</c:v>
                </c:pt>
                <c:pt idx="1668">
                  <c:v>41929</c:v>
                </c:pt>
                <c:pt idx="1669">
                  <c:v>41932</c:v>
                </c:pt>
                <c:pt idx="1670">
                  <c:v>41933</c:v>
                </c:pt>
                <c:pt idx="1671">
                  <c:v>41934</c:v>
                </c:pt>
                <c:pt idx="1672">
                  <c:v>41935</c:v>
                </c:pt>
                <c:pt idx="1673">
                  <c:v>41936</c:v>
                </c:pt>
                <c:pt idx="1674">
                  <c:v>41939</c:v>
                </c:pt>
                <c:pt idx="1675">
                  <c:v>41940</c:v>
                </c:pt>
                <c:pt idx="1676">
                  <c:v>41941</c:v>
                </c:pt>
                <c:pt idx="1677">
                  <c:v>41942</c:v>
                </c:pt>
                <c:pt idx="1678">
                  <c:v>41943</c:v>
                </c:pt>
                <c:pt idx="1679">
                  <c:v>41946</c:v>
                </c:pt>
                <c:pt idx="1680">
                  <c:v>41947</c:v>
                </c:pt>
                <c:pt idx="1681">
                  <c:v>41948</c:v>
                </c:pt>
                <c:pt idx="1682">
                  <c:v>41949</c:v>
                </c:pt>
                <c:pt idx="1683">
                  <c:v>41950</c:v>
                </c:pt>
                <c:pt idx="1684">
                  <c:v>41953</c:v>
                </c:pt>
                <c:pt idx="1685">
                  <c:v>41954</c:v>
                </c:pt>
                <c:pt idx="1686">
                  <c:v>41955</c:v>
                </c:pt>
                <c:pt idx="1687">
                  <c:v>41956</c:v>
                </c:pt>
                <c:pt idx="1688">
                  <c:v>41957</c:v>
                </c:pt>
                <c:pt idx="1689">
                  <c:v>41960</c:v>
                </c:pt>
                <c:pt idx="1690">
                  <c:v>41961</c:v>
                </c:pt>
                <c:pt idx="1691">
                  <c:v>41962</c:v>
                </c:pt>
                <c:pt idx="1692">
                  <c:v>41963</c:v>
                </c:pt>
                <c:pt idx="1693">
                  <c:v>41964</c:v>
                </c:pt>
                <c:pt idx="1694">
                  <c:v>41967</c:v>
                </c:pt>
                <c:pt idx="1695">
                  <c:v>41968</c:v>
                </c:pt>
                <c:pt idx="1696">
                  <c:v>41969</c:v>
                </c:pt>
                <c:pt idx="1697">
                  <c:v>41970</c:v>
                </c:pt>
                <c:pt idx="1698">
                  <c:v>41971</c:v>
                </c:pt>
                <c:pt idx="1699">
                  <c:v>41974</c:v>
                </c:pt>
                <c:pt idx="1700">
                  <c:v>41975</c:v>
                </c:pt>
                <c:pt idx="1701">
                  <c:v>41976</c:v>
                </c:pt>
                <c:pt idx="1702">
                  <c:v>41977</c:v>
                </c:pt>
                <c:pt idx="1703">
                  <c:v>41978</c:v>
                </c:pt>
                <c:pt idx="1704">
                  <c:v>41981</c:v>
                </c:pt>
                <c:pt idx="1705">
                  <c:v>41982</c:v>
                </c:pt>
                <c:pt idx="1706">
                  <c:v>41983</c:v>
                </c:pt>
                <c:pt idx="1707">
                  <c:v>41984</c:v>
                </c:pt>
                <c:pt idx="1708">
                  <c:v>41985</c:v>
                </c:pt>
                <c:pt idx="1709">
                  <c:v>41988</c:v>
                </c:pt>
                <c:pt idx="1710">
                  <c:v>41989</c:v>
                </c:pt>
                <c:pt idx="1711">
                  <c:v>41990</c:v>
                </c:pt>
                <c:pt idx="1712">
                  <c:v>41991</c:v>
                </c:pt>
                <c:pt idx="1713">
                  <c:v>41992</c:v>
                </c:pt>
                <c:pt idx="1714">
                  <c:v>41995</c:v>
                </c:pt>
                <c:pt idx="1715">
                  <c:v>41996</c:v>
                </c:pt>
                <c:pt idx="1716">
                  <c:v>41997</c:v>
                </c:pt>
                <c:pt idx="1717">
                  <c:v>41998</c:v>
                </c:pt>
                <c:pt idx="1718">
                  <c:v>41999</c:v>
                </c:pt>
                <c:pt idx="1719">
                  <c:v>42002</c:v>
                </c:pt>
                <c:pt idx="1720">
                  <c:v>42003</c:v>
                </c:pt>
                <c:pt idx="1721">
                  <c:v>42004</c:v>
                </c:pt>
                <c:pt idx="1722">
                  <c:v>42009</c:v>
                </c:pt>
                <c:pt idx="1723">
                  <c:v>42010</c:v>
                </c:pt>
                <c:pt idx="1724">
                  <c:v>42011</c:v>
                </c:pt>
                <c:pt idx="1725">
                  <c:v>42012</c:v>
                </c:pt>
                <c:pt idx="1726">
                  <c:v>42013</c:v>
                </c:pt>
                <c:pt idx="1727">
                  <c:v>42016</c:v>
                </c:pt>
                <c:pt idx="1728">
                  <c:v>42017</c:v>
                </c:pt>
                <c:pt idx="1729">
                  <c:v>42018</c:v>
                </c:pt>
                <c:pt idx="1730">
                  <c:v>42019</c:v>
                </c:pt>
                <c:pt idx="1731">
                  <c:v>42020</c:v>
                </c:pt>
                <c:pt idx="1732">
                  <c:v>42023</c:v>
                </c:pt>
                <c:pt idx="1733">
                  <c:v>42024</c:v>
                </c:pt>
                <c:pt idx="1734">
                  <c:v>42025</c:v>
                </c:pt>
                <c:pt idx="1735">
                  <c:v>42026</c:v>
                </c:pt>
                <c:pt idx="1736">
                  <c:v>42027</c:v>
                </c:pt>
                <c:pt idx="1737">
                  <c:v>42030</c:v>
                </c:pt>
                <c:pt idx="1738">
                  <c:v>42031</c:v>
                </c:pt>
                <c:pt idx="1739">
                  <c:v>42032</c:v>
                </c:pt>
                <c:pt idx="1740">
                  <c:v>42033</c:v>
                </c:pt>
                <c:pt idx="1741">
                  <c:v>42034</c:v>
                </c:pt>
                <c:pt idx="1742">
                  <c:v>42037</c:v>
                </c:pt>
                <c:pt idx="1743">
                  <c:v>42038</c:v>
                </c:pt>
                <c:pt idx="1744">
                  <c:v>42039</c:v>
                </c:pt>
                <c:pt idx="1745">
                  <c:v>42040</c:v>
                </c:pt>
                <c:pt idx="1746">
                  <c:v>42041</c:v>
                </c:pt>
                <c:pt idx="1747">
                  <c:v>42044</c:v>
                </c:pt>
                <c:pt idx="1748">
                  <c:v>42045</c:v>
                </c:pt>
                <c:pt idx="1749">
                  <c:v>42046</c:v>
                </c:pt>
                <c:pt idx="1750">
                  <c:v>42047</c:v>
                </c:pt>
                <c:pt idx="1751">
                  <c:v>42048</c:v>
                </c:pt>
                <c:pt idx="1752">
                  <c:v>42051</c:v>
                </c:pt>
                <c:pt idx="1753">
                  <c:v>42052</c:v>
                </c:pt>
                <c:pt idx="1754">
                  <c:v>42060</c:v>
                </c:pt>
                <c:pt idx="1755">
                  <c:v>42061</c:v>
                </c:pt>
                <c:pt idx="1756">
                  <c:v>42062</c:v>
                </c:pt>
                <c:pt idx="1757">
                  <c:v>42065</c:v>
                </c:pt>
                <c:pt idx="1758">
                  <c:v>42066</c:v>
                </c:pt>
                <c:pt idx="1759">
                  <c:v>42067</c:v>
                </c:pt>
                <c:pt idx="1760">
                  <c:v>42068</c:v>
                </c:pt>
                <c:pt idx="1761">
                  <c:v>42069</c:v>
                </c:pt>
                <c:pt idx="1762">
                  <c:v>42072</c:v>
                </c:pt>
                <c:pt idx="1763">
                  <c:v>42073</c:v>
                </c:pt>
                <c:pt idx="1764">
                  <c:v>42074</c:v>
                </c:pt>
                <c:pt idx="1765">
                  <c:v>42075</c:v>
                </c:pt>
                <c:pt idx="1766">
                  <c:v>42076</c:v>
                </c:pt>
                <c:pt idx="1767">
                  <c:v>42079</c:v>
                </c:pt>
                <c:pt idx="1768">
                  <c:v>42080</c:v>
                </c:pt>
                <c:pt idx="1769">
                  <c:v>42081</c:v>
                </c:pt>
                <c:pt idx="1770">
                  <c:v>42082</c:v>
                </c:pt>
                <c:pt idx="1771">
                  <c:v>42083</c:v>
                </c:pt>
                <c:pt idx="1772">
                  <c:v>42086</c:v>
                </c:pt>
                <c:pt idx="1773">
                  <c:v>42087</c:v>
                </c:pt>
                <c:pt idx="1774">
                  <c:v>42088</c:v>
                </c:pt>
                <c:pt idx="1775">
                  <c:v>42089</c:v>
                </c:pt>
                <c:pt idx="1776">
                  <c:v>42090</c:v>
                </c:pt>
                <c:pt idx="1777">
                  <c:v>42093</c:v>
                </c:pt>
                <c:pt idx="1778">
                  <c:v>42094</c:v>
                </c:pt>
                <c:pt idx="1779">
                  <c:v>42095</c:v>
                </c:pt>
                <c:pt idx="1780">
                  <c:v>42096</c:v>
                </c:pt>
                <c:pt idx="1781">
                  <c:v>42097</c:v>
                </c:pt>
                <c:pt idx="1782">
                  <c:v>42101</c:v>
                </c:pt>
                <c:pt idx="1783">
                  <c:v>42102</c:v>
                </c:pt>
                <c:pt idx="1784">
                  <c:v>42103</c:v>
                </c:pt>
                <c:pt idx="1785">
                  <c:v>42104</c:v>
                </c:pt>
                <c:pt idx="1786">
                  <c:v>42107</c:v>
                </c:pt>
                <c:pt idx="1787">
                  <c:v>42108</c:v>
                </c:pt>
                <c:pt idx="1788">
                  <c:v>42109</c:v>
                </c:pt>
                <c:pt idx="1789">
                  <c:v>42110</c:v>
                </c:pt>
                <c:pt idx="1790">
                  <c:v>42111</c:v>
                </c:pt>
                <c:pt idx="1791">
                  <c:v>42114</c:v>
                </c:pt>
                <c:pt idx="1792">
                  <c:v>42115</c:v>
                </c:pt>
                <c:pt idx="1793">
                  <c:v>42116</c:v>
                </c:pt>
                <c:pt idx="1794">
                  <c:v>42117</c:v>
                </c:pt>
                <c:pt idx="1795">
                  <c:v>42118</c:v>
                </c:pt>
                <c:pt idx="1796">
                  <c:v>42121</c:v>
                </c:pt>
                <c:pt idx="1797">
                  <c:v>42122</c:v>
                </c:pt>
                <c:pt idx="1798">
                  <c:v>42123</c:v>
                </c:pt>
                <c:pt idx="1799">
                  <c:v>42124</c:v>
                </c:pt>
                <c:pt idx="1800">
                  <c:v>42128</c:v>
                </c:pt>
                <c:pt idx="1801">
                  <c:v>42129</c:v>
                </c:pt>
                <c:pt idx="1802">
                  <c:v>42130</c:v>
                </c:pt>
                <c:pt idx="1803">
                  <c:v>42131</c:v>
                </c:pt>
                <c:pt idx="1804">
                  <c:v>42132</c:v>
                </c:pt>
                <c:pt idx="1805">
                  <c:v>42135</c:v>
                </c:pt>
                <c:pt idx="1806">
                  <c:v>42136</c:v>
                </c:pt>
                <c:pt idx="1807">
                  <c:v>42137</c:v>
                </c:pt>
                <c:pt idx="1808">
                  <c:v>42138</c:v>
                </c:pt>
                <c:pt idx="1809">
                  <c:v>42139</c:v>
                </c:pt>
                <c:pt idx="1810">
                  <c:v>42142</c:v>
                </c:pt>
                <c:pt idx="1811">
                  <c:v>42143</c:v>
                </c:pt>
                <c:pt idx="1812">
                  <c:v>42144</c:v>
                </c:pt>
                <c:pt idx="1813">
                  <c:v>42145</c:v>
                </c:pt>
                <c:pt idx="1814">
                  <c:v>42146</c:v>
                </c:pt>
                <c:pt idx="1815">
                  <c:v>42149</c:v>
                </c:pt>
                <c:pt idx="1816">
                  <c:v>42150</c:v>
                </c:pt>
                <c:pt idx="1817">
                  <c:v>42151</c:v>
                </c:pt>
                <c:pt idx="1818">
                  <c:v>42152</c:v>
                </c:pt>
                <c:pt idx="1819">
                  <c:v>42153</c:v>
                </c:pt>
                <c:pt idx="1820">
                  <c:v>42156</c:v>
                </c:pt>
                <c:pt idx="1821">
                  <c:v>42157</c:v>
                </c:pt>
                <c:pt idx="1822">
                  <c:v>42158</c:v>
                </c:pt>
                <c:pt idx="1823">
                  <c:v>42159</c:v>
                </c:pt>
                <c:pt idx="1824">
                  <c:v>42160</c:v>
                </c:pt>
                <c:pt idx="1825">
                  <c:v>42163</c:v>
                </c:pt>
                <c:pt idx="1826">
                  <c:v>42164</c:v>
                </c:pt>
                <c:pt idx="1827">
                  <c:v>42165</c:v>
                </c:pt>
                <c:pt idx="1828">
                  <c:v>42166</c:v>
                </c:pt>
                <c:pt idx="1829">
                  <c:v>42167</c:v>
                </c:pt>
                <c:pt idx="1830">
                  <c:v>42170</c:v>
                </c:pt>
                <c:pt idx="1831">
                  <c:v>42171</c:v>
                </c:pt>
                <c:pt idx="1832">
                  <c:v>42172</c:v>
                </c:pt>
                <c:pt idx="1833">
                  <c:v>42173</c:v>
                </c:pt>
                <c:pt idx="1834">
                  <c:v>42174</c:v>
                </c:pt>
                <c:pt idx="1835">
                  <c:v>42178</c:v>
                </c:pt>
                <c:pt idx="1836">
                  <c:v>42179</c:v>
                </c:pt>
                <c:pt idx="1837">
                  <c:v>42180</c:v>
                </c:pt>
                <c:pt idx="1838">
                  <c:v>42181</c:v>
                </c:pt>
                <c:pt idx="1839">
                  <c:v>42184</c:v>
                </c:pt>
                <c:pt idx="1840">
                  <c:v>42185</c:v>
                </c:pt>
                <c:pt idx="1841">
                  <c:v>42186</c:v>
                </c:pt>
                <c:pt idx="1842">
                  <c:v>42187</c:v>
                </c:pt>
                <c:pt idx="1843">
                  <c:v>42188</c:v>
                </c:pt>
                <c:pt idx="1844">
                  <c:v>42191</c:v>
                </c:pt>
                <c:pt idx="1845">
                  <c:v>42192</c:v>
                </c:pt>
                <c:pt idx="1846">
                  <c:v>42193</c:v>
                </c:pt>
                <c:pt idx="1847">
                  <c:v>42194</c:v>
                </c:pt>
                <c:pt idx="1848">
                  <c:v>42195</c:v>
                </c:pt>
                <c:pt idx="1849">
                  <c:v>42198</c:v>
                </c:pt>
                <c:pt idx="1850">
                  <c:v>42199</c:v>
                </c:pt>
                <c:pt idx="1851">
                  <c:v>42200</c:v>
                </c:pt>
                <c:pt idx="1852">
                  <c:v>42201</c:v>
                </c:pt>
                <c:pt idx="1853">
                  <c:v>42202</c:v>
                </c:pt>
                <c:pt idx="1854">
                  <c:v>42205</c:v>
                </c:pt>
                <c:pt idx="1855">
                  <c:v>42206</c:v>
                </c:pt>
                <c:pt idx="1856">
                  <c:v>42207</c:v>
                </c:pt>
                <c:pt idx="1857">
                  <c:v>42208</c:v>
                </c:pt>
                <c:pt idx="1858">
                  <c:v>42209</c:v>
                </c:pt>
                <c:pt idx="1859">
                  <c:v>42212</c:v>
                </c:pt>
                <c:pt idx="1860">
                  <c:v>42213</c:v>
                </c:pt>
                <c:pt idx="1861">
                  <c:v>42214</c:v>
                </c:pt>
                <c:pt idx="1862">
                  <c:v>42215</c:v>
                </c:pt>
                <c:pt idx="1863">
                  <c:v>42216</c:v>
                </c:pt>
                <c:pt idx="1864">
                  <c:v>42219</c:v>
                </c:pt>
                <c:pt idx="1865">
                  <c:v>42220</c:v>
                </c:pt>
                <c:pt idx="1866">
                  <c:v>42221</c:v>
                </c:pt>
                <c:pt idx="1867">
                  <c:v>42222</c:v>
                </c:pt>
                <c:pt idx="1868">
                  <c:v>42223</c:v>
                </c:pt>
                <c:pt idx="1869">
                  <c:v>42226</c:v>
                </c:pt>
                <c:pt idx="1870">
                  <c:v>42227</c:v>
                </c:pt>
                <c:pt idx="1871">
                  <c:v>42228</c:v>
                </c:pt>
                <c:pt idx="1872">
                  <c:v>42229</c:v>
                </c:pt>
                <c:pt idx="1873">
                  <c:v>42230</c:v>
                </c:pt>
                <c:pt idx="1874">
                  <c:v>42233</c:v>
                </c:pt>
                <c:pt idx="1875">
                  <c:v>42234</c:v>
                </c:pt>
                <c:pt idx="1876">
                  <c:v>42235</c:v>
                </c:pt>
                <c:pt idx="1877">
                  <c:v>42236</c:v>
                </c:pt>
                <c:pt idx="1878">
                  <c:v>42237</c:v>
                </c:pt>
                <c:pt idx="1879">
                  <c:v>42240</c:v>
                </c:pt>
                <c:pt idx="1880">
                  <c:v>42241</c:v>
                </c:pt>
                <c:pt idx="1881">
                  <c:v>42242</c:v>
                </c:pt>
                <c:pt idx="1882">
                  <c:v>42243</c:v>
                </c:pt>
                <c:pt idx="1883">
                  <c:v>42244</c:v>
                </c:pt>
                <c:pt idx="1884">
                  <c:v>42247</c:v>
                </c:pt>
                <c:pt idx="1885">
                  <c:v>42248</c:v>
                </c:pt>
                <c:pt idx="1886">
                  <c:v>42249</c:v>
                </c:pt>
                <c:pt idx="1887">
                  <c:v>42254</c:v>
                </c:pt>
                <c:pt idx="1888">
                  <c:v>42255</c:v>
                </c:pt>
                <c:pt idx="1889">
                  <c:v>42256</c:v>
                </c:pt>
                <c:pt idx="1890">
                  <c:v>42257</c:v>
                </c:pt>
                <c:pt idx="1891">
                  <c:v>42258</c:v>
                </c:pt>
                <c:pt idx="1892">
                  <c:v>42261</c:v>
                </c:pt>
                <c:pt idx="1893">
                  <c:v>42262</c:v>
                </c:pt>
                <c:pt idx="1894">
                  <c:v>42263</c:v>
                </c:pt>
                <c:pt idx="1895">
                  <c:v>42264</c:v>
                </c:pt>
                <c:pt idx="1896">
                  <c:v>42265</c:v>
                </c:pt>
                <c:pt idx="1897">
                  <c:v>42268</c:v>
                </c:pt>
                <c:pt idx="1898">
                  <c:v>42269</c:v>
                </c:pt>
                <c:pt idx="1899">
                  <c:v>42270</c:v>
                </c:pt>
                <c:pt idx="1900">
                  <c:v>42271</c:v>
                </c:pt>
                <c:pt idx="1901">
                  <c:v>42272</c:v>
                </c:pt>
                <c:pt idx="1902">
                  <c:v>42275</c:v>
                </c:pt>
                <c:pt idx="1903">
                  <c:v>42276</c:v>
                </c:pt>
                <c:pt idx="1904">
                  <c:v>42277</c:v>
                </c:pt>
                <c:pt idx="1905">
                  <c:v>42285</c:v>
                </c:pt>
                <c:pt idx="1906">
                  <c:v>42286</c:v>
                </c:pt>
                <c:pt idx="1907">
                  <c:v>42289</c:v>
                </c:pt>
                <c:pt idx="1908">
                  <c:v>42290</c:v>
                </c:pt>
                <c:pt idx="1909">
                  <c:v>42291</c:v>
                </c:pt>
                <c:pt idx="1910">
                  <c:v>42292</c:v>
                </c:pt>
                <c:pt idx="1911">
                  <c:v>42293</c:v>
                </c:pt>
                <c:pt idx="1912">
                  <c:v>42296</c:v>
                </c:pt>
                <c:pt idx="1913">
                  <c:v>42297</c:v>
                </c:pt>
                <c:pt idx="1914">
                  <c:v>42298</c:v>
                </c:pt>
                <c:pt idx="1915">
                  <c:v>42299</c:v>
                </c:pt>
                <c:pt idx="1916">
                  <c:v>42300</c:v>
                </c:pt>
                <c:pt idx="1917">
                  <c:v>42303</c:v>
                </c:pt>
                <c:pt idx="1918">
                  <c:v>42304</c:v>
                </c:pt>
                <c:pt idx="1919">
                  <c:v>42305</c:v>
                </c:pt>
                <c:pt idx="1920">
                  <c:v>42306</c:v>
                </c:pt>
                <c:pt idx="1921">
                  <c:v>42307</c:v>
                </c:pt>
                <c:pt idx="1922">
                  <c:v>42310</c:v>
                </c:pt>
                <c:pt idx="1923">
                  <c:v>42311</c:v>
                </c:pt>
                <c:pt idx="1924">
                  <c:v>42312</c:v>
                </c:pt>
                <c:pt idx="1925">
                  <c:v>42313</c:v>
                </c:pt>
                <c:pt idx="1926">
                  <c:v>42314</c:v>
                </c:pt>
                <c:pt idx="1927">
                  <c:v>42317</c:v>
                </c:pt>
                <c:pt idx="1928">
                  <c:v>42318</c:v>
                </c:pt>
                <c:pt idx="1929">
                  <c:v>42319</c:v>
                </c:pt>
                <c:pt idx="1930">
                  <c:v>42320</c:v>
                </c:pt>
                <c:pt idx="1931">
                  <c:v>42321</c:v>
                </c:pt>
                <c:pt idx="1932">
                  <c:v>42324</c:v>
                </c:pt>
                <c:pt idx="1933">
                  <c:v>42325</c:v>
                </c:pt>
                <c:pt idx="1934">
                  <c:v>42326</c:v>
                </c:pt>
                <c:pt idx="1935">
                  <c:v>42327</c:v>
                </c:pt>
                <c:pt idx="1936">
                  <c:v>42328</c:v>
                </c:pt>
                <c:pt idx="1937">
                  <c:v>42331</c:v>
                </c:pt>
                <c:pt idx="1938">
                  <c:v>42332</c:v>
                </c:pt>
                <c:pt idx="1939">
                  <c:v>42333</c:v>
                </c:pt>
                <c:pt idx="1940">
                  <c:v>42334</c:v>
                </c:pt>
                <c:pt idx="1941">
                  <c:v>42335</c:v>
                </c:pt>
                <c:pt idx="1942">
                  <c:v>42338</c:v>
                </c:pt>
                <c:pt idx="1943">
                  <c:v>42339</c:v>
                </c:pt>
                <c:pt idx="1944">
                  <c:v>42340</c:v>
                </c:pt>
                <c:pt idx="1945">
                  <c:v>42341</c:v>
                </c:pt>
                <c:pt idx="1946">
                  <c:v>42342</c:v>
                </c:pt>
                <c:pt idx="1947">
                  <c:v>42345</c:v>
                </c:pt>
                <c:pt idx="1948">
                  <c:v>42346</c:v>
                </c:pt>
                <c:pt idx="1949">
                  <c:v>42347</c:v>
                </c:pt>
                <c:pt idx="1950">
                  <c:v>42348</c:v>
                </c:pt>
                <c:pt idx="1951">
                  <c:v>42349</c:v>
                </c:pt>
                <c:pt idx="1952">
                  <c:v>42352</c:v>
                </c:pt>
                <c:pt idx="1953">
                  <c:v>42353</c:v>
                </c:pt>
                <c:pt idx="1954">
                  <c:v>42354</c:v>
                </c:pt>
                <c:pt idx="1955">
                  <c:v>42355</c:v>
                </c:pt>
                <c:pt idx="1956">
                  <c:v>42356</c:v>
                </c:pt>
                <c:pt idx="1957">
                  <c:v>42359</c:v>
                </c:pt>
                <c:pt idx="1958">
                  <c:v>42360</c:v>
                </c:pt>
                <c:pt idx="1959">
                  <c:v>42361</c:v>
                </c:pt>
                <c:pt idx="1960">
                  <c:v>42362</c:v>
                </c:pt>
                <c:pt idx="1961">
                  <c:v>42363</c:v>
                </c:pt>
                <c:pt idx="1962">
                  <c:v>42366</c:v>
                </c:pt>
                <c:pt idx="1963">
                  <c:v>42367</c:v>
                </c:pt>
                <c:pt idx="1964">
                  <c:v>42368</c:v>
                </c:pt>
                <c:pt idx="1965">
                  <c:v>42369</c:v>
                </c:pt>
                <c:pt idx="1966">
                  <c:v>42373</c:v>
                </c:pt>
                <c:pt idx="1967">
                  <c:v>42374</c:v>
                </c:pt>
                <c:pt idx="1968">
                  <c:v>42375</c:v>
                </c:pt>
                <c:pt idx="1969">
                  <c:v>42376</c:v>
                </c:pt>
                <c:pt idx="1970">
                  <c:v>42377</c:v>
                </c:pt>
                <c:pt idx="1971">
                  <c:v>42380</c:v>
                </c:pt>
                <c:pt idx="1972">
                  <c:v>42381</c:v>
                </c:pt>
                <c:pt idx="1973">
                  <c:v>42382</c:v>
                </c:pt>
                <c:pt idx="1974">
                  <c:v>42383</c:v>
                </c:pt>
                <c:pt idx="1975">
                  <c:v>42384</c:v>
                </c:pt>
                <c:pt idx="1976">
                  <c:v>42387</c:v>
                </c:pt>
                <c:pt idx="1977">
                  <c:v>42388</c:v>
                </c:pt>
                <c:pt idx="1978">
                  <c:v>42389</c:v>
                </c:pt>
                <c:pt idx="1979">
                  <c:v>42390</c:v>
                </c:pt>
                <c:pt idx="1980">
                  <c:v>42391</c:v>
                </c:pt>
                <c:pt idx="1981">
                  <c:v>42394</c:v>
                </c:pt>
                <c:pt idx="1982">
                  <c:v>42395</c:v>
                </c:pt>
                <c:pt idx="1983">
                  <c:v>42396</c:v>
                </c:pt>
                <c:pt idx="1984">
                  <c:v>42397</c:v>
                </c:pt>
                <c:pt idx="1985">
                  <c:v>42398</c:v>
                </c:pt>
                <c:pt idx="1986">
                  <c:v>42401</c:v>
                </c:pt>
                <c:pt idx="1987">
                  <c:v>42402</c:v>
                </c:pt>
                <c:pt idx="1988">
                  <c:v>42403</c:v>
                </c:pt>
                <c:pt idx="1989">
                  <c:v>42404</c:v>
                </c:pt>
                <c:pt idx="1990">
                  <c:v>42405</c:v>
                </c:pt>
                <c:pt idx="1991">
                  <c:v>42415</c:v>
                </c:pt>
                <c:pt idx="1992">
                  <c:v>42416</c:v>
                </c:pt>
                <c:pt idx="1993">
                  <c:v>42417</c:v>
                </c:pt>
                <c:pt idx="1994">
                  <c:v>42418</c:v>
                </c:pt>
                <c:pt idx="1995">
                  <c:v>42419</c:v>
                </c:pt>
                <c:pt idx="1996">
                  <c:v>42422</c:v>
                </c:pt>
                <c:pt idx="1997">
                  <c:v>42423</c:v>
                </c:pt>
                <c:pt idx="1998">
                  <c:v>42424</c:v>
                </c:pt>
                <c:pt idx="1999">
                  <c:v>42425</c:v>
                </c:pt>
                <c:pt idx="2000">
                  <c:v>42426</c:v>
                </c:pt>
                <c:pt idx="2001">
                  <c:v>42429</c:v>
                </c:pt>
                <c:pt idx="2002">
                  <c:v>42430</c:v>
                </c:pt>
                <c:pt idx="2003">
                  <c:v>42431</c:v>
                </c:pt>
                <c:pt idx="2004">
                  <c:v>42432</c:v>
                </c:pt>
                <c:pt idx="2005">
                  <c:v>42433</c:v>
                </c:pt>
                <c:pt idx="2006">
                  <c:v>42436</c:v>
                </c:pt>
                <c:pt idx="2007">
                  <c:v>42437</c:v>
                </c:pt>
                <c:pt idx="2008">
                  <c:v>42438</c:v>
                </c:pt>
                <c:pt idx="2009">
                  <c:v>42439</c:v>
                </c:pt>
                <c:pt idx="2010">
                  <c:v>42440</c:v>
                </c:pt>
                <c:pt idx="2011">
                  <c:v>42443</c:v>
                </c:pt>
                <c:pt idx="2012">
                  <c:v>42444</c:v>
                </c:pt>
                <c:pt idx="2013">
                  <c:v>42445</c:v>
                </c:pt>
                <c:pt idx="2014">
                  <c:v>42446</c:v>
                </c:pt>
                <c:pt idx="2015">
                  <c:v>42447</c:v>
                </c:pt>
                <c:pt idx="2016">
                  <c:v>42450</c:v>
                </c:pt>
                <c:pt idx="2017">
                  <c:v>42451</c:v>
                </c:pt>
                <c:pt idx="2018">
                  <c:v>42452</c:v>
                </c:pt>
                <c:pt idx="2019">
                  <c:v>42453</c:v>
                </c:pt>
                <c:pt idx="2020">
                  <c:v>42454</c:v>
                </c:pt>
                <c:pt idx="2021">
                  <c:v>42457</c:v>
                </c:pt>
                <c:pt idx="2022">
                  <c:v>42458</c:v>
                </c:pt>
                <c:pt idx="2023">
                  <c:v>42459</c:v>
                </c:pt>
                <c:pt idx="2024">
                  <c:v>42460</c:v>
                </c:pt>
                <c:pt idx="2025">
                  <c:v>42461</c:v>
                </c:pt>
                <c:pt idx="2026">
                  <c:v>42465</c:v>
                </c:pt>
                <c:pt idx="2027">
                  <c:v>42466</c:v>
                </c:pt>
                <c:pt idx="2028">
                  <c:v>42467</c:v>
                </c:pt>
                <c:pt idx="2029">
                  <c:v>42468</c:v>
                </c:pt>
                <c:pt idx="2030">
                  <c:v>42471</c:v>
                </c:pt>
                <c:pt idx="2031">
                  <c:v>42472</c:v>
                </c:pt>
                <c:pt idx="2032">
                  <c:v>42473</c:v>
                </c:pt>
                <c:pt idx="2033">
                  <c:v>42474</c:v>
                </c:pt>
                <c:pt idx="2034">
                  <c:v>42475</c:v>
                </c:pt>
                <c:pt idx="2035">
                  <c:v>42478</c:v>
                </c:pt>
                <c:pt idx="2036">
                  <c:v>42479</c:v>
                </c:pt>
                <c:pt idx="2037">
                  <c:v>42480</c:v>
                </c:pt>
                <c:pt idx="2038">
                  <c:v>42481</c:v>
                </c:pt>
                <c:pt idx="2039">
                  <c:v>42482</c:v>
                </c:pt>
                <c:pt idx="2040">
                  <c:v>42485</c:v>
                </c:pt>
                <c:pt idx="2041">
                  <c:v>42486</c:v>
                </c:pt>
                <c:pt idx="2042">
                  <c:v>42487</c:v>
                </c:pt>
                <c:pt idx="2043">
                  <c:v>42488</c:v>
                </c:pt>
                <c:pt idx="2044">
                  <c:v>42489</c:v>
                </c:pt>
                <c:pt idx="2045">
                  <c:v>42493</c:v>
                </c:pt>
                <c:pt idx="2046">
                  <c:v>42494</c:v>
                </c:pt>
                <c:pt idx="2047">
                  <c:v>42495</c:v>
                </c:pt>
                <c:pt idx="2048">
                  <c:v>42496</c:v>
                </c:pt>
                <c:pt idx="2049">
                  <c:v>42499</c:v>
                </c:pt>
                <c:pt idx="2050">
                  <c:v>42500</c:v>
                </c:pt>
                <c:pt idx="2051">
                  <c:v>42501</c:v>
                </c:pt>
                <c:pt idx="2052">
                  <c:v>42502</c:v>
                </c:pt>
                <c:pt idx="2053">
                  <c:v>42503</c:v>
                </c:pt>
                <c:pt idx="2054">
                  <c:v>42506</c:v>
                </c:pt>
                <c:pt idx="2055">
                  <c:v>42507</c:v>
                </c:pt>
                <c:pt idx="2056">
                  <c:v>42508</c:v>
                </c:pt>
                <c:pt idx="2057">
                  <c:v>42509</c:v>
                </c:pt>
                <c:pt idx="2058">
                  <c:v>42510</c:v>
                </c:pt>
                <c:pt idx="2059">
                  <c:v>42513</c:v>
                </c:pt>
                <c:pt idx="2060">
                  <c:v>42514</c:v>
                </c:pt>
                <c:pt idx="2061">
                  <c:v>42515</c:v>
                </c:pt>
                <c:pt idx="2062">
                  <c:v>42516</c:v>
                </c:pt>
                <c:pt idx="2063">
                  <c:v>42517</c:v>
                </c:pt>
                <c:pt idx="2064">
                  <c:v>42520</c:v>
                </c:pt>
                <c:pt idx="2065">
                  <c:v>42521</c:v>
                </c:pt>
                <c:pt idx="2066">
                  <c:v>42522</c:v>
                </c:pt>
                <c:pt idx="2067">
                  <c:v>42523</c:v>
                </c:pt>
                <c:pt idx="2068">
                  <c:v>42524</c:v>
                </c:pt>
                <c:pt idx="2069">
                  <c:v>42527</c:v>
                </c:pt>
                <c:pt idx="2070">
                  <c:v>42528</c:v>
                </c:pt>
                <c:pt idx="2071">
                  <c:v>42529</c:v>
                </c:pt>
                <c:pt idx="2072">
                  <c:v>42534</c:v>
                </c:pt>
                <c:pt idx="2073">
                  <c:v>42535</c:v>
                </c:pt>
                <c:pt idx="2074">
                  <c:v>42536</c:v>
                </c:pt>
                <c:pt idx="2075">
                  <c:v>42537</c:v>
                </c:pt>
                <c:pt idx="2076">
                  <c:v>42538</c:v>
                </c:pt>
                <c:pt idx="2077">
                  <c:v>42541</c:v>
                </c:pt>
                <c:pt idx="2078">
                  <c:v>42542</c:v>
                </c:pt>
                <c:pt idx="2079">
                  <c:v>42543</c:v>
                </c:pt>
                <c:pt idx="2080">
                  <c:v>42544</c:v>
                </c:pt>
                <c:pt idx="2081">
                  <c:v>42545</c:v>
                </c:pt>
                <c:pt idx="2082">
                  <c:v>42548</c:v>
                </c:pt>
                <c:pt idx="2083">
                  <c:v>42549</c:v>
                </c:pt>
                <c:pt idx="2084">
                  <c:v>42550</c:v>
                </c:pt>
                <c:pt idx="2085">
                  <c:v>42551</c:v>
                </c:pt>
                <c:pt idx="2086">
                  <c:v>42552</c:v>
                </c:pt>
                <c:pt idx="2087">
                  <c:v>42555</c:v>
                </c:pt>
                <c:pt idx="2088">
                  <c:v>42556</c:v>
                </c:pt>
                <c:pt idx="2089">
                  <c:v>42557</c:v>
                </c:pt>
                <c:pt idx="2090">
                  <c:v>42558</c:v>
                </c:pt>
                <c:pt idx="2091">
                  <c:v>42559</c:v>
                </c:pt>
                <c:pt idx="2092">
                  <c:v>42562</c:v>
                </c:pt>
                <c:pt idx="2093">
                  <c:v>42563</c:v>
                </c:pt>
                <c:pt idx="2094">
                  <c:v>42564</c:v>
                </c:pt>
                <c:pt idx="2095">
                  <c:v>42565</c:v>
                </c:pt>
                <c:pt idx="2096">
                  <c:v>42566</c:v>
                </c:pt>
                <c:pt idx="2097">
                  <c:v>42569</c:v>
                </c:pt>
                <c:pt idx="2098">
                  <c:v>42570</c:v>
                </c:pt>
                <c:pt idx="2099">
                  <c:v>42571</c:v>
                </c:pt>
                <c:pt idx="2100">
                  <c:v>42572</c:v>
                </c:pt>
                <c:pt idx="2101">
                  <c:v>42573</c:v>
                </c:pt>
                <c:pt idx="2102">
                  <c:v>42576</c:v>
                </c:pt>
                <c:pt idx="2103">
                  <c:v>42577</c:v>
                </c:pt>
                <c:pt idx="2104">
                  <c:v>42578</c:v>
                </c:pt>
                <c:pt idx="2105">
                  <c:v>42579</c:v>
                </c:pt>
                <c:pt idx="2106">
                  <c:v>42580</c:v>
                </c:pt>
                <c:pt idx="2107">
                  <c:v>42583</c:v>
                </c:pt>
                <c:pt idx="2108">
                  <c:v>42584</c:v>
                </c:pt>
                <c:pt idx="2109">
                  <c:v>42585</c:v>
                </c:pt>
                <c:pt idx="2110">
                  <c:v>42586</c:v>
                </c:pt>
                <c:pt idx="2111">
                  <c:v>42587</c:v>
                </c:pt>
                <c:pt idx="2112">
                  <c:v>42590</c:v>
                </c:pt>
                <c:pt idx="2113">
                  <c:v>42591</c:v>
                </c:pt>
                <c:pt idx="2114">
                  <c:v>42592</c:v>
                </c:pt>
                <c:pt idx="2115">
                  <c:v>42593</c:v>
                </c:pt>
                <c:pt idx="2116">
                  <c:v>42594</c:v>
                </c:pt>
                <c:pt idx="2117">
                  <c:v>42597</c:v>
                </c:pt>
                <c:pt idx="2118">
                  <c:v>42598</c:v>
                </c:pt>
                <c:pt idx="2119">
                  <c:v>42599</c:v>
                </c:pt>
                <c:pt idx="2120">
                  <c:v>42600</c:v>
                </c:pt>
                <c:pt idx="2121">
                  <c:v>42601</c:v>
                </c:pt>
                <c:pt idx="2122">
                  <c:v>42604</c:v>
                </c:pt>
                <c:pt idx="2123">
                  <c:v>42605</c:v>
                </c:pt>
                <c:pt idx="2124">
                  <c:v>42606</c:v>
                </c:pt>
                <c:pt idx="2125">
                  <c:v>42607</c:v>
                </c:pt>
                <c:pt idx="2126">
                  <c:v>42608</c:v>
                </c:pt>
                <c:pt idx="2127">
                  <c:v>42611</c:v>
                </c:pt>
                <c:pt idx="2128">
                  <c:v>42612</c:v>
                </c:pt>
                <c:pt idx="2129">
                  <c:v>42613</c:v>
                </c:pt>
                <c:pt idx="2130">
                  <c:v>42614</c:v>
                </c:pt>
                <c:pt idx="2131">
                  <c:v>42615</c:v>
                </c:pt>
                <c:pt idx="2132">
                  <c:v>42618</c:v>
                </c:pt>
                <c:pt idx="2133">
                  <c:v>42619</c:v>
                </c:pt>
                <c:pt idx="2134">
                  <c:v>42620</c:v>
                </c:pt>
                <c:pt idx="2135">
                  <c:v>42621</c:v>
                </c:pt>
                <c:pt idx="2136">
                  <c:v>42622</c:v>
                </c:pt>
                <c:pt idx="2137">
                  <c:v>42625</c:v>
                </c:pt>
                <c:pt idx="2138">
                  <c:v>42626</c:v>
                </c:pt>
                <c:pt idx="2139">
                  <c:v>42627</c:v>
                </c:pt>
                <c:pt idx="2140">
                  <c:v>42632</c:v>
                </c:pt>
                <c:pt idx="2141">
                  <c:v>42633</c:v>
                </c:pt>
                <c:pt idx="2142">
                  <c:v>42634</c:v>
                </c:pt>
                <c:pt idx="2143">
                  <c:v>42635</c:v>
                </c:pt>
                <c:pt idx="2144">
                  <c:v>42636</c:v>
                </c:pt>
                <c:pt idx="2145">
                  <c:v>42639</c:v>
                </c:pt>
                <c:pt idx="2146">
                  <c:v>42640</c:v>
                </c:pt>
                <c:pt idx="2147">
                  <c:v>42641</c:v>
                </c:pt>
                <c:pt idx="2148">
                  <c:v>42642</c:v>
                </c:pt>
                <c:pt idx="2149">
                  <c:v>42643</c:v>
                </c:pt>
                <c:pt idx="2150">
                  <c:v>42653</c:v>
                </c:pt>
                <c:pt idx="2151">
                  <c:v>42654</c:v>
                </c:pt>
                <c:pt idx="2152">
                  <c:v>42655</c:v>
                </c:pt>
                <c:pt idx="2153">
                  <c:v>42656</c:v>
                </c:pt>
                <c:pt idx="2154">
                  <c:v>42657</c:v>
                </c:pt>
                <c:pt idx="2155">
                  <c:v>42660</c:v>
                </c:pt>
                <c:pt idx="2156">
                  <c:v>42661</c:v>
                </c:pt>
                <c:pt idx="2157">
                  <c:v>42662</c:v>
                </c:pt>
                <c:pt idx="2158">
                  <c:v>42663</c:v>
                </c:pt>
                <c:pt idx="2159">
                  <c:v>42664</c:v>
                </c:pt>
                <c:pt idx="2160">
                  <c:v>42667</c:v>
                </c:pt>
                <c:pt idx="2161">
                  <c:v>42668</c:v>
                </c:pt>
                <c:pt idx="2162">
                  <c:v>42669</c:v>
                </c:pt>
                <c:pt idx="2163">
                  <c:v>42670</c:v>
                </c:pt>
                <c:pt idx="2164">
                  <c:v>42671</c:v>
                </c:pt>
                <c:pt idx="2165">
                  <c:v>42674</c:v>
                </c:pt>
                <c:pt idx="2166">
                  <c:v>42675</c:v>
                </c:pt>
                <c:pt idx="2167">
                  <c:v>42676</c:v>
                </c:pt>
                <c:pt idx="2168">
                  <c:v>42677</c:v>
                </c:pt>
                <c:pt idx="2169">
                  <c:v>42678</c:v>
                </c:pt>
                <c:pt idx="2170">
                  <c:v>42681</c:v>
                </c:pt>
                <c:pt idx="2171">
                  <c:v>42682</c:v>
                </c:pt>
                <c:pt idx="2172">
                  <c:v>42683</c:v>
                </c:pt>
                <c:pt idx="2173">
                  <c:v>42684</c:v>
                </c:pt>
                <c:pt idx="2174">
                  <c:v>42685</c:v>
                </c:pt>
                <c:pt idx="2175">
                  <c:v>42688</c:v>
                </c:pt>
                <c:pt idx="2176">
                  <c:v>42689</c:v>
                </c:pt>
                <c:pt idx="2177">
                  <c:v>42690</c:v>
                </c:pt>
                <c:pt idx="2178">
                  <c:v>42691</c:v>
                </c:pt>
                <c:pt idx="2179">
                  <c:v>42692</c:v>
                </c:pt>
                <c:pt idx="2180">
                  <c:v>42695</c:v>
                </c:pt>
                <c:pt idx="2181">
                  <c:v>42696</c:v>
                </c:pt>
                <c:pt idx="2182">
                  <c:v>42697</c:v>
                </c:pt>
                <c:pt idx="2183">
                  <c:v>42698</c:v>
                </c:pt>
                <c:pt idx="2184">
                  <c:v>42699</c:v>
                </c:pt>
                <c:pt idx="2185">
                  <c:v>42702</c:v>
                </c:pt>
                <c:pt idx="2186">
                  <c:v>42703</c:v>
                </c:pt>
                <c:pt idx="2187">
                  <c:v>42704</c:v>
                </c:pt>
                <c:pt idx="2188">
                  <c:v>42705</c:v>
                </c:pt>
                <c:pt idx="2189">
                  <c:v>42706</c:v>
                </c:pt>
                <c:pt idx="2190">
                  <c:v>42709</c:v>
                </c:pt>
                <c:pt idx="2191">
                  <c:v>42710</c:v>
                </c:pt>
                <c:pt idx="2192">
                  <c:v>42711</c:v>
                </c:pt>
                <c:pt idx="2193">
                  <c:v>42712</c:v>
                </c:pt>
                <c:pt idx="2194">
                  <c:v>42713</c:v>
                </c:pt>
                <c:pt idx="2195">
                  <c:v>42716</c:v>
                </c:pt>
                <c:pt idx="2196">
                  <c:v>42717</c:v>
                </c:pt>
                <c:pt idx="2197">
                  <c:v>42718</c:v>
                </c:pt>
                <c:pt idx="2198">
                  <c:v>42719</c:v>
                </c:pt>
                <c:pt idx="2199">
                  <c:v>42720</c:v>
                </c:pt>
                <c:pt idx="2200">
                  <c:v>42723</c:v>
                </c:pt>
                <c:pt idx="2201">
                  <c:v>42724</c:v>
                </c:pt>
                <c:pt idx="2202">
                  <c:v>42725</c:v>
                </c:pt>
                <c:pt idx="2203">
                  <c:v>42726</c:v>
                </c:pt>
                <c:pt idx="2204">
                  <c:v>42727</c:v>
                </c:pt>
                <c:pt idx="2205">
                  <c:v>42730</c:v>
                </c:pt>
                <c:pt idx="2206">
                  <c:v>42731</c:v>
                </c:pt>
                <c:pt idx="2207">
                  <c:v>42732</c:v>
                </c:pt>
                <c:pt idx="2208">
                  <c:v>42733</c:v>
                </c:pt>
                <c:pt idx="2209">
                  <c:v>42734</c:v>
                </c:pt>
                <c:pt idx="2210">
                  <c:v>42738</c:v>
                </c:pt>
                <c:pt idx="2211">
                  <c:v>42739</c:v>
                </c:pt>
                <c:pt idx="2212">
                  <c:v>42740</c:v>
                </c:pt>
                <c:pt idx="2213">
                  <c:v>42741</c:v>
                </c:pt>
                <c:pt idx="2214">
                  <c:v>42744</c:v>
                </c:pt>
                <c:pt idx="2215">
                  <c:v>42745</c:v>
                </c:pt>
                <c:pt idx="2216">
                  <c:v>42746</c:v>
                </c:pt>
                <c:pt idx="2217">
                  <c:v>42747</c:v>
                </c:pt>
                <c:pt idx="2218">
                  <c:v>42748</c:v>
                </c:pt>
                <c:pt idx="2219">
                  <c:v>42751</c:v>
                </c:pt>
                <c:pt idx="2220">
                  <c:v>42752</c:v>
                </c:pt>
                <c:pt idx="2221">
                  <c:v>42753</c:v>
                </c:pt>
                <c:pt idx="2222">
                  <c:v>42754</c:v>
                </c:pt>
                <c:pt idx="2223">
                  <c:v>42755</c:v>
                </c:pt>
                <c:pt idx="2224">
                  <c:v>42758</c:v>
                </c:pt>
                <c:pt idx="2225">
                  <c:v>42759</c:v>
                </c:pt>
                <c:pt idx="2226">
                  <c:v>42760</c:v>
                </c:pt>
                <c:pt idx="2227">
                  <c:v>42761</c:v>
                </c:pt>
                <c:pt idx="2228">
                  <c:v>42769</c:v>
                </c:pt>
                <c:pt idx="2229">
                  <c:v>42772</c:v>
                </c:pt>
                <c:pt idx="2230">
                  <c:v>42773</c:v>
                </c:pt>
                <c:pt idx="2231">
                  <c:v>42774</c:v>
                </c:pt>
                <c:pt idx="2232">
                  <c:v>42775</c:v>
                </c:pt>
                <c:pt idx="2233">
                  <c:v>42776</c:v>
                </c:pt>
                <c:pt idx="2234">
                  <c:v>42779</c:v>
                </c:pt>
                <c:pt idx="2235">
                  <c:v>42780</c:v>
                </c:pt>
                <c:pt idx="2236">
                  <c:v>42781</c:v>
                </c:pt>
                <c:pt idx="2237">
                  <c:v>42782</c:v>
                </c:pt>
                <c:pt idx="2238">
                  <c:v>42783</c:v>
                </c:pt>
                <c:pt idx="2239">
                  <c:v>42786</c:v>
                </c:pt>
                <c:pt idx="2240">
                  <c:v>42787</c:v>
                </c:pt>
                <c:pt idx="2241">
                  <c:v>42788</c:v>
                </c:pt>
                <c:pt idx="2242">
                  <c:v>42789</c:v>
                </c:pt>
                <c:pt idx="2243">
                  <c:v>42790</c:v>
                </c:pt>
                <c:pt idx="2244">
                  <c:v>42793</c:v>
                </c:pt>
                <c:pt idx="2245">
                  <c:v>42794</c:v>
                </c:pt>
                <c:pt idx="2246">
                  <c:v>42795</c:v>
                </c:pt>
                <c:pt idx="2247">
                  <c:v>42796</c:v>
                </c:pt>
                <c:pt idx="2248">
                  <c:v>42797</c:v>
                </c:pt>
                <c:pt idx="2249">
                  <c:v>42800</c:v>
                </c:pt>
                <c:pt idx="2250">
                  <c:v>42801</c:v>
                </c:pt>
                <c:pt idx="2251">
                  <c:v>42802</c:v>
                </c:pt>
                <c:pt idx="2252">
                  <c:v>42803</c:v>
                </c:pt>
                <c:pt idx="2253">
                  <c:v>42804</c:v>
                </c:pt>
                <c:pt idx="2254">
                  <c:v>42807</c:v>
                </c:pt>
                <c:pt idx="2255">
                  <c:v>42808</c:v>
                </c:pt>
                <c:pt idx="2256">
                  <c:v>42809</c:v>
                </c:pt>
                <c:pt idx="2257">
                  <c:v>42810</c:v>
                </c:pt>
                <c:pt idx="2258">
                  <c:v>42811</c:v>
                </c:pt>
                <c:pt idx="2259">
                  <c:v>42814</c:v>
                </c:pt>
                <c:pt idx="2260">
                  <c:v>42815</c:v>
                </c:pt>
                <c:pt idx="2261">
                  <c:v>42816</c:v>
                </c:pt>
                <c:pt idx="2262">
                  <c:v>42817</c:v>
                </c:pt>
                <c:pt idx="2263">
                  <c:v>42818</c:v>
                </c:pt>
                <c:pt idx="2264">
                  <c:v>42821</c:v>
                </c:pt>
                <c:pt idx="2265">
                  <c:v>42822</c:v>
                </c:pt>
                <c:pt idx="2266">
                  <c:v>42823</c:v>
                </c:pt>
                <c:pt idx="2267">
                  <c:v>42824</c:v>
                </c:pt>
                <c:pt idx="2268">
                  <c:v>42825</c:v>
                </c:pt>
                <c:pt idx="2269">
                  <c:v>42830</c:v>
                </c:pt>
                <c:pt idx="2270">
                  <c:v>42831</c:v>
                </c:pt>
                <c:pt idx="2271">
                  <c:v>42832</c:v>
                </c:pt>
                <c:pt idx="2272">
                  <c:v>42835</c:v>
                </c:pt>
                <c:pt idx="2273">
                  <c:v>42836</c:v>
                </c:pt>
                <c:pt idx="2274">
                  <c:v>42837</c:v>
                </c:pt>
                <c:pt idx="2275">
                  <c:v>42838</c:v>
                </c:pt>
                <c:pt idx="2276">
                  <c:v>42839</c:v>
                </c:pt>
                <c:pt idx="2277">
                  <c:v>42842</c:v>
                </c:pt>
                <c:pt idx="2278">
                  <c:v>42843</c:v>
                </c:pt>
                <c:pt idx="2279">
                  <c:v>42844</c:v>
                </c:pt>
                <c:pt idx="2280">
                  <c:v>42845</c:v>
                </c:pt>
                <c:pt idx="2281">
                  <c:v>42846</c:v>
                </c:pt>
                <c:pt idx="2282">
                  <c:v>42849</c:v>
                </c:pt>
                <c:pt idx="2283">
                  <c:v>42850</c:v>
                </c:pt>
                <c:pt idx="2284">
                  <c:v>42851</c:v>
                </c:pt>
                <c:pt idx="2285">
                  <c:v>42852</c:v>
                </c:pt>
                <c:pt idx="2286">
                  <c:v>42853</c:v>
                </c:pt>
                <c:pt idx="2287">
                  <c:v>42857</c:v>
                </c:pt>
                <c:pt idx="2288">
                  <c:v>42858</c:v>
                </c:pt>
                <c:pt idx="2289">
                  <c:v>42859</c:v>
                </c:pt>
                <c:pt idx="2290">
                  <c:v>42860</c:v>
                </c:pt>
                <c:pt idx="2291">
                  <c:v>42863</c:v>
                </c:pt>
                <c:pt idx="2292">
                  <c:v>42864</c:v>
                </c:pt>
                <c:pt idx="2293">
                  <c:v>42865</c:v>
                </c:pt>
                <c:pt idx="2294">
                  <c:v>42866</c:v>
                </c:pt>
                <c:pt idx="2295">
                  <c:v>42867</c:v>
                </c:pt>
                <c:pt idx="2296">
                  <c:v>42870</c:v>
                </c:pt>
                <c:pt idx="2297">
                  <c:v>42871</c:v>
                </c:pt>
                <c:pt idx="2298">
                  <c:v>42872</c:v>
                </c:pt>
                <c:pt idx="2299">
                  <c:v>42873</c:v>
                </c:pt>
                <c:pt idx="2300">
                  <c:v>42874</c:v>
                </c:pt>
                <c:pt idx="2301">
                  <c:v>42877</c:v>
                </c:pt>
                <c:pt idx="2302">
                  <c:v>42878</c:v>
                </c:pt>
                <c:pt idx="2303">
                  <c:v>42879</c:v>
                </c:pt>
                <c:pt idx="2304">
                  <c:v>42880</c:v>
                </c:pt>
                <c:pt idx="2305">
                  <c:v>42881</c:v>
                </c:pt>
                <c:pt idx="2306">
                  <c:v>42886</c:v>
                </c:pt>
                <c:pt idx="2307">
                  <c:v>42887</c:v>
                </c:pt>
                <c:pt idx="2308">
                  <c:v>42888</c:v>
                </c:pt>
                <c:pt idx="2309">
                  <c:v>42891</c:v>
                </c:pt>
                <c:pt idx="2310">
                  <c:v>42892</c:v>
                </c:pt>
                <c:pt idx="2311">
                  <c:v>42893</c:v>
                </c:pt>
                <c:pt idx="2312">
                  <c:v>42894</c:v>
                </c:pt>
                <c:pt idx="2313">
                  <c:v>42895</c:v>
                </c:pt>
                <c:pt idx="2314">
                  <c:v>42898</c:v>
                </c:pt>
                <c:pt idx="2315">
                  <c:v>42899</c:v>
                </c:pt>
                <c:pt idx="2316">
                  <c:v>42900</c:v>
                </c:pt>
                <c:pt idx="2317">
                  <c:v>42901</c:v>
                </c:pt>
                <c:pt idx="2318">
                  <c:v>42902</c:v>
                </c:pt>
                <c:pt idx="2319">
                  <c:v>42905</c:v>
                </c:pt>
                <c:pt idx="2320">
                  <c:v>42906</c:v>
                </c:pt>
                <c:pt idx="2321">
                  <c:v>42907</c:v>
                </c:pt>
                <c:pt idx="2322">
                  <c:v>42908</c:v>
                </c:pt>
                <c:pt idx="2323">
                  <c:v>42909</c:v>
                </c:pt>
                <c:pt idx="2324">
                  <c:v>42912</c:v>
                </c:pt>
                <c:pt idx="2325">
                  <c:v>42913</c:v>
                </c:pt>
                <c:pt idx="2326">
                  <c:v>42914</c:v>
                </c:pt>
                <c:pt idx="2327">
                  <c:v>42915</c:v>
                </c:pt>
                <c:pt idx="2328">
                  <c:v>42916</c:v>
                </c:pt>
                <c:pt idx="2329">
                  <c:v>42919</c:v>
                </c:pt>
                <c:pt idx="2330">
                  <c:v>42920</c:v>
                </c:pt>
                <c:pt idx="2331">
                  <c:v>42921</c:v>
                </c:pt>
                <c:pt idx="2332">
                  <c:v>42922</c:v>
                </c:pt>
                <c:pt idx="2333">
                  <c:v>42923</c:v>
                </c:pt>
                <c:pt idx="2334">
                  <c:v>42926</c:v>
                </c:pt>
                <c:pt idx="2335">
                  <c:v>42927</c:v>
                </c:pt>
                <c:pt idx="2336">
                  <c:v>42928</c:v>
                </c:pt>
                <c:pt idx="2337">
                  <c:v>42929</c:v>
                </c:pt>
                <c:pt idx="2338">
                  <c:v>42930</c:v>
                </c:pt>
                <c:pt idx="2339">
                  <c:v>42933</c:v>
                </c:pt>
                <c:pt idx="2340">
                  <c:v>42934</c:v>
                </c:pt>
                <c:pt idx="2341">
                  <c:v>42935</c:v>
                </c:pt>
                <c:pt idx="2342">
                  <c:v>42936</c:v>
                </c:pt>
                <c:pt idx="2343">
                  <c:v>42937</c:v>
                </c:pt>
                <c:pt idx="2344">
                  <c:v>42940</c:v>
                </c:pt>
                <c:pt idx="2345">
                  <c:v>42941</c:v>
                </c:pt>
                <c:pt idx="2346">
                  <c:v>42942</c:v>
                </c:pt>
                <c:pt idx="2347">
                  <c:v>42943</c:v>
                </c:pt>
                <c:pt idx="2348">
                  <c:v>42944</c:v>
                </c:pt>
                <c:pt idx="2349">
                  <c:v>42947</c:v>
                </c:pt>
                <c:pt idx="2350">
                  <c:v>42948</c:v>
                </c:pt>
                <c:pt idx="2351">
                  <c:v>42949</c:v>
                </c:pt>
                <c:pt idx="2352">
                  <c:v>42950</c:v>
                </c:pt>
                <c:pt idx="2353">
                  <c:v>42951</c:v>
                </c:pt>
                <c:pt idx="2354">
                  <c:v>42954</c:v>
                </c:pt>
                <c:pt idx="2355">
                  <c:v>42955</c:v>
                </c:pt>
                <c:pt idx="2356">
                  <c:v>42956</c:v>
                </c:pt>
                <c:pt idx="2357">
                  <c:v>42957</c:v>
                </c:pt>
                <c:pt idx="2358">
                  <c:v>42958</c:v>
                </c:pt>
                <c:pt idx="2359">
                  <c:v>42961</c:v>
                </c:pt>
                <c:pt idx="2360">
                  <c:v>42962</c:v>
                </c:pt>
                <c:pt idx="2361">
                  <c:v>42963</c:v>
                </c:pt>
                <c:pt idx="2362">
                  <c:v>42964</c:v>
                </c:pt>
                <c:pt idx="2363">
                  <c:v>42965</c:v>
                </c:pt>
                <c:pt idx="2364">
                  <c:v>42968</c:v>
                </c:pt>
                <c:pt idx="2365">
                  <c:v>42969</c:v>
                </c:pt>
                <c:pt idx="2366">
                  <c:v>42970</c:v>
                </c:pt>
                <c:pt idx="2367">
                  <c:v>42971</c:v>
                </c:pt>
                <c:pt idx="2368">
                  <c:v>42972</c:v>
                </c:pt>
                <c:pt idx="2369">
                  <c:v>42975</c:v>
                </c:pt>
                <c:pt idx="2370">
                  <c:v>42976</c:v>
                </c:pt>
                <c:pt idx="2371">
                  <c:v>42977</c:v>
                </c:pt>
                <c:pt idx="2372">
                  <c:v>42978</c:v>
                </c:pt>
                <c:pt idx="2373">
                  <c:v>42979</c:v>
                </c:pt>
                <c:pt idx="2374">
                  <c:v>42982</c:v>
                </c:pt>
                <c:pt idx="2375">
                  <c:v>42983</c:v>
                </c:pt>
                <c:pt idx="2376">
                  <c:v>42984</c:v>
                </c:pt>
                <c:pt idx="2377">
                  <c:v>42985</c:v>
                </c:pt>
                <c:pt idx="2378">
                  <c:v>42986</c:v>
                </c:pt>
                <c:pt idx="2379">
                  <c:v>42989</c:v>
                </c:pt>
                <c:pt idx="2380">
                  <c:v>42990</c:v>
                </c:pt>
                <c:pt idx="2381">
                  <c:v>42991</c:v>
                </c:pt>
                <c:pt idx="2382">
                  <c:v>42992</c:v>
                </c:pt>
                <c:pt idx="2383">
                  <c:v>42993</c:v>
                </c:pt>
                <c:pt idx="2384">
                  <c:v>42996</c:v>
                </c:pt>
                <c:pt idx="2385">
                  <c:v>42997</c:v>
                </c:pt>
                <c:pt idx="2386">
                  <c:v>42998</c:v>
                </c:pt>
                <c:pt idx="2387">
                  <c:v>42999</c:v>
                </c:pt>
                <c:pt idx="2388">
                  <c:v>43000</c:v>
                </c:pt>
                <c:pt idx="2389">
                  <c:v>43003</c:v>
                </c:pt>
                <c:pt idx="2390">
                  <c:v>43004</c:v>
                </c:pt>
                <c:pt idx="2391">
                  <c:v>43005</c:v>
                </c:pt>
                <c:pt idx="2392">
                  <c:v>43006</c:v>
                </c:pt>
                <c:pt idx="2393">
                  <c:v>43007</c:v>
                </c:pt>
                <c:pt idx="2394">
                  <c:v>43017</c:v>
                </c:pt>
                <c:pt idx="2395">
                  <c:v>43018</c:v>
                </c:pt>
                <c:pt idx="2396">
                  <c:v>43019</c:v>
                </c:pt>
                <c:pt idx="2397">
                  <c:v>43020</c:v>
                </c:pt>
                <c:pt idx="2398">
                  <c:v>43021</c:v>
                </c:pt>
                <c:pt idx="2399">
                  <c:v>43024</c:v>
                </c:pt>
                <c:pt idx="2400">
                  <c:v>43025</c:v>
                </c:pt>
                <c:pt idx="2401">
                  <c:v>43026</c:v>
                </c:pt>
                <c:pt idx="2402">
                  <c:v>43027</c:v>
                </c:pt>
                <c:pt idx="2403">
                  <c:v>43028</c:v>
                </c:pt>
                <c:pt idx="2404">
                  <c:v>43031</c:v>
                </c:pt>
                <c:pt idx="2405">
                  <c:v>43032</c:v>
                </c:pt>
                <c:pt idx="2406">
                  <c:v>43033</c:v>
                </c:pt>
                <c:pt idx="2407">
                  <c:v>43034</c:v>
                </c:pt>
                <c:pt idx="2408">
                  <c:v>43035</c:v>
                </c:pt>
                <c:pt idx="2409">
                  <c:v>43038</c:v>
                </c:pt>
                <c:pt idx="2410">
                  <c:v>43039</c:v>
                </c:pt>
                <c:pt idx="2411">
                  <c:v>43040</c:v>
                </c:pt>
                <c:pt idx="2412">
                  <c:v>43041</c:v>
                </c:pt>
                <c:pt idx="2413">
                  <c:v>43042</c:v>
                </c:pt>
                <c:pt idx="2414">
                  <c:v>43045</c:v>
                </c:pt>
                <c:pt idx="2415">
                  <c:v>43046</c:v>
                </c:pt>
                <c:pt idx="2416">
                  <c:v>43047</c:v>
                </c:pt>
                <c:pt idx="2417">
                  <c:v>43048</c:v>
                </c:pt>
                <c:pt idx="2418">
                  <c:v>43049</c:v>
                </c:pt>
                <c:pt idx="2419">
                  <c:v>43052</c:v>
                </c:pt>
                <c:pt idx="2420">
                  <c:v>43053</c:v>
                </c:pt>
                <c:pt idx="2421">
                  <c:v>43054</c:v>
                </c:pt>
                <c:pt idx="2422">
                  <c:v>43055</c:v>
                </c:pt>
                <c:pt idx="2423">
                  <c:v>43056</c:v>
                </c:pt>
                <c:pt idx="2424">
                  <c:v>43059</c:v>
                </c:pt>
                <c:pt idx="2425">
                  <c:v>43060</c:v>
                </c:pt>
                <c:pt idx="2426">
                  <c:v>43061</c:v>
                </c:pt>
                <c:pt idx="2427">
                  <c:v>43062</c:v>
                </c:pt>
                <c:pt idx="2428">
                  <c:v>43063</c:v>
                </c:pt>
                <c:pt idx="2429">
                  <c:v>43066</c:v>
                </c:pt>
                <c:pt idx="2430">
                  <c:v>43067</c:v>
                </c:pt>
                <c:pt idx="2431">
                  <c:v>43068</c:v>
                </c:pt>
                <c:pt idx="2432">
                  <c:v>43069</c:v>
                </c:pt>
                <c:pt idx="2433">
                  <c:v>43070</c:v>
                </c:pt>
                <c:pt idx="2434">
                  <c:v>43073</c:v>
                </c:pt>
                <c:pt idx="2435">
                  <c:v>43074</c:v>
                </c:pt>
                <c:pt idx="2436">
                  <c:v>43075</c:v>
                </c:pt>
                <c:pt idx="2437">
                  <c:v>43076</c:v>
                </c:pt>
                <c:pt idx="2438">
                  <c:v>43077</c:v>
                </c:pt>
                <c:pt idx="2439">
                  <c:v>43080</c:v>
                </c:pt>
                <c:pt idx="2440">
                  <c:v>43081</c:v>
                </c:pt>
                <c:pt idx="2441">
                  <c:v>43082</c:v>
                </c:pt>
                <c:pt idx="2442">
                  <c:v>43083</c:v>
                </c:pt>
                <c:pt idx="2443">
                  <c:v>43084</c:v>
                </c:pt>
                <c:pt idx="2444">
                  <c:v>43087</c:v>
                </c:pt>
                <c:pt idx="2445">
                  <c:v>43088</c:v>
                </c:pt>
                <c:pt idx="2446">
                  <c:v>43089</c:v>
                </c:pt>
                <c:pt idx="2447">
                  <c:v>43090</c:v>
                </c:pt>
                <c:pt idx="2448">
                  <c:v>43091</c:v>
                </c:pt>
                <c:pt idx="2449">
                  <c:v>43094</c:v>
                </c:pt>
                <c:pt idx="2450">
                  <c:v>43095</c:v>
                </c:pt>
                <c:pt idx="2451">
                  <c:v>43096</c:v>
                </c:pt>
                <c:pt idx="2452">
                  <c:v>43097</c:v>
                </c:pt>
                <c:pt idx="2453">
                  <c:v>43098</c:v>
                </c:pt>
                <c:pt idx="2454">
                  <c:v>43102</c:v>
                </c:pt>
                <c:pt idx="2455">
                  <c:v>43103</c:v>
                </c:pt>
                <c:pt idx="2456">
                  <c:v>43104</c:v>
                </c:pt>
                <c:pt idx="2457">
                  <c:v>43105</c:v>
                </c:pt>
                <c:pt idx="2458">
                  <c:v>43108</c:v>
                </c:pt>
                <c:pt idx="2459">
                  <c:v>43109</c:v>
                </c:pt>
                <c:pt idx="2460">
                  <c:v>43110</c:v>
                </c:pt>
                <c:pt idx="2461">
                  <c:v>43111</c:v>
                </c:pt>
                <c:pt idx="2462">
                  <c:v>43112</c:v>
                </c:pt>
                <c:pt idx="2463">
                  <c:v>43115</c:v>
                </c:pt>
                <c:pt idx="2464">
                  <c:v>43116</c:v>
                </c:pt>
                <c:pt idx="2465">
                  <c:v>43117</c:v>
                </c:pt>
                <c:pt idx="2466">
                  <c:v>43118</c:v>
                </c:pt>
                <c:pt idx="2467">
                  <c:v>43119</c:v>
                </c:pt>
                <c:pt idx="2468">
                  <c:v>43122</c:v>
                </c:pt>
                <c:pt idx="2469">
                  <c:v>43123</c:v>
                </c:pt>
                <c:pt idx="2470">
                  <c:v>43124</c:v>
                </c:pt>
                <c:pt idx="2471">
                  <c:v>43125</c:v>
                </c:pt>
                <c:pt idx="2472">
                  <c:v>43126</c:v>
                </c:pt>
                <c:pt idx="2473">
                  <c:v>43129</c:v>
                </c:pt>
                <c:pt idx="2474">
                  <c:v>43130</c:v>
                </c:pt>
                <c:pt idx="2475">
                  <c:v>43131</c:v>
                </c:pt>
                <c:pt idx="2476">
                  <c:v>43132</c:v>
                </c:pt>
                <c:pt idx="2477">
                  <c:v>43133</c:v>
                </c:pt>
                <c:pt idx="2478">
                  <c:v>43136</c:v>
                </c:pt>
                <c:pt idx="2479">
                  <c:v>43137</c:v>
                </c:pt>
                <c:pt idx="2480">
                  <c:v>43138</c:v>
                </c:pt>
                <c:pt idx="2481">
                  <c:v>43139</c:v>
                </c:pt>
                <c:pt idx="2482">
                  <c:v>43140</c:v>
                </c:pt>
                <c:pt idx="2483">
                  <c:v>43143</c:v>
                </c:pt>
                <c:pt idx="2484">
                  <c:v>43144</c:v>
                </c:pt>
                <c:pt idx="2485">
                  <c:v>43145</c:v>
                </c:pt>
                <c:pt idx="2486">
                  <c:v>43153</c:v>
                </c:pt>
                <c:pt idx="2487">
                  <c:v>43154</c:v>
                </c:pt>
                <c:pt idx="2488">
                  <c:v>43157</c:v>
                </c:pt>
                <c:pt idx="2489">
                  <c:v>43158</c:v>
                </c:pt>
                <c:pt idx="2490">
                  <c:v>43159</c:v>
                </c:pt>
                <c:pt idx="2491">
                  <c:v>43160</c:v>
                </c:pt>
                <c:pt idx="2492">
                  <c:v>43161</c:v>
                </c:pt>
                <c:pt idx="2493">
                  <c:v>43164</c:v>
                </c:pt>
                <c:pt idx="2494">
                  <c:v>43165</c:v>
                </c:pt>
                <c:pt idx="2495">
                  <c:v>43166</c:v>
                </c:pt>
                <c:pt idx="2496">
                  <c:v>43167</c:v>
                </c:pt>
                <c:pt idx="2497">
                  <c:v>43168</c:v>
                </c:pt>
                <c:pt idx="2498">
                  <c:v>43171</c:v>
                </c:pt>
                <c:pt idx="2499">
                  <c:v>43172</c:v>
                </c:pt>
                <c:pt idx="2500">
                  <c:v>43173</c:v>
                </c:pt>
                <c:pt idx="2501">
                  <c:v>43174</c:v>
                </c:pt>
                <c:pt idx="2502">
                  <c:v>43175</c:v>
                </c:pt>
                <c:pt idx="2503">
                  <c:v>43178</c:v>
                </c:pt>
                <c:pt idx="2504">
                  <c:v>43179</c:v>
                </c:pt>
                <c:pt idx="2505">
                  <c:v>43180</c:v>
                </c:pt>
                <c:pt idx="2506">
                  <c:v>43181</c:v>
                </c:pt>
                <c:pt idx="2507">
                  <c:v>43182</c:v>
                </c:pt>
                <c:pt idx="2508">
                  <c:v>43185</c:v>
                </c:pt>
                <c:pt idx="2509">
                  <c:v>43186</c:v>
                </c:pt>
                <c:pt idx="2510">
                  <c:v>43187</c:v>
                </c:pt>
                <c:pt idx="2511">
                  <c:v>43188</c:v>
                </c:pt>
                <c:pt idx="2512">
                  <c:v>43189</c:v>
                </c:pt>
                <c:pt idx="2513">
                  <c:v>43192</c:v>
                </c:pt>
                <c:pt idx="2514">
                  <c:v>43193</c:v>
                </c:pt>
                <c:pt idx="2515">
                  <c:v>43194</c:v>
                </c:pt>
                <c:pt idx="2516">
                  <c:v>43199</c:v>
                </c:pt>
                <c:pt idx="2517">
                  <c:v>43200</c:v>
                </c:pt>
                <c:pt idx="2518">
                  <c:v>43201</c:v>
                </c:pt>
                <c:pt idx="2519">
                  <c:v>43202</c:v>
                </c:pt>
                <c:pt idx="2520">
                  <c:v>43203</c:v>
                </c:pt>
                <c:pt idx="2521">
                  <c:v>43206</c:v>
                </c:pt>
                <c:pt idx="2522">
                  <c:v>43207</c:v>
                </c:pt>
                <c:pt idx="2523">
                  <c:v>43208</c:v>
                </c:pt>
                <c:pt idx="2524">
                  <c:v>43209</c:v>
                </c:pt>
                <c:pt idx="2525">
                  <c:v>43210</c:v>
                </c:pt>
                <c:pt idx="2526">
                  <c:v>43213</c:v>
                </c:pt>
                <c:pt idx="2527">
                  <c:v>43214</c:v>
                </c:pt>
                <c:pt idx="2528">
                  <c:v>43215</c:v>
                </c:pt>
                <c:pt idx="2529">
                  <c:v>43216</c:v>
                </c:pt>
                <c:pt idx="2530">
                  <c:v>43217</c:v>
                </c:pt>
                <c:pt idx="2531">
                  <c:v>43222</c:v>
                </c:pt>
                <c:pt idx="2532">
                  <c:v>43223</c:v>
                </c:pt>
                <c:pt idx="2533">
                  <c:v>43224</c:v>
                </c:pt>
                <c:pt idx="2534">
                  <c:v>43227</c:v>
                </c:pt>
                <c:pt idx="2535">
                  <c:v>43228</c:v>
                </c:pt>
                <c:pt idx="2536">
                  <c:v>43229</c:v>
                </c:pt>
                <c:pt idx="2537">
                  <c:v>43230</c:v>
                </c:pt>
                <c:pt idx="2538">
                  <c:v>43231</c:v>
                </c:pt>
                <c:pt idx="2539">
                  <c:v>43234</c:v>
                </c:pt>
                <c:pt idx="2540">
                  <c:v>43235</c:v>
                </c:pt>
                <c:pt idx="2541">
                  <c:v>43236</c:v>
                </c:pt>
                <c:pt idx="2542">
                  <c:v>43237</c:v>
                </c:pt>
                <c:pt idx="2543">
                  <c:v>43238</c:v>
                </c:pt>
                <c:pt idx="2544">
                  <c:v>43241</c:v>
                </c:pt>
                <c:pt idx="2545">
                  <c:v>43242</c:v>
                </c:pt>
                <c:pt idx="2546">
                  <c:v>43243</c:v>
                </c:pt>
                <c:pt idx="2547">
                  <c:v>43244</c:v>
                </c:pt>
                <c:pt idx="2548">
                  <c:v>43245</c:v>
                </c:pt>
                <c:pt idx="2549">
                  <c:v>43248</c:v>
                </c:pt>
                <c:pt idx="2550">
                  <c:v>43249</c:v>
                </c:pt>
                <c:pt idx="2551">
                  <c:v>43250</c:v>
                </c:pt>
                <c:pt idx="2552">
                  <c:v>43251</c:v>
                </c:pt>
                <c:pt idx="2553">
                  <c:v>43252</c:v>
                </c:pt>
                <c:pt idx="2554">
                  <c:v>43255</c:v>
                </c:pt>
                <c:pt idx="2555">
                  <c:v>43256</c:v>
                </c:pt>
                <c:pt idx="2556">
                  <c:v>43257</c:v>
                </c:pt>
                <c:pt idx="2557">
                  <c:v>43258</c:v>
                </c:pt>
                <c:pt idx="2558">
                  <c:v>43259</c:v>
                </c:pt>
                <c:pt idx="2559">
                  <c:v>43262</c:v>
                </c:pt>
                <c:pt idx="2560">
                  <c:v>43263</c:v>
                </c:pt>
                <c:pt idx="2561">
                  <c:v>43264</c:v>
                </c:pt>
                <c:pt idx="2562">
                  <c:v>43265</c:v>
                </c:pt>
                <c:pt idx="2563">
                  <c:v>43266</c:v>
                </c:pt>
                <c:pt idx="2564">
                  <c:v>43270</c:v>
                </c:pt>
                <c:pt idx="2565">
                  <c:v>43271</c:v>
                </c:pt>
                <c:pt idx="2566">
                  <c:v>43272</c:v>
                </c:pt>
                <c:pt idx="2567">
                  <c:v>43273</c:v>
                </c:pt>
                <c:pt idx="2568">
                  <c:v>43276</c:v>
                </c:pt>
                <c:pt idx="2569">
                  <c:v>43277</c:v>
                </c:pt>
                <c:pt idx="2570">
                  <c:v>43278</c:v>
                </c:pt>
                <c:pt idx="2571">
                  <c:v>43279</c:v>
                </c:pt>
                <c:pt idx="2572">
                  <c:v>43280</c:v>
                </c:pt>
                <c:pt idx="2573">
                  <c:v>43283</c:v>
                </c:pt>
                <c:pt idx="2574">
                  <c:v>43284</c:v>
                </c:pt>
                <c:pt idx="2575">
                  <c:v>43285</c:v>
                </c:pt>
                <c:pt idx="2576">
                  <c:v>43286</c:v>
                </c:pt>
                <c:pt idx="2577">
                  <c:v>43287</c:v>
                </c:pt>
                <c:pt idx="2578">
                  <c:v>43290</c:v>
                </c:pt>
                <c:pt idx="2579">
                  <c:v>43291</c:v>
                </c:pt>
                <c:pt idx="2580">
                  <c:v>43292</c:v>
                </c:pt>
                <c:pt idx="2581">
                  <c:v>43293</c:v>
                </c:pt>
                <c:pt idx="2582">
                  <c:v>43294</c:v>
                </c:pt>
                <c:pt idx="2583">
                  <c:v>43297</c:v>
                </c:pt>
                <c:pt idx="2584">
                  <c:v>43298</c:v>
                </c:pt>
                <c:pt idx="2585">
                  <c:v>43299</c:v>
                </c:pt>
                <c:pt idx="2586">
                  <c:v>43300</c:v>
                </c:pt>
                <c:pt idx="2587">
                  <c:v>43301</c:v>
                </c:pt>
                <c:pt idx="2588">
                  <c:v>43304</c:v>
                </c:pt>
                <c:pt idx="2589">
                  <c:v>43305</c:v>
                </c:pt>
                <c:pt idx="2590">
                  <c:v>43306</c:v>
                </c:pt>
                <c:pt idx="2591">
                  <c:v>43307</c:v>
                </c:pt>
                <c:pt idx="2592">
                  <c:v>43308</c:v>
                </c:pt>
                <c:pt idx="2593">
                  <c:v>43311</c:v>
                </c:pt>
                <c:pt idx="2594">
                  <c:v>43312</c:v>
                </c:pt>
                <c:pt idx="2595">
                  <c:v>43313</c:v>
                </c:pt>
                <c:pt idx="2596">
                  <c:v>43314</c:v>
                </c:pt>
                <c:pt idx="2597">
                  <c:v>43315</c:v>
                </c:pt>
                <c:pt idx="2598">
                  <c:v>43318</c:v>
                </c:pt>
                <c:pt idx="2599">
                  <c:v>43319</c:v>
                </c:pt>
                <c:pt idx="2600">
                  <c:v>43320</c:v>
                </c:pt>
                <c:pt idx="2601">
                  <c:v>43321</c:v>
                </c:pt>
                <c:pt idx="2602">
                  <c:v>43322</c:v>
                </c:pt>
                <c:pt idx="2603">
                  <c:v>43325</c:v>
                </c:pt>
                <c:pt idx="2604">
                  <c:v>43326</c:v>
                </c:pt>
                <c:pt idx="2605">
                  <c:v>43327</c:v>
                </c:pt>
                <c:pt idx="2606">
                  <c:v>43328</c:v>
                </c:pt>
                <c:pt idx="2607">
                  <c:v>43329</c:v>
                </c:pt>
                <c:pt idx="2608">
                  <c:v>43332</c:v>
                </c:pt>
                <c:pt idx="2609">
                  <c:v>43333</c:v>
                </c:pt>
                <c:pt idx="2610">
                  <c:v>43334</c:v>
                </c:pt>
                <c:pt idx="2611">
                  <c:v>43335</c:v>
                </c:pt>
                <c:pt idx="2612">
                  <c:v>43336</c:v>
                </c:pt>
                <c:pt idx="2613">
                  <c:v>43339</c:v>
                </c:pt>
                <c:pt idx="2614">
                  <c:v>43340</c:v>
                </c:pt>
                <c:pt idx="2615">
                  <c:v>43341</c:v>
                </c:pt>
                <c:pt idx="2616">
                  <c:v>43342</c:v>
                </c:pt>
                <c:pt idx="2617">
                  <c:v>43343</c:v>
                </c:pt>
                <c:pt idx="2618">
                  <c:v>43346</c:v>
                </c:pt>
                <c:pt idx="2619">
                  <c:v>43347</c:v>
                </c:pt>
                <c:pt idx="2620">
                  <c:v>43348</c:v>
                </c:pt>
                <c:pt idx="2621">
                  <c:v>43349</c:v>
                </c:pt>
                <c:pt idx="2622">
                  <c:v>43350</c:v>
                </c:pt>
                <c:pt idx="2623">
                  <c:v>43353</c:v>
                </c:pt>
                <c:pt idx="2624">
                  <c:v>43354</c:v>
                </c:pt>
                <c:pt idx="2625">
                  <c:v>43355</c:v>
                </c:pt>
                <c:pt idx="2626">
                  <c:v>43356</c:v>
                </c:pt>
                <c:pt idx="2627">
                  <c:v>43357</c:v>
                </c:pt>
                <c:pt idx="2628">
                  <c:v>43360</c:v>
                </c:pt>
                <c:pt idx="2629">
                  <c:v>43361</c:v>
                </c:pt>
                <c:pt idx="2630">
                  <c:v>43362</c:v>
                </c:pt>
                <c:pt idx="2631">
                  <c:v>43363</c:v>
                </c:pt>
                <c:pt idx="2632">
                  <c:v>43364</c:v>
                </c:pt>
                <c:pt idx="2633">
                  <c:v>43368</c:v>
                </c:pt>
                <c:pt idx="2634">
                  <c:v>43369</c:v>
                </c:pt>
                <c:pt idx="2635">
                  <c:v>43370</c:v>
                </c:pt>
                <c:pt idx="2636">
                  <c:v>43371</c:v>
                </c:pt>
                <c:pt idx="2637">
                  <c:v>43381</c:v>
                </c:pt>
                <c:pt idx="2638">
                  <c:v>43382</c:v>
                </c:pt>
                <c:pt idx="2639">
                  <c:v>43383</c:v>
                </c:pt>
                <c:pt idx="2640">
                  <c:v>43384</c:v>
                </c:pt>
                <c:pt idx="2641">
                  <c:v>43385</c:v>
                </c:pt>
                <c:pt idx="2642">
                  <c:v>43388</c:v>
                </c:pt>
                <c:pt idx="2643">
                  <c:v>43389</c:v>
                </c:pt>
                <c:pt idx="2644">
                  <c:v>43390</c:v>
                </c:pt>
                <c:pt idx="2645">
                  <c:v>43391</c:v>
                </c:pt>
                <c:pt idx="2646">
                  <c:v>43392</c:v>
                </c:pt>
                <c:pt idx="2647">
                  <c:v>43395</c:v>
                </c:pt>
                <c:pt idx="2648">
                  <c:v>43396</c:v>
                </c:pt>
                <c:pt idx="2649">
                  <c:v>43397</c:v>
                </c:pt>
                <c:pt idx="2650">
                  <c:v>43398</c:v>
                </c:pt>
                <c:pt idx="2651">
                  <c:v>43399</c:v>
                </c:pt>
                <c:pt idx="2652">
                  <c:v>43402</c:v>
                </c:pt>
                <c:pt idx="2653">
                  <c:v>43403</c:v>
                </c:pt>
                <c:pt idx="2654">
                  <c:v>43404</c:v>
                </c:pt>
                <c:pt idx="2655">
                  <c:v>43405</c:v>
                </c:pt>
                <c:pt idx="2656">
                  <c:v>43406</c:v>
                </c:pt>
                <c:pt idx="2657">
                  <c:v>43409</c:v>
                </c:pt>
                <c:pt idx="2658">
                  <c:v>43410</c:v>
                </c:pt>
                <c:pt idx="2659">
                  <c:v>43411</c:v>
                </c:pt>
                <c:pt idx="2660">
                  <c:v>43412</c:v>
                </c:pt>
                <c:pt idx="2661">
                  <c:v>43413</c:v>
                </c:pt>
                <c:pt idx="2662">
                  <c:v>43416</c:v>
                </c:pt>
                <c:pt idx="2663">
                  <c:v>43417</c:v>
                </c:pt>
                <c:pt idx="2664">
                  <c:v>43418</c:v>
                </c:pt>
                <c:pt idx="2665">
                  <c:v>43419</c:v>
                </c:pt>
                <c:pt idx="2666">
                  <c:v>43420</c:v>
                </c:pt>
                <c:pt idx="2667">
                  <c:v>43423</c:v>
                </c:pt>
                <c:pt idx="2668">
                  <c:v>43424</c:v>
                </c:pt>
                <c:pt idx="2669">
                  <c:v>43425</c:v>
                </c:pt>
                <c:pt idx="2670">
                  <c:v>43426</c:v>
                </c:pt>
                <c:pt idx="2671">
                  <c:v>43427</c:v>
                </c:pt>
                <c:pt idx="2672">
                  <c:v>43430</c:v>
                </c:pt>
                <c:pt idx="2673">
                  <c:v>43431</c:v>
                </c:pt>
                <c:pt idx="2674">
                  <c:v>43432</c:v>
                </c:pt>
                <c:pt idx="2675">
                  <c:v>43433</c:v>
                </c:pt>
                <c:pt idx="2676">
                  <c:v>43434</c:v>
                </c:pt>
                <c:pt idx="2677">
                  <c:v>43437</c:v>
                </c:pt>
                <c:pt idx="2678">
                  <c:v>43438</c:v>
                </c:pt>
                <c:pt idx="2679">
                  <c:v>43439</c:v>
                </c:pt>
                <c:pt idx="2680">
                  <c:v>43440</c:v>
                </c:pt>
                <c:pt idx="2681">
                  <c:v>43441</c:v>
                </c:pt>
                <c:pt idx="2682">
                  <c:v>43444</c:v>
                </c:pt>
                <c:pt idx="2683">
                  <c:v>43445</c:v>
                </c:pt>
                <c:pt idx="2684">
                  <c:v>43446</c:v>
                </c:pt>
                <c:pt idx="2685">
                  <c:v>43447</c:v>
                </c:pt>
                <c:pt idx="2686">
                  <c:v>43448</c:v>
                </c:pt>
                <c:pt idx="2687">
                  <c:v>43451</c:v>
                </c:pt>
                <c:pt idx="2688">
                  <c:v>43452</c:v>
                </c:pt>
                <c:pt idx="2689">
                  <c:v>43453</c:v>
                </c:pt>
                <c:pt idx="2690">
                  <c:v>43454</c:v>
                </c:pt>
                <c:pt idx="2691">
                  <c:v>43455</c:v>
                </c:pt>
                <c:pt idx="2692">
                  <c:v>43458</c:v>
                </c:pt>
                <c:pt idx="2693">
                  <c:v>43459</c:v>
                </c:pt>
                <c:pt idx="2694">
                  <c:v>43460</c:v>
                </c:pt>
                <c:pt idx="2695">
                  <c:v>43461</c:v>
                </c:pt>
                <c:pt idx="2696">
                  <c:v>43462</c:v>
                </c:pt>
                <c:pt idx="2697">
                  <c:v>43467</c:v>
                </c:pt>
                <c:pt idx="2698">
                  <c:v>43468</c:v>
                </c:pt>
                <c:pt idx="2699">
                  <c:v>43469</c:v>
                </c:pt>
                <c:pt idx="2700">
                  <c:v>43472</c:v>
                </c:pt>
                <c:pt idx="2701">
                  <c:v>43473</c:v>
                </c:pt>
                <c:pt idx="2702">
                  <c:v>43474</c:v>
                </c:pt>
                <c:pt idx="2703">
                  <c:v>43475</c:v>
                </c:pt>
                <c:pt idx="2704">
                  <c:v>43476</c:v>
                </c:pt>
                <c:pt idx="2705">
                  <c:v>43479</c:v>
                </c:pt>
                <c:pt idx="2706">
                  <c:v>43480</c:v>
                </c:pt>
                <c:pt idx="2707">
                  <c:v>43481</c:v>
                </c:pt>
                <c:pt idx="2708">
                  <c:v>43482</c:v>
                </c:pt>
                <c:pt idx="2709">
                  <c:v>43483</c:v>
                </c:pt>
                <c:pt idx="2710">
                  <c:v>43486</c:v>
                </c:pt>
                <c:pt idx="2711">
                  <c:v>43487</c:v>
                </c:pt>
                <c:pt idx="2712">
                  <c:v>43488</c:v>
                </c:pt>
                <c:pt idx="2713">
                  <c:v>43489</c:v>
                </c:pt>
                <c:pt idx="2714">
                  <c:v>43490</c:v>
                </c:pt>
                <c:pt idx="2715">
                  <c:v>43493</c:v>
                </c:pt>
                <c:pt idx="2716">
                  <c:v>43494</c:v>
                </c:pt>
                <c:pt idx="2717">
                  <c:v>43495</c:v>
                </c:pt>
                <c:pt idx="2718">
                  <c:v>43496</c:v>
                </c:pt>
                <c:pt idx="2719">
                  <c:v>43497</c:v>
                </c:pt>
                <c:pt idx="2720">
                  <c:v>43507</c:v>
                </c:pt>
                <c:pt idx="2721">
                  <c:v>43508</c:v>
                </c:pt>
                <c:pt idx="2722">
                  <c:v>43509</c:v>
                </c:pt>
                <c:pt idx="2723">
                  <c:v>43510</c:v>
                </c:pt>
                <c:pt idx="2724">
                  <c:v>43511</c:v>
                </c:pt>
                <c:pt idx="2725">
                  <c:v>43514</c:v>
                </c:pt>
                <c:pt idx="2726">
                  <c:v>43515</c:v>
                </c:pt>
                <c:pt idx="2727">
                  <c:v>43516</c:v>
                </c:pt>
                <c:pt idx="2728">
                  <c:v>43517</c:v>
                </c:pt>
                <c:pt idx="2729">
                  <c:v>43518</c:v>
                </c:pt>
                <c:pt idx="2730">
                  <c:v>43521</c:v>
                </c:pt>
                <c:pt idx="2731">
                  <c:v>43522</c:v>
                </c:pt>
                <c:pt idx="2732">
                  <c:v>43523</c:v>
                </c:pt>
                <c:pt idx="2733">
                  <c:v>43524</c:v>
                </c:pt>
                <c:pt idx="2734">
                  <c:v>43525</c:v>
                </c:pt>
                <c:pt idx="2735">
                  <c:v>43528</c:v>
                </c:pt>
                <c:pt idx="2736">
                  <c:v>43529</c:v>
                </c:pt>
                <c:pt idx="2737">
                  <c:v>43530</c:v>
                </c:pt>
                <c:pt idx="2738">
                  <c:v>43531</c:v>
                </c:pt>
                <c:pt idx="2739">
                  <c:v>43532</c:v>
                </c:pt>
                <c:pt idx="2740">
                  <c:v>43535</c:v>
                </c:pt>
                <c:pt idx="2741">
                  <c:v>43536</c:v>
                </c:pt>
                <c:pt idx="2742">
                  <c:v>43537</c:v>
                </c:pt>
                <c:pt idx="2743">
                  <c:v>43538</c:v>
                </c:pt>
                <c:pt idx="2744">
                  <c:v>43539</c:v>
                </c:pt>
                <c:pt idx="2745">
                  <c:v>43542</c:v>
                </c:pt>
                <c:pt idx="2746">
                  <c:v>43543</c:v>
                </c:pt>
                <c:pt idx="2747">
                  <c:v>43544</c:v>
                </c:pt>
                <c:pt idx="2748">
                  <c:v>43545</c:v>
                </c:pt>
                <c:pt idx="2749">
                  <c:v>43546</c:v>
                </c:pt>
                <c:pt idx="2750">
                  <c:v>43549</c:v>
                </c:pt>
                <c:pt idx="2751">
                  <c:v>43550</c:v>
                </c:pt>
                <c:pt idx="2752">
                  <c:v>43551</c:v>
                </c:pt>
                <c:pt idx="2753">
                  <c:v>43552</c:v>
                </c:pt>
                <c:pt idx="2754">
                  <c:v>43553</c:v>
                </c:pt>
                <c:pt idx="2755">
                  <c:v>43556</c:v>
                </c:pt>
                <c:pt idx="2756">
                  <c:v>43557</c:v>
                </c:pt>
                <c:pt idx="2757">
                  <c:v>43558</c:v>
                </c:pt>
                <c:pt idx="2758">
                  <c:v>43559</c:v>
                </c:pt>
                <c:pt idx="2759">
                  <c:v>43563</c:v>
                </c:pt>
                <c:pt idx="2760">
                  <c:v>43564</c:v>
                </c:pt>
                <c:pt idx="2761">
                  <c:v>43565</c:v>
                </c:pt>
                <c:pt idx="2762">
                  <c:v>43566</c:v>
                </c:pt>
                <c:pt idx="2763">
                  <c:v>43567</c:v>
                </c:pt>
                <c:pt idx="2764">
                  <c:v>43570</c:v>
                </c:pt>
                <c:pt idx="2765">
                  <c:v>43571</c:v>
                </c:pt>
                <c:pt idx="2766">
                  <c:v>43572</c:v>
                </c:pt>
                <c:pt idx="2767">
                  <c:v>43573</c:v>
                </c:pt>
                <c:pt idx="2768">
                  <c:v>43574</c:v>
                </c:pt>
                <c:pt idx="2769">
                  <c:v>43577</c:v>
                </c:pt>
                <c:pt idx="2770">
                  <c:v>43578</c:v>
                </c:pt>
                <c:pt idx="2771">
                  <c:v>43579</c:v>
                </c:pt>
                <c:pt idx="2772">
                  <c:v>43580</c:v>
                </c:pt>
                <c:pt idx="2773">
                  <c:v>43581</c:v>
                </c:pt>
                <c:pt idx="2774">
                  <c:v>43584</c:v>
                </c:pt>
                <c:pt idx="2775">
                  <c:v>43585</c:v>
                </c:pt>
                <c:pt idx="2776">
                  <c:v>43591</c:v>
                </c:pt>
                <c:pt idx="2777">
                  <c:v>43592</c:v>
                </c:pt>
                <c:pt idx="2778">
                  <c:v>43593</c:v>
                </c:pt>
                <c:pt idx="2779">
                  <c:v>43594</c:v>
                </c:pt>
                <c:pt idx="2780">
                  <c:v>43595</c:v>
                </c:pt>
                <c:pt idx="2781">
                  <c:v>43598</c:v>
                </c:pt>
                <c:pt idx="2782">
                  <c:v>43599</c:v>
                </c:pt>
                <c:pt idx="2783">
                  <c:v>43600</c:v>
                </c:pt>
                <c:pt idx="2784">
                  <c:v>43601</c:v>
                </c:pt>
                <c:pt idx="2785">
                  <c:v>43602</c:v>
                </c:pt>
                <c:pt idx="2786">
                  <c:v>43605</c:v>
                </c:pt>
                <c:pt idx="2787">
                  <c:v>43606</c:v>
                </c:pt>
                <c:pt idx="2788">
                  <c:v>43607</c:v>
                </c:pt>
                <c:pt idx="2789">
                  <c:v>43608</c:v>
                </c:pt>
                <c:pt idx="2790">
                  <c:v>43609</c:v>
                </c:pt>
                <c:pt idx="2791">
                  <c:v>43612</c:v>
                </c:pt>
                <c:pt idx="2792">
                  <c:v>43613</c:v>
                </c:pt>
                <c:pt idx="2793">
                  <c:v>43614</c:v>
                </c:pt>
                <c:pt idx="2794">
                  <c:v>43615</c:v>
                </c:pt>
                <c:pt idx="2795">
                  <c:v>43616</c:v>
                </c:pt>
                <c:pt idx="2796">
                  <c:v>43619</c:v>
                </c:pt>
                <c:pt idx="2797">
                  <c:v>43620</c:v>
                </c:pt>
                <c:pt idx="2798">
                  <c:v>43621</c:v>
                </c:pt>
                <c:pt idx="2799">
                  <c:v>43622</c:v>
                </c:pt>
                <c:pt idx="2800">
                  <c:v>43626</c:v>
                </c:pt>
                <c:pt idx="2801">
                  <c:v>43627</c:v>
                </c:pt>
                <c:pt idx="2802">
                  <c:v>43628</c:v>
                </c:pt>
                <c:pt idx="2803">
                  <c:v>43629</c:v>
                </c:pt>
                <c:pt idx="2804">
                  <c:v>43630</c:v>
                </c:pt>
                <c:pt idx="2805">
                  <c:v>43633</c:v>
                </c:pt>
                <c:pt idx="2806">
                  <c:v>43634</c:v>
                </c:pt>
                <c:pt idx="2807">
                  <c:v>43635</c:v>
                </c:pt>
                <c:pt idx="2808">
                  <c:v>43636</c:v>
                </c:pt>
                <c:pt idx="2809">
                  <c:v>43637</c:v>
                </c:pt>
                <c:pt idx="2810">
                  <c:v>43640</c:v>
                </c:pt>
                <c:pt idx="2811">
                  <c:v>43641</c:v>
                </c:pt>
                <c:pt idx="2812">
                  <c:v>43642</c:v>
                </c:pt>
                <c:pt idx="2813">
                  <c:v>43643</c:v>
                </c:pt>
                <c:pt idx="2814">
                  <c:v>43644</c:v>
                </c:pt>
                <c:pt idx="2815">
                  <c:v>43647</c:v>
                </c:pt>
                <c:pt idx="2816">
                  <c:v>43648</c:v>
                </c:pt>
                <c:pt idx="2817">
                  <c:v>43649</c:v>
                </c:pt>
                <c:pt idx="2818">
                  <c:v>43650</c:v>
                </c:pt>
                <c:pt idx="2819">
                  <c:v>43651</c:v>
                </c:pt>
                <c:pt idx="2820">
                  <c:v>43654</c:v>
                </c:pt>
                <c:pt idx="2821">
                  <c:v>43655</c:v>
                </c:pt>
                <c:pt idx="2822">
                  <c:v>43656</c:v>
                </c:pt>
                <c:pt idx="2823">
                  <c:v>43657</c:v>
                </c:pt>
                <c:pt idx="2824">
                  <c:v>43658</c:v>
                </c:pt>
                <c:pt idx="2825">
                  <c:v>43661</c:v>
                </c:pt>
                <c:pt idx="2826">
                  <c:v>43662</c:v>
                </c:pt>
                <c:pt idx="2827">
                  <c:v>43663</c:v>
                </c:pt>
                <c:pt idx="2828">
                  <c:v>43664</c:v>
                </c:pt>
                <c:pt idx="2829">
                  <c:v>43665</c:v>
                </c:pt>
                <c:pt idx="2830">
                  <c:v>43668</c:v>
                </c:pt>
                <c:pt idx="2831">
                  <c:v>43669</c:v>
                </c:pt>
                <c:pt idx="2832">
                  <c:v>43670</c:v>
                </c:pt>
                <c:pt idx="2833">
                  <c:v>43671</c:v>
                </c:pt>
                <c:pt idx="2834">
                  <c:v>43672</c:v>
                </c:pt>
                <c:pt idx="2835">
                  <c:v>43675</c:v>
                </c:pt>
                <c:pt idx="2836">
                  <c:v>43676</c:v>
                </c:pt>
                <c:pt idx="2837">
                  <c:v>43677</c:v>
                </c:pt>
                <c:pt idx="2838">
                  <c:v>43678</c:v>
                </c:pt>
                <c:pt idx="2839">
                  <c:v>43679</c:v>
                </c:pt>
                <c:pt idx="2840">
                  <c:v>43682</c:v>
                </c:pt>
                <c:pt idx="2841">
                  <c:v>43683</c:v>
                </c:pt>
                <c:pt idx="2842">
                  <c:v>43684</c:v>
                </c:pt>
                <c:pt idx="2843">
                  <c:v>43685</c:v>
                </c:pt>
                <c:pt idx="2844">
                  <c:v>43686</c:v>
                </c:pt>
                <c:pt idx="2845">
                  <c:v>43689</c:v>
                </c:pt>
                <c:pt idx="2846">
                  <c:v>43690</c:v>
                </c:pt>
                <c:pt idx="2847">
                  <c:v>43691</c:v>
                </c:pt>
                <c:pt idx="2848">
                  <c:v>43692</c:v>
                </c:pt>
                <c:pt idx="2849">
                  <c:v>43693</c:v>
                </c:pt>
                <c:pt idx="2850">
                  <c:v>43696</c:v>
                </c:pt>
                <c:pt idx="2851">
                  <c:v>43697</c:v>
                </c:pt>
                <c:pt idx="2852">
                  <c:v>43698</c:v>
                </c:pt>
                <c:pt idx="2853">
                  <c:v>43699</c:v>
                </c:pt>
                <c:pt idx="2854">
                  <c:v>43700</c:v>
                </c:pt>
                <c:pt idx="2855">
                  <c:v>43703</c:v>
                </c:pt>
                <c:pt idx="2856">
                  <c:v>43704</c:v>
                </c:pt>
                <c:pt idx="2857">
                  <c:v>43705</c:v>
                </c:pt>
                <c:pt idx="2858">
                  <c:v>43706</c:v>
                </c:pt>
                <c:pt idx="2859">
                  <c:v>43707</c:v>
                </c:pt>
                <c:pt idx="2860">
                  <c:v>43710</c:v>
                </c:pt>
                <c:pt idx="2861">
                  <c:v>43711</c:v>
                </c:pt>
                <c:pt idx="2862">
                  <c:v>43712</c:v>
                </c:pt>
                <c:pt idx="2863">
                  <c:v>43713</c:v>
                </c:pt>
                <c:pt idx="2864">
                  <c:v>43714</c:v>
                </c:pt>
                <c:pt idx="2865">
                  <c:v>43717</c:v>
                </c:pt>
                <c:pt idx="2866">
                  <c:v>43718</c:v>
                </c:pt>
                <c:pt idx="2867">
                  <c:v>43719</c:v>
                </c:pt>
                <c:pt idx="2868">
                  <c:v>43720</c:v>
                </c:pt>
                <c:pt idx="2869">
                  <c:v>43724</c:v>
                </c:pt>
                <c:pt idx="2870">
                  <c:v>43725</c:v>
                </c:pt>
                <c:pt idx="2871">
                  <c:v>43726</c:v>
                </c:pt>
                <c:pt idx="2872">
                  <c:v>43727</c:v>
                </c:pt>
                <c:pt idx="2873">
                  <c:v>43728</c:v>
                </c:pt>
                <c:pt idx="2874">
                  <c:v>43731</c:v>
                </c:pt>
                <c:pt idx="2875">
                  <c:v>43732</c:v>
                </c:pt>
                <c:pt idx="2876">
                  <c:v>43733</c:v>
                </c:pt>
                <c:pt idx="2877">
                  <c:v>43734</c:v>
                </c:pt>
                <c:pt idx="2878">
                  <c:v>43735</c:v>
                </c:pt>
                <c:pt idx="2879">
                  <c:v>43738</c:v>
                </c:pt>
                <c:pt idx="2880">
                  <c:v>43746</c:v>
                </c:pt>
                <c:pt idx="2881">
                  <c:v>43747</c:v>
                </c:pt>
                <c:pt idx="2882">
                  <c:v>43748</c:v>
                </c:pt>
                <c:pt idx="2883">
                  <c:v>43749</c:v>
                </c:pt>
                <c:pt idx="2884">
                  <c:v>43752</c:v>
                </c:pt>
                <c:pt idx="2885">
                  <c:v>43753</c:v>
                </c:pt>
                <c:pt idx="2886">
                  <c:v>43754</c:v>
                </c:pt>
                <c:pt idx="2887">
                  <c:v>43755</c:v>
                </c:pt>
                <c:pt idx="2888">
                  <c:v>43756</c:v>
                </c:pt>
                <c:pt idx="2889">
                  <c:v>43759</c:v>
                </c:pt>
                <c:pt idx="2890">
                  <c:v>43760</c:v>
                </c:pt>
                <c:pt idx="2891">
                  <c:v>43761</c:v>
                </c:pt>
                <c:pt idx="2892">
                  <c:v>43762</c:v>
                </c:pt>
                <c:pt idx="2893">
                  <c:v>43763</c:v>
                </c:pt>
                <c:pt idx="2894">
                  <c:v>43766</c:v>
                </c:pt>
                <c:pt idx="2895">
                  <c:v>43767</c:v>
                </c:pt>
                <c:pt idx="2896">
                  <c:v>43768</c:v>
                </c:pt>
                <c:pt idx="2897">
                  <c:v>43769</c:v>
                </c:pt>
                <c:pt idx="2898">
                  <c:v>43770</c:v>
                </c:pt>
                <c:pt idx="2899">
                  <c:v>43773</c:v>
                </c:pt>
                <c:pt idx="2900">
                  <c:v>43774</c:v>
                </c:pt>
                <c:pt idx="2901">
                  <c:v>43775</c:v>
                </c:pt>
                <c:pt idx="2902">
                  <c:v>43776</c:v>
                </c:pt>
                <c:pt idx="2903">
                  <c:v>43777</c:v>
                </c:pt>
                <c:pt idx="2904">
                  <c:v>43780</c:v>
                </c:pt>
                <c:pt idx="2905">
                  <c:v>43781</c:v>
                </c:pt>
                <c:pt idx="2906">
                  <c:v>43782</c:v>
                </c:pt>
                <c:pt idx="2907">
                  <c:v>43783</c:v>
                </c:pt>
                <c:pt idx="2908">
                  <c:v>43784</c:v>
                </c:pt>
                <c:pt idx="2909">
                  <c:v>43787</c:v>
                </c:pt>
                <c:pt idx="2910">
                  <c:v>43788</c:v>
                </c:pt>
                <c:pt idx="2911">
                  <c:v>43789</c:v>
                </c:pt>
                <c:pt idx="2912">
                  <c:v>43790</c:v>
                </c:pt>
                <c:pt idx="2913">
                  <c:v>43791</c:v>
                </c:pt>
                <c:pt idx="2914">
                  <c:v>43794</c:v>
                </c:pt>
                <c:pt idx="2915">
                  <c:v>43795</c:v>
                </c:pt>
                <c:pt idx="2916">
                  <c:v>43796</c:v>
                </c:pt>
                <c:pt idx="2917">
                  <c:v>43797</c:v>
                </c:pt>
                <c:pt idx="2918">
                  <c:v>43798</c:v>
                </c:pt>
                <c:pt idx="2919">
                  <c:v>43801</c:v>
                </c:pt>
                <c:pt idx="2920">
                  <c:v>43802</c:v>
                </c:pt>
                <c:pt idx="2921">
                  <c:v>43803</c:v>
                </c:pt>
                <c:pt idx="2922">
                  <c:v>43804</c:v>
                </c:pt>
                <c:pt idx="2923">
                  <c:v>43805</c:v>
                </c:pt>
                <c:pt idx="2924">
                  <c:v>43808</c:v>
                </c:pt>
                <c:pt idx="2925">
                  <c:v>43809</c:v>
                </c:pt>
                <c:pt idx="2926">
                  <c:v>43810</c:v>
                </c:pt>
                <c:pt idx="2927">
                  <c:v>43811</c:v>
                </c:pt>
                <c:pt idx="2928">
                  <c:v>43812</c:v>
                </c:pt>
                <c:pt idx="2929">
                  <c:v>43815</c:v>
                </c:pt>
                <c:pt idx="2930">
                  <c:v>43816</c:v>
                </c:pt>
                <c:pt idx="2931">
                  <c:v>43817</c:v>
                </c:pt>
                <c:pt idx="2932">
                  <c:v>43818</c:v>
                </c:pt>
                <c:pt idx="2933">
                  <c:v>43819</c:v>
                </c:pt>
                <c:pt idx="2934">
                  <c:v>43822</c:v>
                </c:pt>
                <c:pt idx="2935">
                  <c:v>43823</c:v>
                </c:pt>
                <c:pt idx="2936">
                  <c:v>43824</c:v>
                </c:pt>
                <c:pt idx="2937">
                  <c:v>43825</c:v>
                </c:pt>
                <c:pt idx="2938">
                  <c:v>43826</c:v>
                </c:pt>
                <c:pt idx="2939">
                  <c:v>43829</c:v>
                </c:pt>
                <c:pt idx="2940">
                  <c:v>43830</c:v>
                </c:pt>
                <c:pt idx="2941">
                  <c:v>43832</c:v>
                </c:pt>
                <c:pt idx="2942">
                  <c:v>43833</c:v>
                </c:pt>
                <c:pt idx="2943">
                  <c:v>43836</c:v>
                </c:pt>
                <c:pt idx="2944">
                  <c:v>43837</c:v>
                </c:pt>
                <c:pt idx="2945">
                  <c:v>43838</c:v>
                </c:pt>
                <c:pt idx="2946">
                  <c:v>43839</c:v>
                </c:pt>
                <c:pt idx="2947">
                  <c:v>43840</c:v>
                </c:pt>
                <c:pt idx="2948">
                  <c:v>43843</c:v>
                </c:pt>
                <c:pt idx="2949">
                  <c:v>43844</c:v>
                </c:pt>
                <c:pt idx="2950">
                  <c:v>43845</c:v>
                </c:pt>
                <c:pt idx="2951">
                  <c:v>43846</c:v>
                </c:pt>
                <c:pt idx="2952">
                  <c:v>43847</c:v>
                </c:pt>
                <c:pt idx="2953">
                  <c:v>43850</c:v>
                </c:pt>
                <c:pt idx="2954">
                  <c:v>43851</c:v>
                </c:pt>
                <c:pt idx="2955">
                  <c:v>43852</c:v>
                </c:pt>
                <c:pt idx="2956">
                  <c:v>43853</c:v>
                </c:pt>
                <c:pt idx="2957">
                  <c:v>43864</c:v>
                </c:pt>
                <c:pt idx="2958">
                  <c:v>43865</c:v>
                </c:pt>
                <c:pt idx="2959">
                  <c:v>43866</c:v>
                </c:pt>
                <c:pt idx="2960">
                  <c:v>43867</c:v>
                </c:pt>
                <c:pt idx="2961">
                  <c:v>43868</c:v>
                </c:pt>
                <c:pt idx="2962">
                  <c:v>43871</c:v>
                </c:pt>
                <c:pt idx="2963">
                  <c:v>43872</c:v>
                </c:pt>
                <c:pt idx="2964">
                  <c:v>43873</c:v>
                </c:pt>
                <c:pt idx="2965">
                  <c:v>43874</c:v>
                </c:pt>
                <c:pt idx="2966">
                  <c:v>43875</c:v>
                </c:pt>
                <c:pt idx="2967">
                  <c:v>43878</c:v>
                </c:pt>
                <c:pt idx="2968">
                  <c:v>43879</c:v>
                </c:pt>
                <c:pt idx="2969">
                  <c:v>43880</c:v>
                </c:pt>
                <c:pt idx="2970">
                  <c:v>43881</c:v>
                </c:pt>
                <c:pt idx="2971">
                  <c:v>43882</c:v>
                </c:pt>
                <c:pt idx="2972">
                  <c:v>43885</c:v>
                </c:pt>
                <c:pt idx="2973">
                  <c:v>43886</c:v>
                </c:pt>
                <c:pt idx="2974">
                  <c:v>43887</c:v>
                </c:pt>
                <c:pt idx="2975">
                  <c:v>43888</c:v>
                </c:pt>
                <c:pt idx="2976">
                  <c:v>43889</c:v>
                </c:pt>
                <c:pt idx="2977">
                  <c:v>43892</c:v>
                </c:pt>
                <c:pt idx="2978">
                  <c:v>43893</c:v>
                </c:pt>
                <c:pt idx="2979">
                  <c:v>43894</c:v>
                </c:pt>
                <c:pt idx="2980">
                  <c:v>43895</c:v>
                </c:pt>
                <c:pt idx="2981">
                  <c:v>43896</c:v>
                </c:pt>
                <c:pt idx="2982">
                  <c:v>43899</c:v>
                </c:pt>
                <c:pt idx="2983">
                  <c:v>43900</c:v>
                </c:pt>
                <c:pt idx="2984">
                  <c:v>43901</c:v>
                </c:pt>
                <c:pt idx="2985">
                  <c:v>43902</c:v>
                </c:pt>
                <c:pt idx="2986">
                  <c:v>43903</c:v>
                </c:pt>
                <c:pt idx="2987">
                  <c:v>43906</c:v>
                </c:pt>
                <c:pt idx="2988">
                  <c:v>43907</c:v>
                </c:pt>
                <c:pt idx="2989">
                  <c:v>43908</c:v>
                </c:pt>
                <c:pt idx="2990">
                  <c:v>43909</c:v>
                </c:pt>
                <c:pt idx="2991">
                  <c:v>43910</c:v>
                </c:pt>
                <c:pt idx="2992">
                  <c:v>43913</c:v>
                </c:pt>
                <c:pt idx="2993">
                  <c:v>43914</c:v>
                </c:pt>
                <c:pt idx="2994">
                  <c:v>43915</c:v>
                </c:pt>
                <c:pt idx="2995">
                  <c:v>43916</c:v>
                </c:pt>
                <c:pt idx="2996">
                  <c:v>43917</c:v>
                </c:pt>
                <c:pt idx="2997">
                  <c:v>43920</c:v>
                </c:pt>
                <c:pt idx="2998">
                  <c:v>43921</c:v>
                </c:pt>
                <c:pt idx="2999">
                  <c:v>43922</c:v>
                </c:pt>
                <c:pt idx="3000">
                  <c:v>43923</c:v>
                </c:pt>
                <c:pt idx="3001">
                  <c:v>43924</c:v>
                </c:pt>
                <c:pt idx="3002">
                  <c:v>43928</c:v>
                </c:pt>
                <c:pt idx="3003">
                  <c:v>43929</c:v>
                </c:pt>
                <c:pt idx="3004">
                  <c:v>43930</c:v>
                </c:pt>
                <c:pt idx="3005">
                  <c:v>43931</c:v>
                </c:pt>
                <c:pt idx="3006">
                  <c:v>43934</c:v>
                </c:pt>
                <c:pt idx="3007">
                  <c:v>43935</c:v>
                </c:pt>
                <c:pt idx="3008">
                  <c:v>43936</c:v>
                </c:pt>
                <c:pt idx="3009">
                  <c:v>43937</c:v>
                </c:pt>
                <c:pt idx="3010">
                  <c:v>43938</c:v>
                </c:pt>
                <c:pt idx="3011">
                  <c:v>43941</c:v>
                </c:pt>
                <c:pt idx="3012">
                  <c:v>43942</c:v>
                </c:pt>
                <c:pt idx="3013">
                  <c:v>43943</c:v>
                </c:pt>
                <c:pt idx="3014">
                  <c:v>43944</c:v>
                </c:pt>
                <c:pt idx="3015">
                  <c:v>43945</c:v>
                </c:pt>
                <c:pt idx="3016">
                  <c:v>43948</c:v>
                </c:pt>
                <c:pt idx="3017">
                  <c:v>43949</c:v>
                </c:pt>
                <c:pt idx="3018">
                  <c:v>43950</c:v>
                </c:pt>
                <c:pt idx="3019">
                  <c:v>43951</c:v>
                </c:pt>
                <c:pt idx="3020">
                  <c:v>43957</c:v>
                </c:pt>
                <c:pt idx="3021">
                  <c:v>43958</c:v>
                </c:pt>
                <c:pt idx="3022">
                  <c:v>43959</c:v>
                </c:pt>
                <c:pt idx="3023">
                  <c:v>43962</c:v>
                </c:pt>
                <c:pt idx="3024">
                  <c:v>43963</c:v>
                </c:pt>
                <c:pt idx="3025">
                  <c:v>43964</c:v>
                </c:pt>
                <c:pt idx="3026">
                  <c:v>43965</c:v>
                </c:pt>
                <c:pt idx="3027">
                  <c:v>43966</c:v>
                </c:pt>
                <c:pt idx="3028">
                  <c:v>43969</c:v>
                </c:pt>
                <c:pt idx="3029">
                  <c:v>43970</c:v>
                </c:pt>
                <c:pt idx="3030">
                  <c:v>43971</c:v>
                </c:pt>
                <c:pt idx="3031">
                  <c:v>43972</c:v>
                </c:pt>
                <c:pt idx="3032">
                  <c:v>43973</c:v>
                </c:pt>
                <c:pt idx="3033">
                  <c:v>43976</c:v>
                </c:pt>
                <c:pt idx="3034">
                  <c:v>43977</c:v>
                </c:pt>
                <c:pt idx="3035">
                  <c:v>43978</c:v>
                </c:pt>
                <c:pt idx="3036">
                  <c:v>43979</c:v>
                </c:pt>
                <c:pt idx="3037">
                  <c:v>43980</c:v>
                </c:pt>
                <c:pt idx="3038">
                  <c:v>43983</c:v>
                </c:pt>
                <c:pt idx="3039">
                  <c:v>43984</c:v>
                </c:pt>
                <c:pt idx="3040">
                  <c:v>43985</c:v>
                </c:pt>
                <c:pt idx="3041">
                  <c:v>43986</c:v>
                </c:pt>
                <c:pt idx="3042">
                  <c:v>43987</c:v>
                </c:pt>
                <c:pt idx="3043">
                  <c:v>43990</c:v>
                </c:pt>
                <c:pt idx="3044">
                  <c:v>43991</c:v>
                </c:pt>
                <c:pt idx="3045">
                  <c:v>43992</c:v>
                </c:pt>
                <c:pt idx="3046">
                  <c:v>43993</c:v>
                </c:pt>
                <c:pt idx="3047">
                  <c:v>43994</c:v>
                </c:pt>
                <c:pt idx="3048">
                  <c:v>43997</c:v>
                </c:pt>
                <c:pt idx="3049">
                  <c:v>43998</c:v>
                </c:pt>
                <c:pt idx="3050">
                  <c:v>43999</c:v>
                </c:pt>
                <c:pt idx="3051">
                  <c:v>44000</c:v>
                </c:pt>
                <c:pt idx="3052">
                  <c:v>44001</c:v>
                </c:pt>
                <c:pt idx="3053">
                  <c:v>44004</c:v>
                </c:pt>
                <c:pt idx="3054">
                  <c:v>44005</c:v>
                </c:pt>
                <c:pt idx="3055">
                  <c:v>44006</c:v>
                </c:pt>
                <c:pt idx="3056">
                  <c:v>44011</c:v>
                </c:pt>
                <c:pt idx="3057">
                  <c:v>44012</c:v>
                </c:pt>
                <c:pt idx="3058">
                  <c:v>44013</c:v>
                </c:pt>
                <c:pt idx="3059">
                  <c:v>44014</c:v>
                </c:pt>
                <c:pt idx="3060">
                  <c:v>44015</c:v>
                </c:pt>
                <c:pt idx="3061">
                  <c:v>44018</c:v>
                </c:pt>
                <c:pt idx="3062">
                  <c:v>44019</c:v>
                </c:pt>
                <c:pt idx="3063">
                  <c:v>44020</c:v>
                </c:pt>
                <c:pt idx="3064">
                  <c:v>44021</c:v>
                </c:pt>
                <c:pt idx="3065">
                  <c:v>44022</c:v>
                </c:pt>
                <c:pt idx="3066">
                  <c:v>44025</c:v>
                </c:pt>
                <c:pt idx="3067">
                  <c:v>44026</c:v>
                </c:pt>
              </c:numCache>
            </c:numRef>
          </c:cat>
          <c:val>
            <c:numRef>
              <c:f>Wind!$I$3:$I$3070</c:f>
              <c:numCache>
                <c:formatCode>0.00_);[Red]\(0.00\)</c:formatCode>
                <c:ptCount val="3068"/>
                <c:pt idx="0">
                  <c:v>7866.93</c:v>
                </c:pt>
                <c:pt idx="1">
                  <c:v>7866.93</c:v>
                </c:pt>
                <c:pt idx="2">
                  <c:v>7866.93</c:v>
                </c:pt>
                <c:pt idx="3">
                  <c:v>7866.93</c:v>
                </c:pt>
                <c:pt idx="4">
                  <c:v>7866.93</c:v>
                </c:pt>
                <c:pt idx="5">
                  <c:v>7866.93</c:v>
                </c:pt>
                <c:pt idx="6">
                  <c:v>7866.93</c:v>
                </c:pt>
                <c:pt idx="7">
                  <c:v>7866.93</c:v>
                </c:pt>
                <c:pt idx="8">
                  <c:v>7866.93</c:v>
                </c:pt>
                <c:pt idx="9">
                  <c:v>7866.93</c:v>
                </c:pt>
                <c:pt idx="10">
                  <c:v>7866.93</c:v>
                </c:pt>
                <c:pt idx="11">
                  <c:v>7866.93</c:v>
                </c:pt>
                <c:pt idx="12">
                  <c:v>7866.93</c:v>
                </c:pt>
                <c:pt idx="13">
                  <c:v>7866.93</c:v>
                </c:pt>
                <c:pt idx="14">
                  <c:v>7866.93</c:v>
                </c:pt>
                <c:pt idx="15">
                  <c:v>7866.93</c:v>
                </c:pt>
                <c:pt idx="16">
                  <c:v>7866.93</c:v>
                </c:pt>
                <c:pt idx="17">
                  <c:v>7866.93</c:v>
                </c:pt>
                <c:pt idx="18">
                  <c:v>7866.93</c:v>
                </c:pt>
                <c:pt idx="19">
                  <c:v>7866.93</c:v>
                </c:pt>
                <c:pt idx="20">
                  <c:v>6937.3600000000006</c:v>
                </c:pt>
                <c:pt idx="21">
                  <c:v>6937.3600000000006</c:v>
                </c:pt>
                <c:pt idx="22">
                  <c:v>6937.3600000000006</c:v>
                </c:pt>
                <c:pt idx="23">
                  <c:v>6937.3600000000006</c:v>
                </c:pt>
                <c:pt idx="24">
                  <c:v>6937.3600000000006</c:v>
                </c:pt>
                <c:pt idx="25">
                  <c:v>6937.3600000000006</c:v>
                </c:pt>
                <c:pt idx="26">
                  <c:v>6937.3600000000006</c:v>
                </c:pt>
                <c:pt idx="27">
                  <c:v>6937.3600000000006</c:v>
                </c:pt>
                <c:pt idx="28">
                  <c:v>6937.3600000000006</c:v>
                </c:pt>
                <c:pt idx="29">
                  <c:v>6937.3600000000006</c:v>
                </c:pt>
                <c:pt idx="30">
                  <c:v>6937.3600000000006</c:v>
                </c:pt>
                <c:pt idx="31">
                  <c:v>6937.3600000000006</c:v>
                </c:pt>
                <c:pt idx="32">
                  <c:v>6937.3600000000006</c:v>
                </c:pt>
                <c:pt idx="33">
                  <c:v>6937.3600000000006</c:v>
                </c:pt>
                <c:pt idx="34">
                  <c:v>6937.3600000000006</c:v>
                </c:pt>
                <c:pt idx="35">
                  <c:v>6937.3600000000006</c:v>
                </c:pt>
                <c:pt idx="36">
                  <c:v>6937.3600000000006</c:v>
                </c:pt>
                <c:pt idx="37">
                  <c:v>6937.3600000000006</c:v>
                </c:pt>
                <c:pt idx="38">
                  <c:v>6937.3600000000006</c:v>
                </c:pt>
                <c:pt idx="39">
                  <c:v>6937.3600000000006</c:v>
                </c:pt>
                <c:pt idx="40">
                  <c:v>6937.3600000000006</c:v>
                </c:pt>
                <c:pt idx="41">
                  <c:v>6937.3600000000006</c:v>
                </c:pt>
                <c:pt idx="42">
                  <c:v>6937.3600000000006</c:v>
                </c:pt>
                <c:pt idx="43">
                  <c:v>6937.3600000000006</c:v>
                </c:pt>
                <c:pt idx="44">
                  <c:v>6937.3600000000006</c:v>
                </c:pt>
                <c:pt idx="45">
                  <c:v>6937.3600000000006</c:v>
                </c:pt>
                <c:pt idx="46">
                  <c:v>6937.3600000000006</c:v>
                </c:pt>
                <c:pt idx="47">
                  <c:v>6937.3600000000006</c:v>
                </c:pt>
                <c:pt idx="48">
                  <c:v>6937.3600000000006</c:v>
                </c:pt>
                <c:pt idx="49">
                  <c:v>6937.3600000000006</c:v>
                </c:pt>
                <c:pt idx="50">
                  <c:v>6937.3600000000006</c:v>
                </c:pt>
                <c:pt idx="51">
                  <c:v>6937.3600000000006</c:v>
                </c:pt>
                <c:pt idx="52">
                  <c:v>6937.3600000000006</c:v>
                </c:pt>
                <c:pt idx="53">
                  <c:v>6937.3600000000006</c:v>
                </c:pt>
                <c:pt idx="54">
                  <c:v>6937.3600000000006</c:v>
                </c:pt>
                <c:pt idx="55">
                  <c:v>6937.3600000000006</c:v>
                </c:pt>
                <c:pt idx="56">
                  <c:v>6937.3600000000006</c:v>
                </c:pt>
                <c:pt idx="57">
                  <c:v>6937.3600000000006</c:v>
                </c:pt>
                <c:pt idx="58">
                  <c:v>6937.3600000000006</c:v>
                </c:pt>
                <c:pt idx="59">
                  <c:v>6937.3600000000006</c:v>
                </c:pt>
                <c:pt idx="60">
                  <c:v>6937.3600000000006</c:v>
                </c:pt>
                <c:pt idx="61">
                  <c:v>6937.3600000000006</c:v>
                </c:pt>
                <c:pt idx="62">
                  <c:v>6937.3600000000006</c:v>
                </c:pt>
                <c:pt idx="63">
                  <c:v>6937.3600000000006</c:v>
                </c:pt>
                <c:pt idx="64">
                  <c:v>6937.3600000000006</c:v>
                </c:pt>
                <c:pt idx="65">
                  <c:v>6937.3600000000006</c:v>
                </c:pt>
                <c:pt idx="66">
                  <c:v>6937.3600000000006</c:v>
                </c:pt>
                <c:pt idx="67">
                  <c:v>6937.3600000000006</c:v>
                </c:pt>
                <c:pt idx="68">
                  <c:v>6937.3600000000006</c:v>
                </c:pt>
                <c:pt idx="69">
                  <c:v>6937.3600000000006</c:v>
                </c:pt>
                <c:pt idx="70">
                  <c:v>6937.3600000000006</c:v>
                </c:pt>
                <c:pt idx="71">
                  <c:v>6937.3600000000006</c:v>
                </c:pt>
                <c:pt idx="72">
                  <c:v>6937.3600000000006</c:v>
                </c:pt>
                <c:pt idx="73">
                  <c:v>6937.3600000000006</c:v>
                </c:pt>
                <c:pt idx="74">
                  <c:v>6937.3600000000006</c:v>
                </c:pt>
                <c:pt idx="75">
                  <c:v>6937.3600000000006</c:v>
                </c:pt>
                <c:pt idx="76">
                  <c:v>6937.3600000000006</c:v>
                </c:pt>
                <c:pt idx="77">
                  <c:v>6937.3600000000006</c:v>
                </c:pt>
                <c:pt idx="78">
                  <c:v>6937.3600000000006</c:v>
                </c:pt>
                <c:pt idx="79">
                  <c:v>6937.3600000000006</c:v>
                </c:pt>
                <c:pt idx="80">
                  <c:v>6937.3600000000006</c:v>
                </c:pt>
                <c:pt idx="81">
                  <c:v>6937.3600000000006</c:v>
                </c:pt>
                <c:pt idx="82">
                  <c:v>6937.3600000000006</c:v>
                </c:pt>
                <c:pt idx="83">
                  <c:v>6937.3600000000006</c:v>
                </c:pt>
                <c:pt idx="84">
                  <c:v>6937.3600000000006</c:v>
                </c:pt>
                <c:pt idx="85">
                  <c:v>6937.3600000000006</c:v>
                </c:pt>
                <c:pt idx="86">
                  <c:v>6937.3600000000006</c:v>
                </c:pt>
                <c:pt idx="87">
                  <c:v>6937.3600000000006</c:v>
                </c:pt>
                <c:pt idx="88">
                  <c:v>6937.3600000000006</c:v>
                </c:pt>
                <c:pt idx="89">
                  <c:v>6937.3600000000006</c:v>
                </c:pt>
                <c:pt idx="90">
                  <c:v>6937.3600000000006</c:v>
                </c:pt>
                <c:pt idx="91">
                  <c:v>6937.3600000000006</c:v>
                </c:pt>
                <c:pt idx="92">
                  <c:v>6937.3600000000006</c:v>
                </c:pt>
                <c:pt idx="93">
                  <c:v>6937.3600000000006</c:v>
                </c:pt>
                <c:pt idx="94">
                  <c:v>6937.3600000000006</c:v>
                </c:pt>
                <c:pt idx="95">
                  <c:v>6937.3600000000006</c:v>
                </c:pt>
                <c:pt idx="96">
                  <c:v>6937.3600000000006</c:v>
                </c:pt>
                <c:pt idx="97">
                  <c:v>6937.3600000000006</c:v>
                </c:pt>
                <c:pt idx="98">
                  <c:v>6937.3600000000006</c:v>
                </c:pt>
                <c:pt idx="99">
                  <c:v>6937.3600000000006</c:v>
                </c:pt>
                <c:pt idx="100">
                  <c:v>6937.3600000000006</c:v>
                </c:pt>
                <c:pt idx="101">
                  <c:v>6937.3600000000006</c:v>
                </c:pt>
                <c:pt idx="102">
                  <c:v>6937.3600000000006</c:v>
                </c:pt>
                <c:pt idx="103">
                  <c:v>6937.3600000000006</c:v>
                </c:pt>
                <c:pt idx="104">
                  <c:v>6937.3600000000006</c:v>
                </c:pt>
                <c:pt idx="105">
                  <c:v>6937.3600000000006</c:v>
                </c:pt>
                <c:pt idx="106">
                  <c:v>6937.3600000000006</c:v>
                </c:pt>
                <c:pt idx="107">
                  <c:v>6937.3600000000006</c:v>
                </c:pt>
                <c:pt idx="108">
                  <c:v>6937.3600000000006</c:v>
                </c:pt>
                <c:pt idx="109">
                  <c:v>6937.3600000000006</c:v>
                </c:pt>
                <c:pt idx="110">
                  <c:v>6937.3600000000006</c:v>
                </c:pt>
                <c:pt idx="111">
                  <c:v>6937.3600000000006</c:v>
                </c:pt>
                <c:pt idx="112">
                  <c:v>6937.3600000000006</c:v>
                </c:pt>
                <c:pt idx="113">
                  <c:v>6937.3600000000006</c:v>
                </c:pt>
                <c:pt idx="114">
                  <c:v>6937.3600000000006</c:v>
                </c:pt>
                <c:pt idx="115">
                  <c:v>6937.3600000000006</c:v>
                </c:pt>
                <c:pt idx="116">
                  <c:v>6937.3600000000006</c:v>
                </c:pt>
                <c:pt idx="117">
                  <c:v>6937.3600000000006</c:v>
                </c:pt>
                <c:pt idx="118">
                  <c:v>6937.3600000000006</c:v>
                </c:pt>
                <c:pt idx="119">
                  <c:v>6937.3600000000006</c:v>
                </c:pt>
                <c:pt idx="120">
                  <c:v>6937.3600000000006</c:v>
                </c:pt>
                <c:pt idx="121">
                  <c:v>6937.3600000000006</c:v>
                </c:pt>
                <c:pt idx="122">
                  <c:v>6937.3600000000006</c:v>
                </c:pt>
                <c:pt idx="123">
                  <c:v>6937.3600000000006</c:v>
                </c:pt>
                <c:pt idx="124">
                  <c:v>6937.3600000000006</c:v>
                </c:pt>
                <c:pt idx="125">
                  <c:v>6937.3600000000006</c:v>
                </c:pt>
                <c:pt idx="126">
                  <c:v>6937.3600000000006</c:v>
                </c:pt>
                <c:pt idx="127">
                  <c:v>6937.3600000000006</c:v>
                </c:pt>
                <c:pt idx="128">
                  <c:v>6937.3600000000006</c:v>
                </c:pt>
                <c:pt idx="129">
                  <c:v>6937.3600000000006</c:v>
                </c:pt>
                <c:pt idx="130">
                  <c:v>6937.3600000000006</c:v>
                </c:pt>
                <c:pt idx="131">
                  <c:v>6937.3600000000006</c:v>
                </c:pt>
                <c:pt idx="132">
                  <c:v>6937.3600000000006</c:v>
                </c:pt>
                <c:pt idx="133">
                  <c:v>6937.3600000000006</c:v>
                </c:pt>
                <c:pt idx="134">
                  <c:v>6937.3600000000006</c:v>
                </c:pt>
                <c:pt idx="135">
                  <c:v>6937.3600000000006</c:v>
                </c:pt>
                <c:pt idx="136">
                  <c:v>6937.3600000000006</c:v>
                </c:pt>
                <c:pt idx="137">
                  <c:v>6937.3600000000006</c:v>
                </c:pt>
                <c:pt idx="138">
                  <c:v>6937.3600000000006</c:v>
                </c:pt>
                <c:pt idx="139">
                  <c:v>6937.3600000000006</c:v>
                </c:pt>
                <c:pt idx="140">
                  <c:v>6937.3600000000006</c:v>
                </c:pt>
                <c:pt idx="141">
                  <c:v>6937.3600000000006</c:v>
                </c:pt>
                <c:pt idx="142">
                  <c:v>6937.3600000000006</c:v>
                </c:pt>
                <c:pt idx="143">
                  <c:v>6937.3600000000006</c:v>
                </c:pt>
                <c:pt idx="144">
                  <c:v>6937.3600000000006</c:v>
                </c:pt>
                <c:pt idx="145">
                  <c:v>6937.3600000000006</c:v>
                </c:pt>
                <c:pt idx="146">
                  <c:v>6937.3600000000006</c:v>
                </c:pt>
                <c:pt idx="147">
                  <c:v>6937.3600000000006</c:v>
                </c:pt>
                <c:pt idx="148">
                  <c:v>6937.3600000000006</c:v>
                </c:pt>
                <c:pt idx="149">
                  <c:v>6937.3600000000006</c:v>
                </c:pt>
                <c:pt idx="150">
                  <c:v>6937.3600000000006</c:v>
                </c:pt>
                <c:pt idx="151">
                  <c:v>6937.3600000000006</c:v>
                </c:pt>
                <c:pt idx="152">
                  <c:v>6937.3600000000006</c:v>
                </c:pt>
                <c:pt idx="153">
                  <c:v>6937.3600000000006</c:v>
                </c:pt>
                <c:pt idx="154">
                  <c:v>6937.3600000000006</c:v>
                </c:pt>
                <c:pt idx="155">
                  <c:v>6937.3600000000006</c:v>
                </c:pt>
                <c:pt idx="156">
                  <c:v>6937.3600000000006</c:v>
                </c:pt>
                <c:pt idx="157">
                  <c:v>6937.3600000000006</c:v>
                </c:pt>
                <c:pt idx="158">
                  <c:v>6937.3600000000006</c:v>
                </c:pt>
                <c:pt idx="159">
                  <c:v>6937.3600000000006</c:v>
                </c:pt>
                <c:pt idx="160">
                  <c:v>6937.3600000000006</c:v>
                </c:pt>
                <c:pt idx="161">
                  <c:v>6937.3600000000006</c:v>
                </c:pt>
                <c:pt idx="162">
                  <c:v>6937.3600000000006</c:v>
                </c:pt>
                <c:pt idx="163">
                  <c:v>6937.3600000000006</c:v>
                </c:pt>
                <c:pt idx="164">
                  <c:v>6937.3600000000006</c:v>
                </c:pt>
                <c:pt idx="165">
                  <c:v>6937.3600000000006</c:v>
                </c:pt>
                <c:pt idx="166">
                  <c:v>6937.3600000000006</c:v>
                </c:pt>
                <c:pt idx="167">
                  <c:v>6937.3600000000006</c:v>
                </c:pt>
                <c:pt idx="168">
                  <c:v>6937.3600000000006</c:v>
                </c:pt>
                <c:pt idx="169">
                  <c:v>6937.3600000000006</c:v>
                </c:pt>
                <c:pt idx="170">
                  <c:v>6937.3600000000006</c:v>
                </c:pt>
                <c:pt idx="171">
                  <c:v>6937.3600000000006</c:v>
                </c:pt>
                <c:pt idx="172">
                  <c:v>6937.3600000000006</c:v>
                </c:pt>
                <c:pt idx="173">
                  <c:v>6937.3600000000006</c:v>
                </c:pt>
                <c:pt idx="174">
                  <c:v>6937.3600000000006</c:v>
                </c:pt>
                <c:pt idx="175">
                  <c:v>6937.3600000000006</c:v>
                </c:pt>
                <c:pt idx="176">
                  <c:v>6937.3600000000006</c:v>
                </c:pt>
                <c:pt idx="177">
                  <c:v>6937.3600000000006</c:v>
                </c:pt>
                <c:pt idx="178">
                  <c:v>6937.3600000000006</c:v>
                </c:pt>
                <c:pt idx="179">
                  <c:v>6937.3600000000006</c:v>
                </c:pt>
                <c:pt idx="180">
                  <c:v>6937.3600000000006</c:v>
                </c:pt>
                <c:pt idx="181">
                  <c:v>6937.3600000000006</c:v>
                </c:pt>
                <c:pt idx="182">
                  <c:v>6937.3600000000006</c:v>
                </c:pt>
                <c:pt idx="183">
                  <c:v>6937.3600000000006</c:v>
                </c:pt>
                <c:pt idx="184">
                  <c:v>6937.3600000000006</c:v>
                </c:pt>
                <c:pt idx="185">
                  <c:v>6937.3600000000006</c:v>
                </c:pt>
                <c:pt idx="186">
                  <c:v>6937.3600000000006</c:v>
                </c:pt>
                <c:pt idx="187">
                  <c:v>6937.3600000000006</c:v>
                </c:pt>
                <c:pt idx="188">
                  <c:v>6937.3600000000006</c:v>
                </c:pt>
                <c:pt idx="189">
                  <c:v>6937.3600000000006</c:v>
                </c:pt>
                <c:pt idx="190">
                  <c:v>6937.3600000000006</c:v>
                </c:pt>
                <c:pt idx="191">
                  <c:v>6937.3600000000006</c:v>
                </c:pt>
                <c:pt idx="192">
                  <c:v>6937.3600000000006</c:v>
                </c:pt>
                <c:pt idx="193">
                  <c:v>6937.3600000000006</c:v>
                </c:pt>
                <c:pt idx="194">
                  <c:v>6937.3600000000006</c:v>
                </c:pt>
                <c:pt idx="195">
                  <c:v>6937.3600000000006</c:v>
                </c:pt>
                <c:pt idx="196">
                  <c:v>6937.3600000000006</c:v>
                </c:pt>
                <c:pt idx="197">
                  <c:v>6937.3600000000006</c:v>
                </c:pt>
                <c:pt idx="198">
                  <c:v>6937.3600000000006</c:v>
                </c:pt>
                <c:pt idx="199">
                  <c:v>6937.3600000000006</c:v>
                </c:pt>
                <c:pt idx="200">
                  <c:v>6937.3600000000006</c:v>
                </c:pt>
                <c:pt idx="201">
                  <c:v>6937.3600000000006</c:v>
                </c:pt>
                <c:pt idx="202">
                  <c:v>6937.3600000000006</c:v>
                </c:pt>
                <c:pt idx="203">
                  <c:v>6937.3600000000006</c:v>
                </c:pt>
                <c:pt idx="204">
                  <c:v>6937.3600000000006</c:v>
                </c:pt>
                <c:pt idx="205">
                  <c:v>6937.3600000000006</c:v>
                </c:pt>
                <c:pt idx="206">
                  <c:v>6937.3600000000006</c:v>
                </c:pt>
                <c:pt idx="207">
                  <c:v>6937.3600000000006</c:v>
                </c:pt>
                <c:pt idx="208">
                  <c:v>6937.3600000000006</c:v>
                </c:pt>
                <c:pt idx="209">
                  <c:v>6937.3600000000006</c:v>
                </c:pt>
                <c:pt idx="210">
                  <c:v>6937.3600000000006</c:v>
                </c:pt>
                <c:pt idx="211">
                  <c:v>6937.3600000000006</c:v>
                </c:pt>
                <c:pt idx="212">
                  <c:v>6937.3600000000006</c:v>
                </c:pt>
                <c:pt idx="213">
                  <c:v>6937.3600000000006</c:v>
                </c:pt>
                <c:pt idx="214">
                  <c:v>6937.3600000000006</c:v>
                </c:pt>
                <c:pt idx="215">
                  <c:v>6937.3600000000006</c:v>
                </c:pt>
                <c:pt idx="216">
                  <c:v>6937.3600000000006</c:v>
                </c:pt>
                <c:pt idx="217">
                  <c:v>6937.3600000000006</c:v>
                </c:pt>
                <c:pt idx="218">
                  <c:v>6937.3600000000006</c:v>
                </c:pt>
                <c:pt idx="219">
                  <c:v>6937.3600000000006</c:v>
                </c:pt>
                <c:pt idx="220">
                  <c:v>6937.3600000000006</c:v>
                </c:pt>
                <c:pt idx="221">
                  <c:v>6937.3600000000006</c:v>
                </c:pt>
                <c:pt idx="222">
                  <c:v>6937.3600000000006</c:v>
                </c:pt>
                <c:pt idx="223">
                  <c:v>6937.3600000000006</c:v>
                </c:pt>
                <c:pt idx="224">
                  <c:v>6937.3600000000006</c:v>
                </c:pt>
                <c:pt idx="225">
                  <c:v>6937.3600000000006</c:v>
                </c:pt>
                <c:pt idx="226">
                  <c:v>6937.3600000000006</c:v>
                </c:pt>
                <c:pt idx="227">
                  <c:v>6937.3600000000006</c:v>
                </c:pt>
                <c:pt idx="228">
                  <c:v>6937.3600000000006</c:v>
                </c:pt>
                <c:pt idx="229">
                  <c:v>6937.3600000000006</c:v>
                </c:pt>
                <c:pt idx="230">
                  <c:v>6937.3600000000006</c:v>
                </c:pt>
                <c:pt idx="231">
                  <c:v>6937.3600000000006</c:v>
                </c:pt>
                <c:pt idx="232">
                  <c:v>6937.3600000000006</c:v>
                </c:pt>
                <c:pt idx="233">
                  <c:v>6937.3600000000006</c:v>
                </c:pt>
                <c:pt idx="234">
                  <c:v>6937.3600000000006</c:v>
                </c:pt>
                <c:pt idx="235">
                  <c:v>6937.3600000000006</c:v>
                </c:pt>
                <c:pt idx="236">
                  <c:v>6937.3600000000006</c:v>
                </c:pt>
                <c:pt idx="237">
                  <c:v>6937.3600000000006</c:v>
                </c:pt>
                <c:pt idx="238">
                  <c:v>6937.3600000000006</c:v>
                </c:pt>
                <c:pt idx="239">
                  <c:v>6937.3600000000006</c:v>
                </c:pt>
                <c:pt idx="240">
                  <c:v>6937.3600000000006</c:v>
                </c:pt>
                <c:pt idx="241">
                  <c:v>6937.3600000000006</c:v>
                </c:pt>
                <c:pt idx="242">
                  <c:v>6937.3600000000006</c:v>
                </c:pt>
                <c:pt idx="243">
                  <c:v>6937.3600000000006</c:v>
                </c:pt>
                <c:pt idx="244">
                  <c:v>6937.3600000000006</c:v>
                </c:pt>
                <c:pt idx="245">
                  <c:v>6937.3600000000006</c:v>
                </c:pt>
                <c:pt idx="246">
                  <c:v>6937.3600000000006</c:v>
                </c:pt>
                <c:pt idx="247">
                  <c:v>6937.3600000000006</c:v>
                </c:pt>
                <c:pt idx="248">
                  <c:v>6937.3600000000006</c:v>
                </c:pt>
                <c:pt idx="249">
                  <c:v>6937.3600000000006</c:v>
                </c:pt>
                <c:pt idx="250">
                  <c:v>6937.3600000000006</c:v>
                </c:pt>
                <c:pt idx="251">
                  <c:v>6937.3600000000006</c:v>
                </c:pt>
                <c:pt idx="252">
                  <c:v>6937.3600000000006</c:v>
                </c:pt>
                <c:pt idx="253">
                  <c:v>6937.3600000000006</c:v>
                </c:pt>
                <c:pt idx="254">
                  <c:v>6937.3600000000006</c:v>
                </c:pt>
                <c:pt idx="255">
                  <c:v>6937.3600000000006</c:v>
                </c:pt>
                <c:pt idx="256">
                  <c:v>6937.3600000000006</c:v>
                </c:pt>
                <c:pt idx="257">
                  <c:v>6937.3600000000006</c:v>
                </c:pt>
                <c:pt idx="258">
                  <c:v>6937.3600000000006</c:v>
                </c:pt>
                <c:pt idx="259">
                  <c:v>6937.3600000000006</c:v>
                </c:pt>
                <c:pt idx="260">
                  <c:v>6937.3600000000006</c:v>
                </c:pt>
                <c:pt idx="261">
                  <c:v>6937.3600000000006</c:v>
                </c:pt>
                <c:pt idx="262">
                  <c:v>6937.3600000000006</c:v>
                </c:pt>
                <c:pt idx="263">
                  <c:v>6937.3600000000006</c:v>
                </c:pt>
                <c:pt idx="264">
                  <c:v>6937.3600000000006</c:v>
                </c:pt>
                <c:pt idx="265">
                  <c:v>6937.3600000000006</c:v>
                </c:pt>
                <c:pt idx="266">
                  <c:v>7397.92</c:v>
                </c:pt>
                <c:pt idx="267">
                  <c:v>7397.92</c:v>
                </c:pt>
                <c:pt idx="268">
                  <c:v>7397.92</c:v>
                </c:pt>
                <c:pt idx="269">
                  <c:v>7397.92</c:v>
                </c:pt>
                <c:pt idx="270">
                  <c:v>7397.92</c:v>
                </c:pt>
                <c:pt idx="271">
                  <c:v>7397.92</c:v>
                </c:pt>
                <c:pt idx="272">
                  <c:v>7397.92</c:v>
                </c:pt>
                <c:pt idx="273">
                  <c:v>7397.92</c:v>
                </c:pt>
                <c:pt idx="274">
                  <c:v>7397.92</c:v>
                </c:pt>
                <c:pt idx="275">
                  <c:v>7397.92</c:v>
                </c:pt>
                <c:pt idx="276">
                  <c:v>7397.92</c:v>
                </c:pt>
                <c:pt idx="277">
                  <c:v>7397.92</c:v>
                </c:pt>
                <c:pt idx="278">
                  <c:v>7397.92</c:v>
                </c:pt>
                <c:pt idx="279">
                  <c:v>7397.92</c:v>
                </c:pt>
                <c:pt idx="280">
                  <c:v>7397.92</c:v>
                </c:pt>
                <c:pt idx="281">
                  <c:v>7397.92</c:v>
                </c:pt>
                <c:pt idx="282">
                  <c:v>7397.92</c:v>
                </c:pt>
                <c:pt idx="283">
                  <c:v>7397.92</c:v>
                </c:pt>
                <c:pt idx="284">
                  <c:v>7397.92</c:v>
                </c:pt>
                <c:pt idx="285">
                  <c:v>7397.92</c:v>
                </c:pt>
                <c:pt idx="286">
                  <c:v>7397.92</c:v>
                </c:pt>
                <c:pt idx="287">
                  <c:v>7397.92</c:v>
                </c:pt>
                <c:pt idx="288">
                  <c:v>7397.92</c:v>
                </c:pt>
                <c:pt idx="289">
                  <c:v>7397.92</c:v>
                </c:pt>
                <c:pt idx="290">
                  <c:v>7397.92</c:v>
                </c:pt>
                <c:pt idx="291">
                  <c:v>7397.92</c:v>
                </c:pt>
                <c:pt idx="292">
                  <c:v>7397.92</c:v>
                </c:pt>
                <c:pt idx="293">
                  <c:v>7397.92</c:v>
                </c:pt>
                <c:pt idx="294">
                  <c:v>7397.92</c:v>
                </c:pt>
                <c:pt idx="295">
                  <c:v>7397.92</c:v>
                </c:pt>
                <c:pt idx="296">
                  <c:v>7397.92</c:v>
                </c:pt>
                <c:pt idx="297">
                  <c:v>7397.92</c:v>
                </c:pt>
                <c:pt idx="298">
                  <c:v>7397.92</c:v>
                </c:pt>
                <c:pt idx="299">
                  <c:v>7397.92</c:v>
                </c:pt>
                <c:pt idx="300">
                  <c:v>7397.92</c:v>
                </c:pt>
                <c:pt idx="301">
                  <c:v>7397.92</c:v>
                </c:pt>
                <c:pt idx="302">
                  <c:v>7397.92</c:v>
                </c:pt>
                <c:pt idx="303">
                  <c:v>7397.92</c:v>
                </c:pt>
                <c:pt idx="304">
                  <c:v>7397.92</c:v>
                </c:pt>
                <c:pt idx="305">
                  <c:v>7397.92</c:v>
                </c:pt>
                <c:pt idx="306">
                  <c:v>7397.92</c:v>
                </c:pt>
                <c:pt idx="307">
                  <c:v>7397.92</c:v>
                </c:pt>
                <c:pt idx="308">
                  <c:v>7397.92</c:v>
                </c:pt>
                <c:pt idx="309">
                  <c:v>7397.92</c:v>
                </c:pt>
                <c:pt idx="310">
                  <c:v>7397.92</c:v>
                </c:pt>
                <c:pt idx="311">
                  <c:v>7397.92</c:v>
                </c:pt>
                <c:pt idx="312">
                  <c:v>7397.92</c:v>
                </c:pt>
                <c:pt idx="313">
                  <c:v>7397.92</c:v>
                </c:pt>
                <c:pt idx="314">
                  <c:v>7397.92</c:v>
                </c:pt>
                <c:pt idx="315">
                  <c:v>7397.92</c:v>
                </c:pt>
                <c:pt idx="316">
                  <c:v>7397.92</c:v>
                </c:pt>
                <c:pt idx="317">
                  <c:v>7397.92</c:v>
                </c:pt>
                <c:pt idx="318">
                  <c:v>7397.92</c:v>
                </c:pt>
                <c:pt idx="319">
                  <c:v>7397.92</c:v>
                </c:pt>
                <c:pt idx="320">
                  <c:v>7397.92</c:v>
                </c:pt>
                <c:pt idx="321">
                  <c:v>7397.92</c:v>
                </c:pt>
                <c:pt idx="322">
                  <c:v>7397.92</c:v>
                </c:pt>
                <c:pt idx="323">
                  <c:v>7397.92</c:v>
                </c:pt>
                <c:pt idx="324">
                  <c:v>7397.92</c:v>
                </c:pt>
                <c:pt idx="325">
                  <c:v>7397.92</c:v>
                </c:pt>
                <c:pt idx="326">
                  <c:v>7397.92</c:v>
                </c:pt>
                <c:pt idx="327">
                  <c:v>7397.92</c:v>
                </c:pt>
                <c:pt idx="328">
                  <c:v>7397.92</c:v>
                </c:pt>
                <c:pt idx="329">
                  <c:v>7397.92</c:v>
                </c:pt>
                <c:pt idx="330">
                  <c:v>7397.92</c:v>
                </c:pt>
                <c:pt idx="331">
                  <c:v>7397.92</c:v>
                </c:pt>
                <c:pt idx="332">
                  <c:v>7397.92</c:v>
                </c:pt>
                <c:pt idx="333">
                  <c:v>7397.92</c:v>
                </c:pt>
                <c:pt idx="334">
                  <c:v>7397.92</c:v>
                </c:pt>
                <c:pt idx="335">
                  <c:v>7397.92</c:v>
                </c:pt>
                <c:pt idx="336">
                  <c:v>7397.92</c:v>
                </c:pt>
                <c:pt idx="337">
                  <c:v>7397.92</c:v>
                </c:pt>
                <c:pt idx="338">
                  <c:v>7397.92</c:v>
                </c:pt>
                <c:pt idx="339">
                  <c:v>7397.92</c:v>
                </c:pt>
                <c:pt idx="340">
                  <c:v>7397.92</c:v>
                </c:pt>
                <c:pt idx="341">
                  <c:v>7397.92</c:v>
                </c:pt>
                <c:pt idx="342">
                  <c:v>7397.92</c:v>
                </c:pt>
                <c:pt idx="343">
                  <c:v>7397.92</c:v>
                </c:pt>
                <c:pt idx="344">
                  <c:v>7397.92</c:v>
                </c:pt>
                <c:pt idx="345">
                  <c:v>7397.92</c:v>
                </c:pt>
                <c:pt idx="346">
                  <c:v>7397.92</c:v>
                </c:pt>
                <c:pt idx="347">
                  <c:v>7397.92</c:v>
                </c:pt>
                <c:pt idx="348">
                  <c:v>7397.92</c:v>
                </c:pt>
                <c:pt idx="349">
                  <c:v>7397.92</c:v>
                </c:pt>
                <c:pt idx="350">
                  <c:v>7397.92</c:v>
                </c:pt>
                <c:pt idx="351">
                  <c:v>7397.92</c:v>
                </c:pt>
                <c:pt idx="352">
                  <c:v>7397.92</c:v>
                </c:pt>
                <c:pt idx="353">
                  <c:v>7397.92</c:v>
                </c:pt>
                <c:pt idx="354">
                  <c:v>7397.92</c:v>
                </c:pt>
                <c:pt idx="355">
                  <c:v>7397.92</c:v>
                </c:pt>
                <c:pt idx="356">
                  <c:v>7397.92</c:v>
                </c:pt>
                <c:pt idx="357">
                  <c:v>7397.92</c:v>
                </c:pt>
                <c:pt idx="358">
                  <c:v>7397.92</c:v>
                </c:pt>
                <c:pt idx="359">
                  <c:v>7397.92</c:v>
                </c:pt>
                <c:pt idx="360">
                  <c:v>7397.92</c:v>
                </c:pt>
                <c:pt idx="361">
                  <c:v>7397.92</c:v>
                </c:pt>
                <c:pt idx="362">
                  <c:v>7397.92</c:v>
                </c:pt>
                <c:pt idx="363">
                  <c:v>7397.92</c:v>
                </c:pt>
                <c:pt idx="364">
                  <c:v>7397.92</c:v>
                </c:pt>
                <c:pt idx="365">
                  <c:v>7397.92</c:v>
                </c:pt>
                <c:pt idx="366">
                  <c:v>7397.92</c:v>
                </c:pt>
                <c:pt idx="367">
                  <c:v>7397.92</c:v>
                </c:pt>
                <c:pt idx="368">
                  <c:v>7397.92</c:v>
                </c:pt>
                <c:pt idx="369">
                  <c:v>7397.92</c:v>
                </c:pt>
                <c:pt idx="370">
                  <c:v>7397.92</c:v>
                </c:pt>
                <c:pt idx="371">
                  <c:v>7397.92</c:v>
                </c:pt>
                <c:pt idx="372">
                  <c:v>7397.92</c:v>
                </c:pt>
                <c:pt idx="373">
                  <c:v>7397.92</c:v>
                </c:pt>
                <c:pt idx="374">
                  <c:v>7397.92</c:v>
                </c:pt>
                <c:pt idx="375">
                  <c:v>7397.92</c:v>
                </c:pt>
                <c:pt idx="376">
                  <c:v>7397.92</c:v>
                </c:pt>
                <c:pt idx="377">
                  <c:v>7397.92</c:v>
                </c:pt>
                <c:pt idx="378">
                  <c:v>7397.92</c:v>
                </c:pt>
                <c:pt idx="379">
                  <c:v>7397.92</c:v>
                </c:pt>
                <c:pt idx="380">
                  <c:v>7397.92</c:v>
                </c:pt>
                <c:pt idx="381">
                  <c:v>7397.92</c:v>
                </c:pt>
                <c:pt idx="382">
                  <c:v>7397.92</c:v>
                </c:pt>
                <c:pt idx="383">
                  <c:v>7397.92</c:v>
                </c:pt>
                <c:pt idx="384">
                  <c:v>7397.92</c:v>
                </c:pt>
                <c:pt idx="385">
                  <c:v>7397.92</c:v>
                </c:pt>
                <c:pt idx="386">
                  <c:v>7397.92</c:v>
                </c:pt>
                <c:pt idx="387">
                  <c:v>7397.92</c:v>
                </c:pt>
                <c:pt idx="388">
                  <c:v>7397.92</c:v>
                </c:pt>
                <c:pt idx="389">
                  <c:v>7397.92</c:v>
                </c:pt>
                <c:pt idx="390">
                  <c:v>7397.92</c:v>
                </c:pt>
                <c:pt idx="391">
                  <c:v>7397.92</c:v>
                </c:pt>
                <c:pt idx="392">
                  <c:v>7397.92</c:v>
                </c:pt>
                <c:pt idx="393">
                  <c:v>7397.92</c:v>
                </c:pt>
                <c:pt idx="394">
                  <c:v>7397.92</c:v>
                </c:pt>
                <c:pt idx="395">
                  <c:v>7397.92</c:v>
                </c:pt>
                <c:pt idx="396">
                  <c:v>7397.92</c:v>
                </c:pt>
                <c:pt idx="397">
                  <c:v>7397.92</c:v>
                </c:pt>
                <c:pt idx="398">
                  <c:v>7397.92</c:v>
                </c:pt>
                <c:pt idx="399">
                  <c:v>7397.92</c:v>
                </c:pt>
                <c:pt idx="400">
                  <c:v>7397.92</c:v>
                </c:pt>
                <c:pt idx="401">
                  <c:v>7397.92</c:v>
                </c:pt>
                <c:pt idx="402">
                  <c:v>7397.92</c:v>
                </c:pt>
                <c:pt idx="403">
                  <c:v>7397.92</c:v>
                </c:pt>
                <c:pt idx="404">
                  <c:v>7397.92</c:v>
                </c:pt>
                <c:pt idx="405">
                  <c:v>7397.92</c:v>
                </c:pt>
                <c:pt idx="406">
                  <c:v>7397.92</c:v>
                </c:pt>
                <c:pt idx="407">
                  <c:v>7397.92</c:v>
                </c:pt>
                <c:pt idx="408">
                  <c:v>7397.92</c:v>
                </c:pt>
                <c:pt idx="409">
                  <c:v>7397.92</c:v>
                </c:pt>
                <c:pt idx="410">
                  <c:v>7397.92</c:v>
                </c:pt>
                <c:pt idx="411">
                  <c:v>7397.92</c:v>
                </c:pt>
                <c:pt idx="412">
                  <c:v>7397.92</c:v>
                </c:pt>
                <c:pt idx="413">
                  <c:v>7397.92</c:v>
                </c:pt>
                <c:pt idx="414">
                  <c:v>7397.92</c:v>
                </c:pt>
                <c:pt idx="415">
                  <c:v>7397.92</c:v>
                </c:pt>
                <c:pt idx="416">
                  <c:v>7397.92</c:v>
                </c:pt>
                <c:pt idx="417">
                  <c:v>7397.92</c:v>
                </c:pt>
                <c:pt idx="418">
                  <c:v>7397.92</c:v>
                </c:pt>
                <c:pt idx="419">
                  <c:v>7397.92</c:v>
                </c:pt>
                <c:pt idx="420">
                  <c:v>7397.92</c:v>
                </c:pt>
                <c:pt idx="421">
                  <c:v>7397.92</c:v>
                </c:pt>
                <c:pt idx="422">
                  <c:v>7397.92</c:v>
                </c:pt>
                <c:pt idx="423">
                  <c:v>7397.92</c:v>
                </c:pt>
                <c:pt idx="424">
                  <c:v>7397.92</c:v>
                </c:pt>
                <c:pt idx="425">
                  <c:v>7397.92</c:v>
                </c:pt>
                <c:pt idx="426">
                  <c:v>7397.92</c:v>
                </c:pt>
                <c:pt idx="427">
                  <c:v>7397.92</c:v>
                </c:pt>
                <c:pt idx="428">
                  <c:v>7397.92</c:v>
                </c:pt>
                <c:pt idx="429">
                  <c:v>7397.92</c:v>
                </c:pt>
                <c:pt idx="430">
                  <c:v>7397.92</c:v>
                </c:pt>
                <c:pt idx="431">
                  <c:v>7397.92</c:v>
                </c:pt>
                <c:pt idx="432">
                  <c:v>7397.92</c:v>
                </c:pt>
                <c:pt idx="433">
                  <c:v>7397.92</c:v>
                </c:pt>
                <c:pt idx="434">
                  <c:v>7397.92</c:v>
                </c:pt>
                <c:pt idx="435">
                  <c:v>7397.92</c:v>
                </c:pt>
                <c:pt idx="436">
                  <c:v>7397.92</c:v>
                </c:pt>
                <c:pt idx="437">
                  <c:v>7397.92</c:v>
                </c:pt>
                <c:pt idx="438">
                  <c:v>7397.92</c:v>
                </c:pt>
                <c:pt idx="439">
                  <c:v>7397.92</c:v>
                </c:pt>
                <c:pt idx="440">
                  <c:v>7397.92</c:v>
                </c:pt>
                <c:pt idx="441">
                  <c:v>7397.92</c:v>
                </c:pt>
                <c:pt idx="442">
                  <c:v>7397.92</c:v>
                </c:pt>
                <c:pt idx="443">
                  <c:v>7397.92</c:v>
                </c:pt>
                <c:pt idx="444">
                  <c:v>7397.92</c:v>
                </c:pt>
                <c:pt idx="445">
                  <c:v>7397.92</c:v>
                </c:pt>
                <c:pt idx="446">
                  <c:v>7397.92</c:v>
                </c:pt>
                <c:pt idx="447">
                  <c:v>7397.92</c:v>
                </c:pt>
                <c:pt idx="448">
                  <c:v>7397.92</c:v>
                </c:pt>
                <c:pt idx="449">
                  <c:v>7397.92</c:v>
                </c:pt>
                <c:pt idx="450">
                  <c:v>7397.92</c:v>
                </c:pt>
                <c:pt idx="451">
                  <c:v>7397.92</c:v>
                </c:pt>
                <c:pt idx="452">
                  <c:v>7397.92</c:v>
                </c:pt>
                <c:pt idx="453">
                  <c:v>7397.92</c:v>
                </c:pt>
                <c:pt idx="454">
                  <c:v>7397.92</c:v>
                </c:pt>
                <c:pt idx="455">
                  <c:v>7397.92</c:v>
                </c:pt>
                <c:pt idx="456">
                  <c:v>7397.92</c:v>
                </c:pt>
                <c:pt idx="457">
                  <c:v>7397.92</c:v>
                </c:pt>
                <c:pt idx="458">
                  <c:v>7397.92</c:v>
                </c:pt>
                <c:pt idx="459">
                  <c:v>7397.92</c:v>
                </c:pt>
                <c:pt idx="460">
                  <c:v>7397.92</c:v>
                </c:pt>
                <c:pt idx="461">
                  <c:v>7397.92</c:v>
                </c:pt>
                <c:pt idx="462">
                  <c:v>7397.92</c:v>
                </c:pt>
                <c:pt idx="463">
                  <c:v>7397.92</c:v>
                </c:pt>
                <c:pt idx="464">
                  <c:v>7397.92</c:v>
                </c:pt>
                <c:pt idx="465">
                  <c:v>7397.92</c:v>
                </c:pt>
                <c:pt idx="466">
                  <c:v>7397.92</c:v>
                </c:pt>
                <c:pt idx="467">
                  <c:v>7397.92</c:v>
                </c:pt>
                <c:pt idx="468">
                  <c:v>7397.92</c:v>
                </c:pt>
                <c:pt idx="469">
                  <c:v>7397.92</c:v>
                </c:pt>
                <c:pt idx="470">
                  <c:v>7397.92</c:v>
                </c:pt>
                <c:pt idx="471">
                  <c:v>7397.92</c:v>
                </c:pt>
                <c:pt idx="472">
                  <c:v>7397.92</c:v>
                </c:pt>
                <c:pt idx="473">
                  <c:v>7397.92</c:v>
                </c:pt>
                <c:pt idx="474">
                  <c:v>7397.92</c:v>
                </c:pt>
                <c:pt idx="475">
                  <c:v>7397.92</c:v>
                </c:pt>
                <c:pt idx="476">
                  <c:v>7397.92</c:v>
                </c:pt>
                <c:pt idx="477">
                  <c:v>7397.92</c:v>
                </c:pt>
                <c:pt idx="478">
                  <c:v>7397.92</c:v>
                </c:pt>
                <c:pt idx="479">
                  <c:v>7397.92</c:v>
                </c:pt>
                <c:pt idx="480">
                  <c:v>7397.92</c:v>
                </c:pt>
                <c:pt idx="481">
                  <c:v>7397.92</c:v>
                </c:pt>
                <c:pt idx="482">
                  <c:v>7397.92</c:v>
                </c:pt>
                <c:pt idx="483">
                  <c:v>7397.92</c:v>
                </c:pt>
                <c:pt idx="484">
                  <c:v>7397.92</c:v>
                </c:pt>
                <c:pt idx="485">
                  <c:v>7397.92</c:v>
                </c:pt>
                <c:pt idx="486">
                  <c:v>7397.92</c:v>
                </c:pt>
                <c:pt idx="487">
                  <c:v>7397.92</c:v>
                </c:pt>
                <c:pt idx="488">
                  <c:v>7397.92</c:v>
                </c:pt>
                <c:pt idx="489">
                  <c:v>7397.92</c:v>
                </c:pt>
                <c:pt idx="490">
                  <c:v>7397.92</c:v>
                </c:pt>
                <c:pt idx="491">
                  <c:v>7397.92</c:v>
                </c:pt>
                <c:pt idx="492">
                  <c:v>7397.92</c:v>
                </c:pt>
                <c:pt idx="493">
                  <c:v>7397.92</c:v>
                </c:pt>
                <c:pt idx="494">
                  <c:v>7397.92</c:v>
                </c:pt>
                <c:pt idx="495">
                  <c:v>7397.92</c:v>
                </c:pt>
                <c:pt idx="496">
                  <c:v>7397.92</c:v>
                </c:pt>
                <c:pt idx="497">
                  <c:v>7397.92</c:v>
                </c:pt>
                <c:pt idx="498">
                  <c:v>7397.92</c:v>
                </c:pt>
                <c:pt idx="499">
                  <c:v>7397.92</c:v>
                </c:pt>
                <c:pt idx="500">
                  <c:v>7397.92</c:v>
                </c:pt>
                <c:pt idx="501">
                  <c:v>7397.92</c:v>
                </c:pt>
                <c:pt idx="502">
                  <c:v>7397.92</c:v>
                </c:pt>
                <c:pt idx="503">
                  <c:v>7397.92</c:v>
                </c:pt>
                <c:pt idx="504">
                  <c:v>7397.92</c:v>
                </c:pt>
                <c:pt idx="505">
                  <c:v>7397.92</c:v>
                </c:pt>
                <c:pt idx="506">
                  <c:v>7397.92</c:v>
                </c:pt>
                <c:pt idx="507">
                  <c:v>7397.92</c:v>
                </c:pt>
                <c:pt idx="508">
                  <c:v>7397.92</c:v>
                </c:pt>
                <c:pt idx="509">
                  <c:v>7397.92</c:v>
                </c:pt>
                <c:pt idx="510">
                  <c:v>8750.130000000001</c:v>
                </c:pt>
                <c:pt idx="511">
                  <c:v>8750.130000000001</c:v>
                </c:pt>
                <c:pt idx="512">
                  <c:v>8750.130000000001</c:v>
                </c:pt>
                <c:pt idx="513">
                  <c:v>8750.130000000001</c:v>
                </c:pt>
                <c:pt idx="514">
                  <c:v>8750.130000000001</c:v>
                </c:pt>
                <c:pt idx="515">
                  <c:v>8750.130000000001</c:v>
                </c:pt>
                <c:pt idx="516">
                  <c:v>8750.130000000001</c:v>
                </c:pt>
                <c:pt idx="517">
                  <c:v>8750.130000000001</c:v>
                </c:pt>
                <c:pt idx="518">
                  <c:v>8750.130000000001</c:v>
                </c:pt>
                <c:pt idx="519">
                  <c:v>8750.130000000001</c:v>
                </c:pt>
                <c:pt idx="520">
                  <c:v>8750.130000000001</c:v>
                </c:pt>
                <c:pt idx="521">
                  <c:v>8750.130000000001</c:v>
                </c:pt>
                <c:pt idx="522">
                  <c:v>8750.130000000001</c:v>
                </c:pt>
                <c:pt idx="523">
                  <c:v>8750.130000000001</c:v>
                </c:pt>
                <c:pt idx="524">
                  <c:v>8750.130000000001</c:v>
                </c:pt>
                <c:pt idx="525">
                  <c:v>8750.130000000001</c:v>
                </c:pt>
                <c:pt idx="526">
                  <c:v>8750.130000000001</c:v>
                </c:pt>
                <c:pt idx="527">
                  <c:v>8750.130000000001</c:v>
                </c:pt>
                <c:pt idx="528">
                  <c:v>8750.130000000001</c:v>
                </c:pt>
                <c:pt idx="529">
                  <c:v>8750.130000000001</c:v>
                </c:pt>
                <c:pt idx="530">
                  <c:v>8750.130000000001</c:v>
                </c:pt>
                <c:pt idx="531">
                  <c:v>8750.130000000001</c:v>
                </c:pt>
                <c:pt idx="532">
                  <c:v>8750.130000000001</c:v>
                </c:pt>
                <c:pt idx="533">
                  <c:v>8750.130000000001</c:v>
                </c:pt>
                <c:pt idx="534">
                  <c:v>8750.130000000001</c:v>
                </c:pt>
                <c:pt idx="535">
                  <c:v>8750.130000000001</c:v>
                </c:pt>
                <c:pt idx="536">
                  <c:v>8750.130000000001</c:v>
                </c:pt>
                <c:pt idx="537">
                  <c:v>8750.130000000001</c:v>
                </c:pt>
                <c:pt idx="538">
                  <c:v>8750.130000000001</c:v>
                </c:pt>
                <c:pt idx="539">
                  <c:v>8750.130000000001</c:v>
                </c:pt>
                <c:pt idx="540">
                  <c:v>8750.130000000001</c:v>
                </c:pt>
                <c:pt idx="541">
                  <c:v>8750.130000000001</c:v>
                </c:pt>
                <c:pt idx="542">
                  <c:v>8750.130000000001</c:v>
                </c:pt>
                <c:pt idx="543">
                  <c:v>8750.130000000001</c:v>
                </c:pt>
                <c:pt idx="544">
                  <c:v>8750.130000000001</c:v>
                </c:pt>
                <c:pt idx="545">
                  <c:v>8750.130000000001</c:v>
                </c:pt>
                <c:pt idx="546">
                  <c:v>8750.130000000001</c:v>
                </c:pt>
                <c:pt idx="547">
                  <c:v>8750.130000000001</c:v>
                </c:pt>
                <c:pt idx="548">
                  <c:v>8750.130000000001</c:v>
                </c:pt>
                <c:pt idx="549">
                  <c:v>8750.130000000001</c:v>
                </c:pt>
                <c:pt idx="550">
                  <c:v>8750.130000000001</c:v>
                </c:pt>
                <c:pt idx="551">
                  <c:v>8750.130000000001</c:v>
                </c:pt>
                <c:pt idx="552">
                  <c:v>8750.130000000001</c:v>
                </c:pt>
                <c:pt idx="553">
                  <c:v>8750.130000000001</c:v>
                </c:pt>
                <c:pt idx="554">
                  <c:v>8750.130000000001</c:v>
                </c:pt>
                <c:pt idx="555">
                  <c:v>8750.130000000001</c:v>
                </c:pt>
                <c:pt idx="556">
                  <c:v>8750.130000000001</c:v>
                </c:pt>
                <c:pt idx="557">
                  <c:v>8750.130000000001</c:v>
                </c:pt>
                <c:pt idx="558">
                  <c:v>8750.130000000001</c:v>
                </c:pt>
                <c:pt idx="559">
                  <c:v>8750.130000000001</c:v>
                </c:pt>
                <c:pt idx="560">
                  <c:v>8750.130000000001</c:v>
                </c:pt>
                <c:pt idx="561">
                  <c:v>8750.130000000001</c:v>
                </c:pt>
                <c:pt idx="562">
                  <c:v>8750.130000000001</c:v>
                </c:pt>
                <c:pt idx="563">
                  <c:v>8750.130000000001</c:v>
                </c:pt>
                <c:pt idx="564">
                  <c:v>8750.130000000001</c:v>
                </c:pt>
                <c:pt idx="565">
                  <c:v>8750.130000000001</c:v>
                </c:pt>
                <c:pt idx="566">
                  <c:v>8750.130000000001</c:v>
                </c:pt>
                <c:pt idx="567">
                  <c:v>8750.130000000001</c:v>
                </c:pt>
                <c:pt idx="568">
                  <c:v>8750.130000000001</c:v>
                </c:pt>
                <c:pt idx="569">
                  <c:v>8750.130000000001</c:v>
                </c:pt>
                <c:pt idx="570">
                  <c:v>8750.130000000001</c:v>
                </c:pt>
                <c:pt idx="571">
                  <c:v>8750.130000000001</c:v>
                </c:pt>
                <c:pt idx="572">
                  <c:v>8750.130000000001</c:v>
                </c:pt>
                <c:pt idx="573">
                  <c:v>8750.130000000001</c:v>
                </c:pt>
                <c:pt idx="574">
                  <c:v>8750.130000000001</c:v>
                </c:pt>
                <c:pt idx="575">
                  <c:v>8750.130000000001</c:v>
                </c:pt>
                <c:pt idx="576">
                  <c:v>8750.130000000001</c:v>
                </c:pt>
                <c:pt idx="577">
                  <c:v>8750.130000000001</c:v>
                </c:pt>
                <c:pt idx="578">
                  <c:v>8750.130000000001</c:v>
                </c:pt>
                <c:pt idx="579">
                  <c:v>8750.130000000001</c:v>
                </c:pt>
                <c:pt idx="580">
                  <c:v>8750.130000000001</c:v>
                </c:pt>
                <c:pt idx="581">
                  <c:v>8750.130000000001</c:v>
                </c:pt>
                <c:pt idx="582">
                  <c:v>8750.130000000001</c:v>
                </c:pt>
                <c:pt idx="583">
                  <c:v>8750.130000000001</c:v>
                </c:pt>
                <c:pt idx="584">
                  <c:v>8750.130000000001</c:v>
                </c:pt>
                <c:pt idx="585">
                  <c:v>8750.130000000001</c:v>
                </c:pt>
                <c:pt idx="586">
                  <c:v>8750.130000000001</c:v>
                </c:pt>
                <c:pt idx="587">
                  <c:v>8750.130000000001</c:v>
                </c:pt>
                <c:pt idx="588">
                  <c:v>8750.130000000001</c:v>
                </c:pt>
                <c:pt idx="589">
                  <c:v>8750.130000000001</c:v>
                </c:pt>
                <c:pt idx="590">
                  <c:v>8750.130000000001</c:v>
                </c:pt>
                <c:pt idx="591">
                  <c:v>8750.130000000001</c:v>
                </c:pt>
                <c:pt idx="592">
                  <c:v>8750.130000000001</c:v>
                </c:pt>
                <c:pt idx="593">
                  <c:v>8750.130000000001</c:v>
                </c:pt>
                <c:pt idx="594">
                  <c:v>8750.130000000001</c:v>
                </c:pt>
                <c:pt idx="595">
                  <c:v>8750.130000000001</c:v>
                </c:pt>
                <c:pt idx="596">
                  <c:v>8750.130000000001</c:v>
                </c:pt>
                <c:pt idx="597">
                  <c:v>8750.130000000001</c:v>
                </c:pt>
                <c:pt idx="598">
                  <c:v>8750.130000000001</c:v>
                </c:pt>
                <c:pt idx="599">
                  <c:v>8750.130000000001</c:v>
                </c:pt>
                <c:pt idx="600">
                  <c:v>8750.130000000001</c:v>
                </c:pt>
                <c:pt idx="601">
                  <c:v>8750.130000000001</c:v>
                </c:pt>
                <c:pt idx="602">
                  <c:v>8750.130000000001</c:v>
                </c:pt>
                <c:pt idx="603">
                  <c:v>8750.130000000001</c:v>
                </c:pt>
                <c:pt idx="604">
                  <c:v>8750.130000000001</c:v>
                </c:pt>
                <c:pt idx="605">
                  <c:v>8750.130000000001</c:v>
                </c:pt>
                <c:pt idx="606">
                  <c:v>8750.130000000001</c:v>
                </c:pt>
                <c:pt idx="607">
                  <c:v>8750.130000000001</c:v>
                </c:pt>
                <c:pt idx="608">
                  <c:v>8750.130000000001</c:v>
                </c:pt>
                <c:pt idx="609">
                  <c:v>8750.130000000001</c:v>
                </c:pt>
                <c:pt idx="610">
                  <c:v>8750.130000000001</c:v>
                </c:pt>
                <c:pt idx="611">
                  <c:v>8750.130000000001</c:v>
                </c:pt>
                <c:pt idx="612">
                  <c:v>8750.130000000001</c:v>
                </c:pt>
                <c:pt idx="613">
                  <c:v>8750.130000000001</c:v>
                </c:pt>
                <c:pt idx="614">
                  <c:v>8750.130000000001</c:v>
                </c:pt>
                <c:pt idx="615">
                  <c:v>8750.130000000001</c:v>
                </c:pt>
                <c:pt idx="616">
                  <c:v>8750.130000000001</c:v>
                </c:pt>
                <c:pt idx="617">
                  <c:v>8750.130000000001</c:v>
                </c:pt>
                <c:pt idx="618">
                  <c:v>8750.130000000001</c:v>
                </c:pt>
                <c:pt idx="619">
                  <c:v>8750.130000000001</c:v>
                </c:pt>
                <c:pt idx="620">
                  <c:v>8750.130000000001</c:v>
                </c:pt>
                <c:pt idx="621">
                  <c:v>8750.130000000001</c:v>
                </c:pt>
                <c:pt idx="622">
                  <c:v>8750.130000000001</c:v>
                </c:pt>
                <c:pt idx="623">
                  <c:v>8750.130000000001</c:v>
                </c:pt>
                <c:pt idx="624">
                  <c:v>8750.130000000001</c:v>
                </c:pt>
                <c:pt idx="625">
                  <c:v>8750.130000000001</c:v>
                </c:pt>
                <c:pt idx="626">
                  <c:v>8750.130000000001</c:v>
                </c:pt>
                <c:pt idx="627">
                  <c:v>8750.130000000001</c:v>
                </c:pt>
                <c:pt idx="628">
                  <c:v>8750.130000000001</c:v>
                </c:pt>
                <c:pt idx="629">
                  <c:v>8750.130000000001</c:v>
                </c:pt>
                <c:pt idx="630">
                  <c:v>8750.130000000001</c:v>
                </c:pt>
                <c:pt idx="631">
                  <c:v>8750.130000000001</c:v>
                </c:pt>
                <c:pt idx="632">
                  <c:v>8750.130000000001</c:v>
                </c:pt>
                <c:pt idx="633">
                  <c:v>8750.130000000001</c:v>
                </c:pt>
                <c:pt idx="634">
                  <c:v>8750.130000000001</c:v>
                </c:pt>
                <c:pt idx="635">
                  <c:v>8750.130000000001</c:v>
                </c:pt>
                <c:pt idx="636">
                  <c:v>8750.130000000001</c:v>
                </c:pt>
                <c:pt idx="637">
                  <c:v>8750.130000000001</c:v>
                </c:pt>
                <c:pt idx="638">
                  <c:v>8750.130000000001</c:v>
                </c:pt>
                <c:pt idx="639">
                  <c:v>8750.130000000001</c:v>
                </c:pt>
                <c:pt idx="640">
                  <c:v>8750.130000000001</c:v>
                </c:pt>
                <c:pt idx="641">
                  <c:v>8750.130000000001</c:v>
                </c:pt>
                <c:pt idx="642">
                  <c:v>8750.130000000001</c:v>
                </c:pt>
                <c:pt idx="643">
                  <c:v>8750.130000000001</c:v>
                </c:pt>
                <c:pt idx="644">
                  <c:v>8750.130000000001</c:v>
                </c:pt>
                <c:pt idx="645">
                  <c:v>8750.130000000001</c:v>
                </c:pt>
                <c:pt idx="646">
                  <c:v>8750.130000000001</c:v>
                </c:pt>
                <c:pt idx="647">
                  <c:v>8750.130000000001</c:v>
                </c:pt>
                <c:pt idx="648">
                  <c:v>8750.130000000001</c:v>
                </c:pt>
                <c:pt idx="649">
                  <c:v>8750.130000000001</c:v>
                </c:pt>
                <c:pt idx="650">
                  <c:v>8750.130000000001</c:v>
                </c:pt>
                <c:pt idx="651">
                  <c:v>8750.130000000001</c:v>
                </c:pt>
                <c:pt idx="652">
                  <c:v>8750.130000000001</c:v>
                </c:pt>
                <c:pt idx="653">
                  <c:v>8750.130000000001</c:v>
                </c:pt>
                <c:pt idx="654">
                  <c:v>8750.130000000001</c:v>
                </c:pt>
                <c:pt idx="655">
                  <c:v>8750.130000000001</c:v>
                </c:pt>
                <c:pt idx="656">
                  <c:v>8750.130000000001</c:v>
                </c:pt>
                <c:pt idx="657">
                  <c:v>8750.130000000001</c:v>
                </c:pt>
                <c:pt idx="658">
                  <c:v>8750.130000000001</c:v>
                </c:pt>
                <c:pt idx="659">
                  <c:v>8750.130000000001</c:v>
                </c:pt>
                <c:pt idx="660">
                  <c:v>8750.130000000001</c:v>
                </c:pt>
                <c:pt idx="661">
                  <c:v>8750.130000000001</c:v>
                </c:pt>
                <c:pt idx="662">
                  <c:v>8750.130000000001</c:v>
                </c:pt>
                <c:pt idx="663">
                  <c:v>8750.130000000001</c:v>
                </c:pt>
                <c:pt idx="664">
                  <c:v>8750.130000000001</c:v>
                </c:pt>
                <c:pt idx="665">
                  <c:v>8750.130000000001</c:v>
                </c:pt>
                <c:pt idx="666">
                  <c:v>8750.130000000001</c:v>
                </c:pt>
                <c:pt idx="667">
                  <c:v>8750.130000000001</c:v>
                </c:pt>
                <c:pt idx="668">
                  <c:v>8750.130000000001</c:v>
                </c:pt>
                <c:pt idx="669">
                  <c:v>8750.130000000001</c:v>
                </c:pt>
                <c:pt idx="670">
                  <c:v>8750.130000000001</c:v>
                </c:pt>
                <c:pt idx="671">
                  <c:v>8750.130000000001</c:v>
                </c:pt>
                <c:pt idx="672">
                  <c:v>8750.130000000001</c:v>
                </c:pt>
                <c:pt idx="673">
                  <c:v>8750.130000000001</c:v>
                </c:pt>
                <c:pt idx="674">
                  <c:v>8750.130000000001</c:v>
                </c:pt>
                <c:pt idx="675">
                  <c:v>8750.130000000001</c:v>
                </c:pt>
                <c:pt idx="676">
                  <c:v>8750.130000000001</c:v>
                </c:pt>
                <c:pt idx="677">
                  <c:v>8750.130000000001</c:v>
                </c:pt>
                <c:pt idx="678">
                  <c:v>8750.130000000001</c:v>
                </c:pt>
                <c:pt idx="679">
                  <c:v>8750.130000000001</c:v>
                </c:pt>
                <c:pt idx="680">
                  <c:v>8750.130000000001</c:v>
                </c:pt>
                <c:pt idx="681">
                  <c:v>8750.130000000001</c:v>
                </c:pt>
                <c:pt idx="682">
                  <c:v>8750.130000000001</c:v>
                </c:pt>
                <c:pt idx="683">
                  <c:v>8750.130000000001</c:v>
                </c:pt>
                <c:pt idx="684">
                  <c:v>8750.130000000001</c:v>
                </c:pt>
                <c:pt idx="685">
                  <c:v>8750.130000000001</c:v>
                </c:pt>
                <c:pt idx="686">
                  <c:v>8750.130000000001</c:v>
                </c:pt>
                <c:pt idx="687">
                  <c:v>8750.130000000001</c:v>
                </c:pt>
                <c:pt idx="688">
                  <c:v>8750.130000000001</c:v>
                </c:pt>
                <c:pt idx="689">
                  <c:v>8750.130000000001</c:v>
                </c:pt>
                <c:pt idx="690">
                  <c:v>8750.130000000001</c:v>
                </c:pt>
                <c:pt idx="691">
                  <c:v>8750.130000000001</c:v>
                </c:pt>
                <c:pt idx="692">
                  <c:v>8750.130000000001</c:v>
                </c:pt>
                <c:pt idx="693">
                  <c:v>8750.130000000001</c:v>
                </c:pt>
                <c:pt idx="694">
                  <c:v>8750.130000000001</c:v>
                </c:pt>
                <c:pt idx="695">
                  <c:v>8750.130000000001</c:v>
                </c:pt>
                <c:pt idx="696">
                  <c:v>8750.130000000001</c:v>
                </c:pt>
                <c:pt idx="697">
                  <c:v>8750.130000000001</c:v>
                </c:pt>
                <c:pt idx="698">
                  <c:v>8750.130000000001</c:v>
                </c:pt>
                <c:pt idx="699">
                  <c:v>8750.130000000001</c:v>
                </c:pt>
                <c:pt idx="700">
                  <c:v>8750.130000000001</c:v>
                </c:pt>
                <c:pt idx="701">
                  <c:v>8750.130000000001</c:v>
                </c:pt>
                <c:pt idx="702">
                  <c:v>8750.130000000001</c:v>
                </c:pt>
                <c:pt idx="703">
                  <c:v>8750.130000000001</c:v>
                </c:pt>
                <c:pt idx="704">
                  <c:v>8750.130000000001</c:v>
                </c:pt>
                <c:pt idx="705">
                  <c:v>8750.130000000001</c:v>
                </c:pt>
                <c:pt idx="706">
                  <c:v>8750.130000000001</c:v>
                </c:pt>
                <c:pt idx="707">
                  <c:v>8750.130000000001</c:v>
                </c:pt>
                <c:pt idx="708">
                  <c:v>8750.130000000001</c:v>
                </c:pt>
                <c:pt idx="709">
                  <c:v>8750.130000000001</c:v>
                </c:pt>
                <c:pt idx="710">
                  <c:v>8750.130000000001</c:v>
                </c:pt>
                <c:pt idx="711">
                  <c:v>8750.130000000001</c:v>
                </c:pt>
                <c:pt idx="712">
                  <c:v>8750.130000000001</c:v>
                </c:pt>
                <c:pt idx="713">
                  <c:v>8750.130000000001</c:v>
                </c:pt>
                <c:pt idx="714">
                  <c:v>8750.130000000001</c:v>
                </c:pt>
                <c:pt idx="715">
                  <c:v>8750.130000000001</c:v>
                </c:pt>
                <c:pt idx="716">
                  <c:v>8750.130000000001</c:v>
                </c:pt>
                <c:pt idx="717">
                  <c:v>8750.130000000001</c:v>
                </c:pt>
                <c:pt idx="718">
                  <c:v>8750.130000000001</c:v>
                </c:pt>
                <c:pt idx="719">
                  <c:v>8750.130000000001</c:v>
                </c:pt>
                <c:pt idx="720">
                  <c:v>8750.130000000001</c:v>
                </c:pt>
                <c:pt idx="721">
                  <c:v>8750.130000000001</c:v>
                </c:pt>
                <c:pt idx="722">
                  <c:v>8750.130000000001</c:v>
                </c:pt>
                <c:pt idx="723">
                  <c:v>8750.130000000001</c:v>
                </c:pt>
                <c:pt idx="724">
                  <c:v>8750.130000000001</c:v>
                </c:pt>
                <c:pt idx="725">
                  <c:v>8750.130000000001</c:v>
                </c:pt>
                <c:pt idx="726">
                  <c:v>8750.130000000001</c:v>
                </c:pt>
                <c:pt idx="727">
                  <c:v>8750.130000000001</c:v>
                </c:pt>
                <c:pt idx="728">
                  <c:v>8750.130000000001</c:v>
                </c:pt>
                <c:pt idx="729">
                  <c:v>8750.130000000001</c:v>
                </c:pt>
                <c:pt idx="730">
                  <c:v>8750.130000000001</c:v>
                </c:pt>
                <c:pt idx="731">
                  <c:v>8750.130000000001</c:v>
                </c:pt>
                <c:pt idx="732">
                  <c:v>8750.130000000001</c:v>
                </c:pt>
                <c:pt idx="733">
                  <c:v>8750.130000000001</c:v>
                </c:pt>
                <c:pt idx="734">
                  <c:v>8750.130000000001</c:v>
                </c:pt>
                <c:pt idx="735">
                  <c:v>8750.130000000001</c:v>
                </c:pt>
                <c:pt idx="736">
                  <c:v>8750.130000000001</c:v>
                </c:pt>
                <c:pt idx="737">
                  <c:v>8750.130000000001</c:v>
                </c:pt>
                <c:pt idx="738">
                  <c:v>8750.130000000001</c:v>
                </c:pt>
                <c:pt idx="739">
                  <c:v>8750.130000000001</c:v>
                </c:pt>
                <c:pt idx="740">
                  <c:v>8750.130000000001</c:v>
                </c:pt>
                <c:pt idx="741">
                  <c:v>8750.130000000001</c:v>
                </c:pt>
                <c:pt idx="742">
                  <c:v>8750.130000000001</c:v>
                </c:pt>
                <c:pt idx="743">
                  <c:v>8750.130000000001</c:v>
                </c:pt>
                <c:pt idx="744">
                  <c:v>8750.130000000001</c:v>
                </c:pt>
                <c:pt idx="745">
                  <c:v>8750.130000000001</c:v>
                </c:pt>
                <c:pt idx="746">
                  <c:v>8750.130000000001</c:v>
                </c:pt>
                <c:pt idx="747">
                  <c:v>8750.130000000001</c:v>
                </c:pt>
                <c:pt idx="748">
                  <c:v>8750.130000000001</c:v>
                </c:pt>
                <c:pt idx="749">
                  <c:v>8750.130000000001</c:v>
                </c:pt>
                <c:pt idx="750">
                  <c:v>8750.130000000001</c:v>
                </c:pt>
                <c:pt idx="751">
                  <c:v>8750.130000000001</c:v>
                </c:pt>
                <c:pt idx="752">
                  <c:v>10446.99</c:v>
                </c:pt>
                <c:pt idx="753">
                  <c:v>10446.99</c:v>
                </c:pt>
                <c:pt idx="754">
                  <c:v>10446.99</c:v>
                </c:pt>
                <c:pt idx="755">
                  <c:v>10446.99</c:v>
                </c:pt>
                <c:pt idx="756">
                  <c:v>10446.99</c:v>
                </c:pt>
                <c:pt idx="757">
                  <c:v>10446.99</c:v>
                </c:pt>
                <c:pt idx="758">
                  <c:v>10446.99</c:v>
                </c:pt>
                <c:pt idx="759">
                  <c:v>10446.99</c:v>
                </c:pt>
                <c:pt idx="760">
                  <c:v>10446.99</c:v>
                </c:pt>
                <c:pt idx="761">
                  <c:v>10446.99</c:v>
                </c:pt>
                <c:pt idx="762">
                  <c:v>10446.99</c:v>
                </c:pt>
                <c:pt idx="763">
                  <c:v>10446.99</c:v>
                </c:pt>
                <c:pt idx="764">
                  <c:v>10446.99</c:v>
                </c:pt>
                <c:pt idx="765">
                  <c:v>10446.99</c:v>
                </c:pt>
                <c:pt idx="766">
                  <c:v>10446.99</c:v>
                </c:pt>
                <c:pt idx="767">
                  <c:v>10446.99</c:v>
                </c:pt>
                <c:pt idx="768">
                  <c:v>10446.99</c:v>
                </c:pt>
                <c:pt idx="769">
                  <c:v>10446.99</c:v>
                </c:pt>
                <c:pt idx="770">
                  <c:v>10446.99</c:v>
                </c:pt>
                <c:pt idx="771">
                  <c:v>10446.99</c:v>
                </c:pt>
                <c:pt idx="772">
                  <c:v>10446.99</c:v>
                </c:pt>
                <c:pt idx="773">
                  <c:v>10446.99</c:v>
                </c:pt>
                <c:pt idx="774">
                  <c:v>10446.99</c:v>
                </c:pt>
                <c:pt idx="775">
                  <c:v>10446.99</c:v>
                </c:pt>
                <c:pt idx="776">
                  <c:v>10446.99</c:v>
                </c:pt>
                <c:pt idx="777">
                  <c:v>10446.99</c:v>
                </c:pt>
                <c:pt idx="778">
                  <c:v>10446.99</c:v>
                </c:pt>
                <c:pt idx="779">
                  <c:v>10446.99</c:v>
                </c:pt>
                <c:pt idx="780">
                  <c:v>10446.99</c:v>
                </c:pt>
                <c:pt idx="781">
                  <c:v>10446.99</c:v>
                </c:pt>
                <c:pt idx="782">
                  <c:v>10446.99</c:v>
                </c:pt>
                <c:pt idx="783">
                  <c:v>10446.99</c:v>
                </c:pt>
                <c:pt idx="784">
                  <c:v>10446.99</c:v>
                </c:pt>
                <c:pt idx="785">
                  <c:v>10446.99</c:v>
                </c:pt>
                <c:pt idx="786">
                  <c:v>10446.99</c:v>
                </c:pt>
                <c:pt idx="787">
                  <c:v>10446.99</c:v>
                </c:pt>
                <c:pt idx="788">
                  <c:v>10446.99</c:v>
                </c:pt>
                <c:pt idx="789">
                  <c:v>10446.99</c:v>
                </c:pt>
                <c:pt idx="790">
                  <c:v>10446.99</c:v>
                </c:pt>
                <c:pt idx="791">
                  <c:v>10446.99</c:v>
                </c:pt>
                <c:pt idx="792">
                  <c:v>10446.99</c:v>
                </c:pt>
                <c:pt idx="793">
                  <c:v>10446.99</c:v>
                </c:pt>
                <c:pt idx="794">
                  <c:v>10446.99</c:v>
                </c:pt>
                <c:pt idx="795">
                  <c:v>10446.99</c:v>
                </c:pt>
                <c:pt idx="796">
                  <c:v>10446.99</c:v>
                </c:pt>
                <c:pt idx="797">
                  <c:v>10446.99</c:v>
                </c:pt>
                <c:pt idx="798">
                  <c:v>10446.99</c:v>
                </c:pt>
                <c:pt idx="799">
                  <c:v>10446.99</c:v>
                </c:pt>
                <c:pt idx="800">
                  <c:v>10446.99</c:v>
                </c:pt>
                <c:pt idx="801">
                  <c:v>10446.99</c:v>
                </c:pt>
                <c:pt idx="802">
                  <c:v>10446.99</c:v>
                </c:pt>
                <c:pt idx="803">
                  <c:v>10446.99</c:v>
                </c:pt>
                <c:pt idx="804">
                  <c:v>10446.99</c:v>
                </c:pt>
                <c:pt idx="805">
                  <c:v>10446.99</c:v>
                </c:pt>
                <c:pt idx="806">
                  <c:v>10446.99</c:v>
                </c:pt>
                <c:pt idx="807">
                  <c:v>10446.99</c:v>
                </c:pt>
                <c:pt idx="808">
                  <c:v>10446.99</c:v>
                </c:pt>
                <c:pt idx="809">
                  <c:v>10446.99</c:v>
                </c:pt>
                <c:pt idx="810">
                  <c:v>10446.99</c:v>
                </c:pt>
                <c:pt idx="811">
                  <c:v>10446.99</c:v>
                </c:pt>
                <c:pt idx="812">
                  <c:v>10446.99</c:v>
                </c:pt>
                <c:pt idx="813">
                  <c:v>10446.99</c:v>
                </c:pt>
                <c:pt idx="814">
                  <c:v>10446.99</c:v>
                </c:pt>
                <c:pt idx="815">
                  <c:v>10446.99</c:v>
                </c:pt>
                <c:pt idx="816">
                  <c:v>10446.99</c:v>
                </c:pt>
                <c:pt idx="817">
                  <c:v>10446.99</c:v>
                </c:pt>
                <c:pt idx="818">
                  <c:v>10446.99</c:v>
                </c:pt>
                <c:pt idx="819">
                  <c:v>10446.99</c:v>
                </c:pt>
                <c:pt idx="820">
                  <c:v>10446.99</c:v>
                </c:pt>
                <c:pt idx="821">
                  <c:v>10446.99</c:v>
                </c:pt>
                <c:pt idx="822">
                  <c:v>10446.99</c:v>
                </c:pt>
                <c:pt idx="823">
                  <c:v>10446.99</c:v>
                </c:pt>
                <c:pt idx="824">
                  <c:v>10446.99</c:v>
                </c:pt>
                <c:pt idx="825">
                  <c:v>10446.99</c:v>
                </c:pt>
                <c:pt idx="826">
                  <c:v>10446.99</c:v>
                </c:pt>
                <c:pt idx="827">
                  <c:v>10446.99</c:v>
                </c:pt>
                <c:pt idx="828">
                  <c:v>10446.99</c:v>
                </c:pt>
                <c:pt idx="829">
                  <c:v>10446.99</c:v>
                </c:pt>
                <c:pt idx="830">
                  <c:v>10446.99</c:v>
                </c:pt>
                <c:pt idx="831">
                  <c:v>10446.99</c:v>
                </c:pt>
                <c:pt idx="832">
                  <c:v>10446.99</c:v>
                </c:pt>
                <c:pt idx="833">
                  <c:v>10446.99</c:v>
                </c:pt>
                <c:pt idx="834">
                  <c:v>10446.99</c:v>
                </c:pt>
                <c:pt idx="835">
                  <c:v>10446.99</c:v>
                </c:pt>
                <c:pt idx="836">
                  <c:v>10446.99</c:v>
                </c:pt>
                <c:pt idx="837">
                  <c:v>10446.99</c:v>
                </c:pt>
                <c:pt idx="838">
                  <c:v>10446.99</c:v>
                </c:pt>
                <c:pt idx="839">
                  <c:v>10446.99</c:v>
                </c:pt>
                <c:pt idx="840">
                  <c:v>10446.99</c:v>
                </c:pt>
                <c:pt idx="841">
                  <c:v>10446.99</c:v>
                </c:pt>
                <c:pt idx="842">
                  <c:v>10446.99</c:v>
                </c:pt>
                <c:pt idx="843">
                  <c:v>10446.99</c:v>
                </c:pt>
                <c:pt idx="844">
                  <c:v>10446.99</c:v>
                </c:pt>
                <c:pt idx="845">
                  <c:v>10446.99</c:v>
                </c:pt>
                <c:pt idx="846">
                  <c:v>10446.99</c:v>
                </c:pt>
                <c:pt idx="847">
                  <c:v>10446.99</c:v>
                </c:pt>
                <c:pt idx="848">
                  <c:v>10446.99</c:v>
                </c:pt>
                <c:pt idx="849">
                  <c:v>10446.99</c:v>
                </c:pt>
                <c:pt idx="850">
                  <c:v>10446.99</c:v>
                </c:pt>
                <c:pt idx="851">
                  <c:v>10446.99</c:v>
                </c:pt>
                <c:pt idx="852">
                  <c:v>10446.99</c:v>
                </c:pt>
                <c:pt idx="853">
                  <c:v>10446.99</c:v>
                </c:pt>
                <c:pt idx="854">
                  <c:v>10446.99</c:v>
                </c:pt>
                <c:pt idx="855">
                  <c:v>10446.99</c:v>
                </c:pt>
                <c:pt idx="856">
                  <c:v>10446.99</c:v>
                </c:pt>
                <c:pt idx="857">
                  <c:v>10446.99</c:v>
                </c:pt>
                <c:pt idx="858">
                  <c:v>10446.99</c:v>
                </c:pt>
                <c:pt idx="859">
                  <c:v>10446.99</c:v>
                </c:pt>
                <c:pt idx="860">
                  <c:v>10446.99</c:v>
                </c:pt>
                <c:pt idx="861">
                  <c:v>10446.99</c:v>
                </c:pt>
                <c:pt idx="862">
                  <c:v>10446.99</c:v>
                </c:pt>
                <c:pt idx="863">
                  <c:v>10446.99</c:v>
                </c:pt>
                <c:pt idx="864">
                  <c:v>10446.99</c:v>
                </c:pt>
                <c:pt idx="865">
                  <c:v>10446.99</c:v>
                </c:pt>
                <c:pt idx="866">
                  <c:v>10446.99</c:v>
                </c:pt>
                <c:pt idx="867">
                  <c:v>10446.99</c:v>
                </c:pt>
                <c:pt idx="868">
                  <c:v>10446.99</c:v>
                </c:pt>
                <c:pt idx="869">
                  <c:v>10446.99</c:v>
                </c:pt>
                <c:pt idx="870">
                  <c:v>10446.99</c:v>
                </c:pt>
                <c:pt idx="871">
                  <c:v>10446.99</c:v>
                </c:pt>
                <c:pt idx="872">
                  <c:v>10446.99</c:v>
                </c:pt>
                <c:pt idx="873">
                  <c:v>10446.99</c:v>
                </c:pt>
                <c:pt idx="874">
                  <c:v>10446.99</c:v>
                </c:pt>
                <c:pt idx="875">
                  <c:v>10446.99</c:v>
                </c:pt>
                <c:pt idx="876">
                  <c:v>10446.99</c:v>
                </c:pt>
                <c:pt idx="877">
                  <c:v>10446.99</c:v>
                </c:pt>
                <c:pt idx="878">
                  <c:v>10446.99</c:v>
                </c:pt>
                <c:pt idx="879">
                  <c:v>10446.99</c:v>
                </c:pt>
                <c:pt idx="880">
                  <c:v>10446.99</c:v>
                </c:pt>
                <c:pt idx="881">
                  <c:v>10446.99</c:v>
                </c:pt>
                <c:pt idx="882">
                  <c:v>10446.99</c:v>
                </c:pt>
                <c:pt idx="883">
                  <c:v>10446.99</c:v>
                </c:pt>
                <c:pt idx="884">
                  <c:v>10446.99</c:v>
                </c:pt>
                <c:pt idx="885">
                  <c:v>10446.99</c:v>
                </c:pt>
                <c:pt idx="886">
                  <c:v>10446.99</c:v>
                </c:pt>
                <c:pt idx="887">
                  <c:v>10446.99</c:v>
                </c:pt>
                <c:pt idx="888">
                  <c:v>10446.99</c:v>
                </c:pt>
                <c:pt idx="889">
                  <c:v>10446.99</c:v>
                </c:pt>
                <c:pt idx="890">
                  <c:v>10446.99</c:v>
                </c:pt>
                <c:pt idx="891">
                  <c:v>10446.99</c:v>
                </c:pt>
                <c:pt idx="892">
                  <c:v>10446.99</c:v>
                </c:pt>
                <c:pt idx="893">
                  <c:v>10446.99</c:v>
                </c:pt>
                <c:pt idx="894">
                  <c:v>10446.99</c:v>
                </c:pt>
                <c:pt idx="895">
                  <c:v>10446.99</c:v>
                </c:pt>
                <c:pt idx="896">
                  <c:v>10446.99</c:v>
                </c:pt>
                <c:pt idx="897">
                  <c:v>10446.99</c:v>
                </c:pt>
                <c:pt idx="898">
                  <c:v>10446.99</c:v>
                </c:pt>
                <c:pt idx="899">
                  <c:v>10446.99</c:v>
                </c:pt>
                <c:pt idx="900">
                  <c:v>10446.99</c:v>
                </c:pt>
                <c:pt idx="901">
                  <c:v>10446.99</c:v>
                </c:pt>
                <c:pt idx="902">
                  <c:v>10446.99</c:v>
                </c:pt>
                <c:pt idx="903">
                  <c:v>10446.99</c:v>
                </c:pt>
                <c:pt idx="904">
                  <c:v>10446.99</c:v>
                </c:pt>
                <c:pt idx="905">
                  <c:v>10446.99</c:v>
                </c:pt>
                <c:pt idx="906">
                  <c:v>10446.99</c:v>
                </c:pt>
                <c:pt idx="907">
                  <c:v>10446.99</c:v>
                </c:pt>
                <c:pt idx="908">
                  <c:v>10446.99</c:v>
                </c:pt>
                <c:pt idx="909">
                  <c:v>10446.99</c:v>
                </c:pt>
                <c:pt idx="910">
                  <c:v>10446.99</c:v>
                </c:pt>
                <c:pt idx="911">
                  <c:v>10446.99</c:v>
                </c:pt>
                <c:pt idx="912">
                  <c:v>10446.99</c:v>
                </c:pt>
                <c:pt idx="913">
                  <c:v>10446.99</c:v>
                </c:pt>
                <c:pt idx="914">
                  <c:v>10446.99</c:v>
                </c:pt>
                <c:pt idx="915">
                  <c:v>10446.99</c:v>
                </c:pt>
                <c:pt idx="916">
                  <c:v>10446.99</c:v>
                </c:pt>
                <c:pt idx="917">
                  <c:v>10446.99</c:v>
                </c:pt>
                <c:pt idx="918">
                  <c:v>10446.99</c:v>
                </c:pt>
                <c:pt idx="919">
                  <c:v>10446.99</c:v>
                </c:pt>
                <c:pt idx="920">
                  <c:v>10446.99</c:v>
                </c:pt>
                <c:pt idx="921">
                  <c:v>10446.99</c:v>
                </c:pt>
                <c:pt idx="922">
                  <c:v>10446.99</c:v>
                </c:pt>
                <c:pt idx="923">
                  <c:v>10446.99</c:v>
                </c:pt>
                <c:pt idx="924">
                  <c:v>10446.99</c:v>
                </c:pt>
                <c:pt idx="925">
                  <c:v>10446.99</c:v>
                </c:pt>
                <c:pt idx="926">
                  <c:v>10446.99</c:v>
                </c:pt>
                <c:pt idx="927">
                  <c:v>10446.99</c:v>
                </c:pt>
                <c:pt idx="928">
                  <c:v>10446.99</c:v>
                </c:pt>
                <c:pt idx="929">
                  <c:v>10446.99</c:v>
                </c:pt>
                <c:pt idx="930">
                  <c:v>10446.99</c:v>
                </c:pt>
                <c:pt idx="931">
                  <c:v>10446.99</c:v>
                </c:pt>
                <c:pt idx="932">
                  <c:v>10446.99</c:v>
                </c:pt>
                <c:pt idx="933">
                  <c:v>10446.99</c:v>
                </c:pt>
                <c:pt idx="934">
                  <c:v>10446.99</c:v>
                </c:pt>
                <c:pt idx="935">
                  <c:v>10446.99</c:v>
                </c:pt>
                <c:pt idx="936">
                  <c:v>10446.99</c:v>
                </c:pt>
                <c:pt idx="937">
                  <c:v>10446.99</c:v>
                </c:pt>
                <c:pt idx="938">
                  <c:v>10446.99</c:v>
                </c:pt>
                <c:pt idx="939">
                  <c:v>10446.99</c:v>
                </c:pt>
                <c:pt idx="940">
                  <c:v>10446.99</c:v>
                </c:pt>
                <c:pt idx="941">
                  <c:v>10446.99</c:v>
                </c:pt>
                <c:pt idx="942">
                  <c:v>10446.99</c:v>
                </c:pt>
                <c:pt idx="943">
                  <c:v>10446.99</c:v>
                </c:pt>
                <c:pt idx="944">
                  <c:v>10446.99</c:v>
                </c:pt>
                <c:pt idx="945">
                  <c:v>10446.99</c:v>
                </c:pt>
                <c:pt idx="946">
                  <c:v>10446.99</c:v>
                </c:pt>
                <c:pt idx="947">
                  <c:v>10446.99</c:v>
                </c:pt>
                <c:pt idx="948">
                  <c:v>10446.99</c:v>
                </c:pt>
                <c:pt idx="949">
                  <c:v>10446.99</c:v>
                </c:pt>
                <c:pt idx="950">
                  <c:v>10446.99</c:v>
                </c:pt>
                <c:pt idx="951">
                  <c:v>10446.99</c:v>
                </c:pt>
                <c:pt idx="952">
                  <c:v>10446.99</c:v>
                </c:pt>
                <c:pt idx="953">
                  <c:v>10446.99</c:v>
                </c:pt>
                <c:pt idx="954">
                  <c:v>10446.99</c:v>
                </c:pt>
                <c:pt idx="955">
                  <c:v>10446.99</c:v>
                </c:pt>
                <c:pt idx="956">
                  <c:v>10446.99</c:v>
                </c:pt>
                <c:pt idx="957">
                  <c:v>10446.99</c:v>
                </c:pt>
                <c:pt idx="958">
                  <c:v>10446.99</c:v>
                </c:pt>
                <c:pt idx="959">
                  <c:v>10446.99</c:v>
                </c:pt>
                <c:pt idx="960">
                  <c:v>10446.99</c:v>
                </c:pt>
                <c:pt idx="961">
                  <c:v>10446.99</c:v>
                </c:pt>
                <c:pt idx="962">
                  <c:v>10446.99</c:v>
                </c:pt>
                <c:pt idx="963">
                  <c:v>10446.99</c:v>
                </c:pt>
                <c:pt idx="964">
                  <c:v>10446.99</c:v>
                </c:pt>
                <c:pt idx="965">
                  <c:v>10446.99</c:v>
                </c:pt>
                <c:pt idx="966">
                  <c:v>10446.99</c:v>
                </c:pt>
                <c:pt idx="967">
                  <c:v>10446.99</c:v>
                </c:pt>
                <c:pt idx="968">
                  <c:v>10446.99</c:v>
                </c:pt>
                <c:pt idx="969">
                  <c:v>10446.99</c:v>
                </c:pt>
                <c:pt idx="970">
                  <c:v>10446.99</c:v>
                </c:pt>
                <c:pt idx="971">
                  <c:v>10446.99</c:v>
                </c:pt>
                <c:pt idx="972">
                  <c:v>10446.99</c:v>
                </c:pt>
                <c:pt idx="973">
                  <c:v>10446.99</c:v>
                </c:pt>
                <c:pt idx="974">
                  <c:v>10446.99</c:v>
                </c:pt>
                <c:pt idx="975">
                  <c:v>10446.99</c:v>
                </c:pt>
                <c:pt idx="976">
                  <c:v>10446.99</c:v>
                </c:pt>
                <c:pt idx="977">
                  <c:v>10446.99</c:v>
                </c:pt>
                <c:pt idx="978">
                  <c:v>10446.99</c:v>
                </c:pt>
                <c:pt idx="979">
                  <c:v>10446.99</c:v>
                </c:pt>
                <c:pt idx="980">
                  <c:v>10446.99</c:v>
                </c:pt>
                <c:pt idx="981">
                  <c:v>10446.99</c:v>
                </c:pt>
                <c:pt idx="982">
                  <c:v>10446.99</c:v>
                </c:pt>
                <c:pt idx="983">
                  <c:v>10446.99</c:v>
                </c:pt>
                <c:pt idx="984">
                  <c:v>10446.99</c:v>
                </c:pt>
                <c:pt idx="985">
                  <c:v>10446.99</c:v>
                </c:pt>
                <c:pt idx="986">
                  <c:v>10446.99</c:v>
                </c:pt>
                <c:pt idx="987">
                  <c:v>10446.99</c:v>
                </c:pt>
                <c:pt idx="988">
                  <c:v>10446.99</c:v>
                </c:pt>
                <c:pt idx="989">
                  <c:v>10446.99</c:v>
                </c:pt>
                <c:pt idx="990">
                  <c:v>10446.99</c:v>
                </c:pt>
                <c:pt idx="991">
                  <c:v>10446.99</c:v>
                </c:pt>
                <c:pt idx="992">
                  <c:v>10446.99</c:v>
                </c:pt>
                <c:pt idx="993">
                  <c:v>10446.99</c:v>
                </c:pt>
                <c:pt idx="994">
                  <c:v>10446.99</c:v>
                </c:pt>
                <c:pt idx="995">
                  <c:v>10446.99</c:v>
                </c:pt>
                <c:pt idx="996">
                  <c:v>11735.76</c:v>
                </c:pt>
                <c:pt idx="997">
                  <c:v>11735.76</c:v>
                </c:pt>
                <c:pt idx="998">
                  <c:v>11735.76</c:v>
                </c:pt>
                <c:pt idx="999">
                  <c:v>11735.76</c:v>
                </c:pt>
                <c:pt idx="1000">
                  <c:v>11735.76</c:v>
                </c:pt>
                <c:pt idx="1001">
                  <c:v>11735.76</c:v>
                </c:pt>
                <c:pt idx="1002">
                  <c:v>11735.76</c:v>
                </c:pt>
                <c:pt idx="1003">
                  <c:v>11735.76</c:v>
                </c:pt>
                <c:pt idx="1004">
                  <c:v>11735.76</c:v>
                </c:pt>
                <c:pt idx="1005">
                  <c:v>11735.76</c:v>
                </c:pt>
                <c:pt idx="1006">
                  <c:v>11735.76</c:v>
                </c:pt>
                <c:pt idx="1007">
                  <c:v>11735.76</c:v>
                </c:pt>
                <c:pt idx="1008">
                  <c:v>11735.76</c:v>
                </c:pt>
                <c:pt idx="1009">
                  <c:v>11735.76</c:v>
                </c:pt>
                <c:pt idx="1010">
                  <c:v>11735.76</c:v>
                </c:pt>
                <c:pt idx="1011">
                  <c:v>11735.76</c:v>
                </c:pt>
                <c:pt idx="1012">
                  <c:v>11735.76</c:v>
                </c:pt>
                <c:pt idx="1013">
                  <c:v>11735.76</c:v>
                </c:pt>
                <c:pt idx="1014">
                  <c:v>11735.76</c:v>
                </c:pt>
                <c:pt idx="1015">
                  <c:v>11735.76</c:v>
                </c:pt>
                <c:pt idx="1016">
                  <c:v>11735.76</c:v>
                </c:pt>
                <c:pt idx="1017">
                  <c:v>11735.76</c:v>
                </c:pt>
                <c:pt idx="1018">
                  <c:v>11735.76</c:v>
                </c:pt>
                <c:pt idx="1019">
                  <c:v>11735.76</c:v>
                </c:pt>
                <c:pt idx="1020">
                  <c:v>11735.76</c:v>
                </c:pt>
                <c:pt idx="1021">
                  <c:v>11735.76</c:v>
                </c:pt>
                <c:pt idx="1022">
                  <c:v>11735.76</c:v>
                </c:pt>
                <c:pt idx="1023">
                  <c:v>11735.76</c:v>
                </c:pt>
                <c:pt idx="1024">
                  <c:v>11735.76</c:v>
                </c:pt>
                <c:pt idx="1025">
                  <c:v>11735.76</c:v>
                </c:pt>
                <c:pt idx="1026">
                  <c:v>11735.76</c:v>
                </c:pt>
                <c:pt idx="1027">
                  <c:v>11735.76</c:v>
                </c:pt>
                <c:pt idx="1028">
                  <c:v>11735.76</c:v>
                </c:pt>
                <c:pt idx="1029">
                  <c:v>11735.76</c:v>
                </c:pt>
                <c:pt idx="1030">
                  <c:v>11735.76</c:v>
                </c:pt>
                <c:pt idx="1031">
                  <c:v>11735.76</c:v>
                </c:pt>
                <c:pt idx="1032">
                  <c:v>11735.76</c:v>
                </c:pt>
                <c:pt idx="1033">
                  <c:v>11735.76</c:v>
                </c:pt>
                <c:pt idx="1034">
                  <c:v>11735.76</c:v>
                </c:pt>
                <c:pt idx="1035">
                  <c:v>11735.76</c:v>
                </c:pt>
                <c:pt idx="1036">
                  <c:v>11735.76</c:v>
                </c:pt>
                <c:pt idx="1037">
                  <c:v>11735.76</c:v>
                </c:pt>
                <c:pt idx="1038">
                  <c:v>11735.76</c:v>
                </c:pt>
                <c:pt idx="1039">
                  <c:v>11735.76</c:v>
                </c:pt>
                <c:pt idx="1040">
                  <c:v>11735.76</c:v>
                </c:pt>
                <c:pt idx="1041">
                  <c:v>11735.76</c:v>
                </c:pt>
                <c:pt idx="1042">
                  <c:v>11735.76</c:v>
                </c:pt>
                <c:pt idx="1043">
                  <c:v>11735.76</c:v>
                </c:pt>
                <c:pt idx="1044">
                  <c:v>11735.76</c:v>
                </c:pt>
                <c:pt idx="1045">
                  <c:v>11735.76</c:v>
                </c:pt>
                <c:pt idx="1046">
                  <c:v>11735.76</c:v>
                </c:pt>
                <c:pt idx="1047">
                  <c:v>11735.76</c:v>
                </c:pt>
                <c:pt idx="1048">
                  <c:v>11735.76</c:v>
                </c:pt>
                <c:pt idx="1049">
                  <c:v>11735.76</c:v>
                </c:pt>
                <c:pt idx="1050">
                  <c:v>11735.76</c:v>
                </c:pt>
                <c:pt idx="1051">
                  <c:v>11735.76</c:v>
                </c:pt>
                <c:pt idx="1052">
                  <c:v>11735.76</c:v>
                </c:pt>
                <c:pt idx="1053">
                  <c:v>11735.76</c:v>
                </c:pt>
                <c:pt idx="1054">
                  <c:v>11735.76</c:v>
                </c:pt>
                <c:pt idx="1055">
                  <c:v>11735.76</c:v>
                </c:pt>
                <c:pt idx="1056">
                  <c:v>11735.76</c:v>
                </c:pt>
                <c:pt idx="1057">
                  <c:v>11735.76</c:v>
                </c:pt>
                <c:pt idx="1058">
                  <c:v>11735.76</c:v>
                </c:pt>
                <c:pt idx="1059">
                  <c:v>11735.76</c:v>
                </c:pt>
                <c:pt idx="1060">
                  <c:v>11735.76</c:v>
                </c:pt>
                <c:pt idx="1061">
                  <c:v>11735.76</c:v>
                </c:pt>
                <c:pt idx="1062">
                  <c:v>11735.76</c:v>
                </c:pt>
                <c:pt idx="1063">
                  <c:v>11735.76</c:v>
                </c:pt>
                <c:pt idx="1064">
                  <c:v>11735.76</c:v>
                </c:pt>
                <c:pt idx="1065">
                  <c:v>11735.76</c:v>
                </c:pt>
                <c:pt idx="1066">
                  <c:v>11735.76</c:v>
                </c:pt>
                <c:pt idx="1067">
                  <c:v>11735.76</c:v>
                </c:pt>
                <c:pt idx="1068">
                  <c:v>11735.76</c:v>
                </c:pt>
                <c:pt idx="1069">
                  <c:v>11735.76</c:v>
                </c:pt>
                <c:pt idx="1070">
                  <c:v>11735.76</c:v>
                </c:pt>
                <c:pt idx="1071">
                  <c:v>11735.76</c:v>
                </c:pt>
                <c:pt idx="1072">
                  <c:v>11735.76</c:v>
                </c:pt>
                <c:pt idx="1073">
                  <c:v>11735.76</c:v>
                </c:pt>
                <c:pt idx="1074">
                  <c:v>11735.76</c:v>
                </c:pt>
                <c:pt idx="1075">
                  <c:v>11735.76</c:v>
                </c:pt>
                <c:pt idx="1076">
                  <c:v>11735.76</c:v>
                </c:pt>
                <c:pt idx="1077">
                  <c:v>11735.76</c:v>
                </c:pt>
                <c:pt idx="1078">
                  <c:v>11735.76</c:v>
                </c:pt>
                <c:pt idx="1079">
                  <c:v>11735.76</c:v>
                </c:pt>
                <c:pt idx="1080">
                  <c:v>11735.76</c:v>
                </c:pt>
                <c:pt idx="1081">
                  <c:v>11735.76</c:v>
                </c:pt>
                <c:pt idx="1082">
                  <c:v>11735.76</c:v>
                </c:pt>
                <c:pt idx="1083">
                  <c:v>11735.76</c:v>
                </c:pt>
                <c:pt idx="1084">
                  <c:v>11735.76</c:v>
                </c:pt>
                <c:pt idx="1085">
                  <c:v>11735.76</c:v>
                </c:pt>
                <c:pt idx="1086">
                  <c:v>11735.76</c:v>
                </c:pt>
                <c:pt idx="1087">
                  <c:v>11735.76</c:v>
                </c:pt>
                <c:pt idx="1088">
                  <c:v>11735.76</c:v>
                </c:pt>
                <c:pt idx="1089">
                  <c:v>11735.76</c:v>
                </c:pt>
                <c:pt idx="1090">
                  <c:v>11735.76</c:v>
                </c:pt>
                <c:pt idx="1091">
                  <c:v>11735.76</c:v>
                </c:pt>
                <c:pt idx="1092">
                  <c:v>11735.76</c:v>
                </c:pt>
                <c:pt idx="1093">
                  <c:v>11735.76</c:v>
                </c:pt>
                <c:pt idx="1094">
                  <c:v>11735.76</c:v>
                </c:pt>
                <c:pt idx="1095">
                  <c:v>11735.76</c:v>
                </c:pt>
                <c:pt idx="1096">
                  <c:v>11735.76</c:v>
                </c:pt>
                <c:pt idx="1097">
                  <c:v>11735.76</c:v>
                </c:pt>
                <c:pt idx="1098">
                  <c:v>11735.76</c:v>
                </c:pt>
                <c:pt idx="1099">
                  <c:v>11735.76</c:v>
                </c:pt>
                <c:pt idx="1100">
                  <c:v>11735.76</c:v>
                </c:pt>
                <c:pt idx="1101">
                  <c:v>11735.76</c:v>
                </c:pt>
                <c:pt idx="1102">
                  <c:v>11735.76</c:v>
                </c:pt>
                <c:pt idx="1103">
                  <c:v>11735.76</c:v>
                </c:pt>
                <c:pt idx="1104">
                  <c:v>11735.76</c:v>
                </c:pt>
                <c:pt idx="1105">
                  <c:v>11735.76</c:v>
                </c:pt>
                <c:pt idx="1106">
                  <c:v>11735.76</c:v>
                </c:pt>
                <c:pt idx="1107">
                  <c:v>11735.76</c:v>
                </c:pt>
                <c:pt idx="1108">
                  <c:v>11735.76</c:v>
                </c:pt>
                <c:pt idx="1109">
                  <c:v>11735.76</c:v>
                </c:pt>
                <c:pt idx="1110">
                  <c:v>11735.76</c:v>
                </c:pt>
                <c:pt idx="1111">
                  <c:v>11735.76</c:v>
                </c:pt>
                <c:pt idx="1112">
                  <c:v>11735.76</c:v>
                </c:pt>
                <c:pt idx="1113">
                  <c:v>11735.76</c:v>
                </c:pt>
                <c:pt idx="1114">
                  <c:v>11735.76</c:v>
                </c:pt>
                <c:pt idx="1115">
                  <c:v>11735.76</c:v>
                </c:pt>
                <c:pt idx="1116">
                  <c:v>11735.76</c:v>
                </c:pt>
                <c:pt idx="1117">
                  <c:v>11735.76</c:v>
                </c:pt>
                <c:pt idx="1118">
                  <c:v>11735.76</c:v>
                </c:pt>
                <c:pt idx="1119">
                  <c:v>11735.76</c:v>
                </c:pt>
                <c:pt idx="1120">
                  <c:v>11735.76</c:v>
                </c:pt>
                <c:pt idx="1121">
                  <c:v>11735.76</c:v>
                </c:pt>
                <c:pt idx="1122">
                  <c:v>11735.76</c:v>
                </c:pt>
                <c:pt idx="1123">
                  <c:v>11735.76</c:v>
                </c:pt>
                <c:pt idx="1124">
                  <c:v>11735.76</c:v>
                </c:pt>
                <c:pt idx="1125">
                  <c:v>11735.76</c:v>
                </c:pt>
                <c:pt idx="1126">
                  <c:v>11735.76</c:v>
                </c:pt>
                <c:pt idx="1127">
                  <c:v>11735.76</c:v>
                </c:pt>
                <c:pt idx="1128">
                  <c:v>11735.76</c:v>
                </c:pt>
                <c:pt idx="1129">
                  <c:v>11735.76</c:v>
                </c:pt>
                <c:pt idx="1130">
                  <c:v>11735.76</c:v>
                </c:pt>
                <c:pt idx="1131">
                  <c:v>11735.76</c:v>
                </c:pt>
                <c:pt idx="1132">
                  <c:v>11735.76</c:v>
                </c:pt>
                <c:pt idx="1133">
                  <c:v>11735.76</c:v>
                </c:pt>
                <c:pt idx="1134">
                  <c:v>11735.76</c:v>
                </c:pt>
                <c:pt idx="1135">
                  <c:v>11735.76</c:v>
                </c:pt>
                <c:pt idx="1136">
                  <c:v>11735.76</c:v>
                </c:pt>
                <c:pt idx="1137">
                  <c:v>11735.76</c:v>
                </c:pt>
                <c:pt idx="1138">
                  <c:v>11735.76</c:v>
                </c:pt>
                <c:pt idx="1139">
                  <c:v>11735.76</c:v>
                </c:pt>
                <c:pt idx="1140">
                  <c:v>11735.76</c:v>
                </c:pt>
                <c:pt idx="1141">
                  <c:v>11735.76</c:v>
                </c:pt>
                <c:pt idx="1142">
                  <c:v>11735.76</c:v>
                </c:pt>
                <c:pt idx="1143">
                  <c:v>11735.76</c:v>
                </c:pt>
                <c:pt idx="1144">
                  <c:v>11735.76</c:v>
                </c:pt>
                <c:pt idx="1145">
                  <c:v>11735.76</c:v>
                </c:pt>
                <c:pt idx="1146">
                  <c:v>11735.76</c:v>
                </c:pt>
                <c:pt idx="1147">
                  <c:v>11735.76</c:v>
                </c:pt>
                <c:pt idx="1148">
                  <c:v>11735.76</c:v>
                </c:pt>
                <c:pt idx="1149">
                  <c:v>11735.76</c:v>
                </c:pt>
                <c:pt idx="1150">
                  <c:v>11735.76</c:v>
                </c:pt>
                <c:pt idx="1151">
                  <c:v>11735.76</c:v>
                </c:pt>
                <c:pt idx="1152">
                  <c:v>11735.76</c:v>
                </c:pt>
                <c:pt idx="1153">
                  <c:v>11735.76</c:v>
                </c:pt>
                <c:pt idx="1154">
                  <c:v>11735.76</c:v>
                </c:pt>
                <c:pt idx="1155">
                  <c:v>11735.76</c:v>
                </c:pt>
                <c:pt idx="1156">
                  <c:v>11735.76</c:v>
                </c:pt>
                <c:pt idx="1157">
                  <c:v>11735.76</c:v>
                </c:pt>
                <c:pt idx="1158">
                  <c:v>11735.76</c:v>
                </c:pt>
                <c:pt idx="1159">
                  <c:v>11735.76</c:v>
                </c:pt>
                <c:pt idx="1160">
                  <c:v>11735.76</c:v>
                </c:pt>
                <c:pt idx="1161">
                  <c:v>11735.76</c:v>
                </c:pt>
                <c:pt idx="1162">
                  <c:v>11735.76</c:v>
                </c:pt>
                <c:pt idx="1163">
                  <c:v>11735.76</c:v>
                </c:pt>
                <c:pt idx="1164">
                  <c:v>11735.76</c:v>
                </c:pt>
                <c:pt idx="1165">
                  <c:v>11735.76</c:v>
                </c:pt>
                <c:pt idx="1166">
                  <c:v>11735.76</c:v>
                </c:pt>
                <c:pt idx="1167">
                  <c:v>11735.76</c:v>
                </c:pt>
                <c:pt idx="1168">
                  <c:v>11735.76</c:v>
                </c:pt>
                <c:pt idx="1169">
                  <c:v>11735.76</c:v>
                </c:pt>
                <c:pt idx="1170">
                  <c:v>11735.76</c:v>
                </c:pt>
                <c:pt idx="1171">
                  <c:v>11735.76</c:v>
                </c:pt>
                <c:pt idx="1172">
                  <c:v>11735.76</c:v>
                </c:pt>
                <c:pt idx="1173">
                  <c:v>11735.76</c:v>
                </c:pt>
                <c:pt idx="1174">
                  <c:v>11735.76</c:v>
                </c:pt>
                <c:pt idx="1175">
                  <c:v>11735.76</c:v>
                </c:pt>
                <c:pt idx="1176">
                  <c:v>11735.76</c:v>
                </c:pt>
                <c:pt idx="1177">
                  <c:v>11735.76</c:v>
                </c:pt>
                <c:pt idx="1178">
                  <c:v>11735.76</c:v>
                </c:pt>
                <c:pt idx="1179">
                  <c:v>11735.76</c:v>
                </c:pt>
                <c:pt idx="1180">
                  <c:v>11735.76</c:v>
                </c:pt>
                <c:pt idx="1181">
                  <c:v>11735.76</c:v>
                </c:pt>
                <c:pt idx="1182">
                  <c:v>11735.76</c:v>
                </c:pt>
                <c:pt idx="1183">
                  <c:v>11735.76</c:v>
                </c:pt>
                <c:pt idx="1184">
                  <c:v>11735.76</c:v>
                </c:pt>
                <c:pt idx="1185">
                  <c:v>11735.76</c:v>
                </c:pt>
                <c:pt idx="1186">
                  <c:v>11735.76</c:v>
                </c:pt>
                <c:pt idx="1187">
                  <c:v>11735.76</c:v>
                </c:pt>
                <c:pt idx="1188">
                  <c:v>11735.76</c:v>
                </c:pt>
                <c:pt idx="1189">
                  <c:v>11735.76</c:v>
                </c:pt>
                <c:pt idx="1190">
                  <c:v>11735.76</c:v>
                </c:pt>
                <c:pt idx="1191">
                  <c:v>11735.76</c:v>
                </c:pt>
                <c:pt idx="1192">
                  <c:v>11735.76</c:v>
                </c:pt>
                <c:pt idx="1193">
                  <c:v>11735.76</c:v>
                </c:pt>
                <c:pt idx="1194">
                  <c:v>11735.76</c:v>
                </c:pt>
                <c:pt idx="1195">
                  <c:v>11735.76</c:v>
                </c:pt>
                <c:pt idx="1196">
                  <c:v>11735.76</c:v>
                </c:pt>
                <c:pt idx="1197">
                  <c:v>11735.76</c:v>
                </c:pt>
                <c:pt idx="1198">
                  <c:v>11735.76</c:v>
                </c:pt>
                <c:pt idx="1199">
                  <c:v>11735.76</c:v>
                </c:pt>
                <c:pt idx="1200">
                  <c:v>11735.76</c:v>
                </c:pt>
                <c:pt idx="1201">
                  <c:v>11735.76</c:v>
                </c:pt>
                <c:pt idx="1202">
                  <c:v>11735.76</c:v>
                </c:pt>
                <c:pt idx="1203">
                  <c:v>11735.76</c:v>
                </c:pt>
                <c:pt idx="1204">
                  <c:v>11735.76</c:v>
                </c:pt>
                <c:pt idx="1205">
                  <c:v>11735.76</c:v>
                </c:pt>
                <c:pt idx="1206">
                  <c:v>11735.76</c:v>
                </c:pt>
                <c:pt idx="1207">
                  <c:v>11735.76</c:v>
                </c:pt>
                <c:pt idx="1208">
                  <c:v>11735.76</c:v>
                </c:pt>
                <c:pt idx="1209">
                  <c:v>11735.76</c:v>
                </c:pt>
                <c:pt idx="1210">
                  <c:v>11735.76</c:v>
                </c:pt>
                <c:pt idx="1211">
                  <c:v>11735.76</c:v>
                </c:pt>
                <c:pt idx="1212">
                  <c:v>11735.76</c:v>
                </c:pt>
                <c:pt idx="1213">
                  <c:v>11735.76</c:v>
                </c:pt>
                <c:pt idx="1214">
                  <c:v>11735.76</c:v>
                </c:pt>
                <c:pt idx="1215">
                  <c:v>11735.76</c:v>
                </c:pt>
                <c:pt idx="1216">
                  <c:v>11735.76</c:v>
                </c:pt>
                <c:pt idx="1217">
                  <c:v>11735.76</c:v>
                </c:pt>
                <c:pt idx="1218">
                  <c:v>11735.76</c:v>
                </c:pt>
                <c:pt idx="1219">
                  <c:v>11735.76</c:v>
                </c:pt>
                <c:pt idx="1220">
                  <c:v>11735.76</c:v>
                </c:pt>
                <c:pt idx="1221">
                  <c:v>11735.76</c:v>
                </c:pt>
                <c:pt idx="1222">
                  <c:v>11735.76</c:v>
                </c:pt>
                <c:pt idx="1223">
                  <c:v>11735.76</c:v>
                </c:pt>
                <c:pt idx="1224">
                  <c:v>11735.76</c:v>
                </c:pt>
                <c:pt idx="1225">
                  <c:v>11735.76</c:v>
                </c:pt>
                <c:pt idx="1226">
                  <c:v>11735.76</c:v>
                </c:pt>
                <c:pt idx="1227">
                  <c:v>11735.76</c:v>
                </c:pt>
                <c:pt idx="1228">
                  <c:v>11735.76</c:v>
                </c:pt>
                <c:pt idx="1229">
                  <c:v>11735.76</c:v>
                </c:pt>
                <c:pt idx="1230">
                  <c:v>11735.76</c:v>
                </c:pt>
                <c:pt idx="1231">
                  <c:v>11735.76</c:v>
                </c:pt>
                <c:pt idx="1232">
                  <c:v>11735.76</c:v>
                </c:pt>
                <c:pt idx="1233">
                  <c:v>11735.76</c:v>
                </c:pt>
                <c:pt idx="1234">
                  <c:v>11735.76</c:v>
                </c:pt>
                <c:pt idx="1235">
                  <c:v>11735.76</c:v>
                </c:pt>
                <c:pt idx="1236">
                  <c:v>11735.76</c:v>
                </c:pt>
                <c:pt idx="1237">
                  <c:v>11735.76</c:v>
                </c:pt>
                <c:pt idx="1238">
                  <c:v>11735.76</c:v>
                </c:pt>
                <c:pt idx="1239">
                  <c:v>12944.960000000001</c:v>
                </c:pt>
                <c:pt idx="1240">
                  <c:v>12944.960000000001</c:v>
                </c:pt>
                <c:pt idx="1241">
                  <c:v>12944.960000000001</c:v>
                </c:pt>
                <c:pt idx="1242">
                  <c:v>12944.960000000001</c:v>
                </c:pt>
                <c:pt idx="1243">
                  <c:v>12944.960000000001</c:v>
                </c:pt>
                <c:pt idx="1244">
                  <c:v>12944.960000000001</c:v>
                </c:pt>
                <c:pt idx="1245">
                  <c:v>12944.960000000001</c:v>
                </c:pt>
                <c:pt idx="1246">
                  <c:v>12944.960000000001</c:v>
                </c:pt>
                <c:pt idx="1247">
                  <c:v>12944.960000000001</c:v>
                </c:pt>
                <c:pt idx="1248">
                  <c:v>12944.960000000001</c:v>
                </c:pt>
                <c:pt idx="1249">
                  <c:v>12944.960000000001</c:v>
                </c:pt>
                <c:pt idx="1250">
                  <c:v>12944.960000000001</c:v>
                </c:pt>
                <c:pt idx="1251">
                  <c:v>12944.960000000001</c:v>
                </c:pt>
                <c:pt idx="1252">
                  <c:v>12944.960000000001</c:v>
                </c:pt>
                <c:pt idx="1253">
                  <c:v>12944.960000000001</c:v>
                </c:pt>
                <c:pt idx="1254">
                  <c:v>12944.960000000001</c:v>
                </c:pt>
                <c:pt idx="1255">
                  <c:v>12944.960000000001</c:v>
                </c:pt>
                <c:pt idx="1256">
                  <c:v>12944.960000000001</c:v>
                </c:pt>
                <c:pt idx="1257">
                  <c:v>12944.960000000001</c:v>
                </c:pt>
                <c:pt idx="1258">
                  <c:v>12944.960000000001</c:v>
                </c:pt>
                <c:pt idx="1259">
                  <c:v>12944.960000000001</c:v>
                </c:pt>
                <c:pt idx="1260">
                  <c:v>12944.960000000001</c:v>
                </c:pt>
                <c:pt idx="1261">
                  <c:v>12944.960000000001</c:v>
                </c:pt>
                <c:pt idx="1262">
                  <c:v>12944.960000000001</c:v>
                </c:pt>
                <c:pt idx="1263">
                  <c:v>12944.960000000001</c:v>
                </c:pt>
                <c:pt idx="1264">
                  <c:v>12944.960000000001</c:v>
                </c:pt>
                <c:pt idx="1265">
                  <c:v>12944.960000000001</c:v>
                </c:pt>
                <c:pt idx="1266">
                  <c:v>12944.960000000001</c:v>
                </c:pt>
                <c:pt idx="1267">
                  <c:v>12944.960000000001</c:v>
                </c:pt>
                <c:pt idx="1268">
                  <c:v>12944.960000000001</c:v>
                </c:pt>
                <c:pt idx="1269">
                  <c:v>12944.960000000001</c:v>
                </c:pt>
                <c:pt idx="1270">
                  <c:v>12944.960000000001</c:v>
                </c:pt>
                <c:pt idx="1271">
                  <c:v>12944.960000000001</c:v>
                </c:pt>
                <c:pt idx="1272">
                  <c:v>12944.960000000001</c:v>
                </c:pt>
                <c:pt idx="1273">
                  <c:v>12944.960000000001</c:v>
                </c:pt>
                <c:pt idx="1274">
                  <c:v>12944.960000000001</c:v>
                </c:pt>
                <c:pt idx="1275">
                  <c:v>12944.960000000001</c:v>
                </c:pt>
                <c:pt idx="1276">
                  <c:v>12944.960000000001</c:v>
                </c:pt>
                <c:pt idx="1277">
                  <c:v>12944.960000000001</c:v>
                </c:pt>
                <c:pt idx="1278">
                  <c:v>12944.960000000001</c:v>
                </c:pt>
                <c:pt idx="1279">
                  <c:v>12944.960000000001</c:v>
                </c:pt>
                <c:pt idx="1280">
                  <c:v>12944.960000000001</c:v>
                </c:pt>
                <c:pt idx="1281">
                  <c:v>12944.960000000001</c:v>
                </c:pt>
                <c:pt idx="1282">
                  <c:v>12944.960000000001</c:v>
                </c:pt>
                <c:pt idx="1283">
                  <c:v>12944.960000000001</c:v>
                </c:pt>
                <c:pt idx="1284">
                  <c:v>12944.960000000001</c:v>
                </c:pt>
                <c:pt idx="1285">
                  <c:v>12944.960000000001</c:v>
                </c:pt>
                <c:pt idx="1286">
                  <c:v>12944.960000000001</c:v>
                </c:pt>
                <c:pt idx="1287">
                  <c:v>12944.960000000001</c:v>
                </c:pt>
                <c:pt idx="1288">
                  <c:v>12944.960000000001</c:v>
                </c:pt>
                <c:pt idx="1289">
                  <c:v>12944.960000000001</c:v>
                </c:pt>
                <c:pt idx="1290">
                  <c:v>12944.960000000001</c:v>
                </c:pt>
                <c:pt idx="1291">
                  <c:v>12944.960000000001</c:v>
                </c:pt>
                <c:pt idx="1292">
                  <c:v>12944.960000000001</c:v>
                </c:pt>
                <c:pt idx="1293">
                  <c:v>12944.960000000001</c:v>
                </c:pt>
                <c:pt idx="1294">
                  <c:v>12944.960000000001</c:v>
                </c:pt>
                <c:pt idx="1295">
                  <c:v>12944.960000000001</c:v>
                </c:pt>
                <c:pt idx="1296">
                  <c:v>12944.960000000001</c:v>
                </c:pt>
                <c:pt idx="1297">
                  <c:v>12944.960000000001</c:v>
                </c:pt>
                <c:pt idx="1298">
                  <c:v>12944.960000000001</c:v>
                </c:pt>
                <c:pt idx="1299">
                  <c:v>12944.960000000001</c:v>
                </c:pt>
                <c:pt idx="1300">
                  <c:v>12944.960000000001</c:v>
                </c:pt>
                <c:pt idx="1301">
                  <c:v>12944.960000000001</c:v>
                </c:pt>
                <c:pt idx="1302">
                  <c:v>12944.960000000001</c:v>
                </c:pt>
                <c:pt idx="1303">
                  <c:v>12944.960000000001</c:v>
                </c:pt>
                <c:pt idx="1304">
                  <c:v>12944.960000000001</c:v>
                </c:pt>
                <c:pt idx="1305">
                  <c:v>12944.960000000001</c:v>
                </c:pt>
                <c:pt idx="1306">
                  <c:v>12944.960000000001</c:v>
                </c:pt>
                <c:pt idx="1307">
                  <c:v>12944.960000000001</c:v>
                </c:pt>
                <c:pt idx="1308">
                  <c:v>12944.960000000001</c:v>
                </c:pt>
                <c:pt idx="1309">
                  <c:v>12944.960000000001</c:v>
                </c:pt>
                <c:pt idx="1310">
                  <c:v>12944.960000000001</c:v>
                </c:pt>
                <c:pt idx="1311">
                  <c:v>12944.960000000001</c:v>
                </c:pt>
                <c:pt idx="1312">
                  <c:v>12944.960000000001</c:v>
                </c:pt>
                <c:pt idx="1313">
                  <c:v>12944.960000000001</c:v>
                </c:pt>
                <c:pt idx="1314">
                  <c:v>12944.960000000001</c:v>
                </c:pt>
                <c:pt idx="1315">
                  <c:v>12944.960000000001</c:v>
                </c:pt>
                <c:pt idx="1316">
                  <c:v>12944.960000000001</c:v>
                </c:pt>
                <c:pt idx="1317">
                  <c:v>12944.960000000001</c:v>
                </c:pt>
                <c:pt idx="1318">
                  <c:v>12944.960000000001</c:v>
                </c:pt>
                <c:pt idx="1319">
                  <c:v>12944.960000000001</c:v>
                </c:pt>
                <c:pt idx="1320">
                  <c:v>12944.960000000001</c:v>
                </c:pt>
                <c:pt idx="1321">
                  <c:v>12944.960000000001</c:v>
                </c:pt>
                <c:pt idx="1322">
                  <c:v>12944.960000000001</c:v>
                </c:pt>
                <c:pt idx="1323">
                  <c:v>12944.960000000001</c:v>
                </c:pt>
                <c:pt idx="1324">
                  <c:v>12944.960000000001</c:v>
                </c:pt>
                <c:pt idx="1325">
                  <c:v>12944.960000000001</c:v>
                </c:pt>
                <c:pt idx="1326">
                  <c:v>12944.960000000001</c:v>
                </c:pt>
                <c:pt idx="1327">
                  <c:v>12944.960000000001</c:v>
                </c:pt>
                <c:pt idx="1328">
                  <c:v>12944.960000000001</c:v>
                </c:pt>
                <c:pt idx="1329">
                  <c:v>12944.960000000001</c:v>
                </c:pt>
                <c:pt idx="1330">
                  <c:v>12944.960000000001</c:v>
                </c:pt>
                <c:pt idx="1331">
                  <c:v>12944.960000000001</c:v>
                </c:pt>
                <c:pt idx="1332">
                  <c:v>12944.960000000001</c:v>
                </c:pt>
                <c:pt idx="1333">
                  <c:v>12944.960000000001</c:v>
                </c:pt>
                <c:pt idx="1334">
                  <c:v>12944.960000000001</c:v>
                </c:pt>
                <c:pt idx="1335">
                  <c:v>12944.960000000001</c:v>
                </c:pt>
                <c:pt idx="1336">
                  <c:v>12944.960000000001</c:v>
                </c:pt>
                <c:pt idx="1337">
                  <c:v>12944.960000000001</c:v>
                </c:pt>
                <c:pt idx="1338">
                  <c:v>12944.960000000001</c:v>
                </c:pt>
                <c:pt idx="1339">
                  <c:v>12944.960000000001</c:v>
                </c:pt>
                <c:pt idx="1340">
                  <c:v>12944.960000000001</c:v>
                </c:pt>
                <c:pt idx="1341">
                  <c:v>12944.960000000001</c:v>
                </c:pt>
                <c:pt idx="1342">
                  <c:v>12944.960000000001</c:v>
                </c:pt>
                <c:pt idx="1343">
                  <c:v>12944.960000000001</c:v>
                </c:pt>
                <c:pt idx="1344">
                  <c:v>12944.960000000001</c:v>
                </c:pt>
                <c:pt idx="1345">
                  <c:v>12944.960000000001</c:v>
                </c:pt>
                <c:pt idx="1346">
                  <c:v>12944.960000000001</c:v>
                </c:pt>
                <c:pt idx="1347">
                  <c:v>12944.960000000001</c:v>
                </c:pt>
                <c:pt idx="1348">
                  <c:v>12944.960000000001</c:v>
                </c:pt>
                <c:pt idx="1349">
                  <c:v>12944.960000000001</c:v>
                </c:pt>
                <c:pt idx="1350">
                  <c:v>12944.960000000001</c:v>
                </c:pt>
                <c:pt idx="1351">
                  <c:v>12944.960000000001</c:v>
                </c:pt>
                <c:pt idx="1352">
                  <c:v>12944.960000000001</c:v>
                </c:pt>
                <c:pt idx="1353">
                  <c:v>12944.960000000001</c:v>
                </c:pt>
                <c:pt idx="1354">
                  <c:v>12944.960000000001</c:v>
                </c:pt>
                <c:pt idx="1355">
                  <c:v>12944.960000000001</c:v>
                </c:pt>
                <c:pt idx="1356">
                  <c:v>12944.960000000001</c:v>
                </c:pt>
                <c:pt idx="1357">
                  <c:v>12944.960000000001</c:v>
                </c:pt>
                <c:pt idx="1358">
                  <c:v>12944.960000000001</c:v>
                </c:pt>
                <c:pt idx="1359">
                  <c:v>12944.960000000001</c:v>
                </c:pt>
                <c:pt idx="1360">
                  <c:v>12944.960000000001</c:v>
                </c:pt>
                <c:pt idx="1361">
                  <c:v>12944.960000000001</c:v>
                </c:pt>
                <c:pt idx="1362">
                  <c:v>12944.960000000001</c:v>
                </c:pt>
                <c:pt idx="1363">
                  <c:v>12944.960000000001</c:v>
                </c:pt>
                <c:pt idx="1364">
                  <c:v>12944.960000000001</c:v>
                </c:pt>
                <c:pt idx="1365">
                  <c:v>12944.960000000001</c:v>
                </c:pt>
                <c:pt idx="1366">
                  <c:v>12944.960000000001</c:v>
                </c:pt>
                <c:pt idx="1367">
                  <c:v>12944.960000000001</c:v>
                </c:pt>
                <c:pt idx="1368">
                  <c:v>12944.960000000001</c:v>
                </c:pt>
                <c:pt idx="1369">
                  <c:v>12944.960000000001</c:v>
                </c:pt>
                <c:pt idx="1370">
                  <c:v>12944.960000000001</c:v>
                </c:pt>
                <c:pt idx="1371">
                  <c:v>12944.960000000001</c:v>
                </c:pt>
                <c:pt idx="1372">
                  <c:v>12944.960000000001</c:v>
                </c:pt>
                <c:pt idx="1373">
                  <c:v>12944.960000000001</c:v>
                </c:pt>
                <c:pt idx="1374">
                  <c:v>12944.960000000001</c:v>
                </c:pt>
                <c:pt idx="1375">
                  <c:v>12944.960000000001</c:v>
                </c:pt>
                <c:pt idx="1376">
                  <c:v>12944.960000000001</c:v>
                </c:pt>
                <c:pt idx="1377">
                  <c:v>12944.960000000001</c:v>
                </c:pt>
                <c:pt idx="1378">
                  <c:v>12944.960000000001</c:v>
                </c:pt>
                <c:pt idx="1379">
                  <c:v>12944.960000000001</c:v>
                </c:pt>
                <c:pt idx="1380">
                  <c:v>12944.960000000001</c:v>
                </c:pt>
                <c:pt idx="1381">
                  <c:v>12944.960000000001</c:v>
                </c:pt>
                <c:pt idx="1382">
                  <c:v>12944.960000000001</c:v>
                </c:pt>
                <c:pt idx="1383">
                  <c:v>12944.960000000001</c:v>
                </c:pt>
                <c:pt idx="1384">
                  <c:v>12944.960000000001</c:v>
                </c:pt>
                <c:pt idx="1385">
                  <c:v>12944.960000000001</c:v>
                </c:pt>
                <c:pt idx="1386">
                  <c:v>12944.960000000001</c:v>
                </c:pt>
                <c:pt idx="1387">
                  <c:v>12944.960000000001</c:v>
                </c:pt>
                <c:pt idx="1388">
                  <c:v>12944.960000000001</c:v>
                </c:pt>
                <c:pt idx="1389">
                  <c:v>12944.960000000001</c:v>
                </c:pt>
                <c:pt idx="1390">
                  <c:v>12944.960000000001</c:v>
                </c:pt>
                <c:pt idx="1391">
                  <c:v>12944.960000000001</c:v>
                </c:pt>
                <c:pt idx="1392">
                  <c:v>12944.960000000001</c:v>
                </c:pt>
                <c:pt idx="1393">
                  <c:v>12944.960000000001</c:v>
                </c:pt>
                <c:pt idx="1394">
                  <c:v>12944.960000000001</c:v>
                </c:pt>
                <c:pt idx="1395">
                  <c:v>12944.960000000001</c:v>
                </c:pt>
                <c:pt idx="1396">
                  <c:v>12944.960000000001</c:v>
                </c:pt>
                <c:pt idx="1397">
                  <c:v>12944.960000000001</c:v>
                </c:pt>
                <c:pt idx="1398">
                  <c:v>12944.960000000001</c:v>
                </c:pt>
                <c:pt idx="1399">
                  <c:v>12944.960000000001</c:v>
                </c:pt>
                <c:pt idx="1400">
                  <c:v>12944.960000000001</c:v>
                </c:pt>
                <c:pt idx="1401">
                  <c:v>12944.960000000001</c:v>
                </c:pt>
                <c:pt idx="1402">
                  <c:v>12944.960000000001</c:v>
                </c:pt>
                <c:pt idx="1403">
                  <c:v>12944.960000000001</c:v>
                </c:pt>
                <c:pt idx="1404">
                  <c:v>12944.960000000001</c:v>
                </c:pt>
                <c:pt idx="1405">
                  <c:v>12944.960000000001</c:v>
                </c:pt>
                <c:pt idx="1406">
                  <c:v>12944.960000000001</c:v>
                </c:pt>
                <c:pt idx="1407">
                  <c:v>12944.960000000001</c:v>
                </c:pt>
                <c:pt idx="1408">
                  <c:v>12944.960000000001</c:v>
                </c:pt>
                <c:pt idx="1409">
                  <c:v>12944.960000000001</c:v>
                </c:pt>
                <c:pt idx="1410">
                  <c:v>12944.960000000001</c:v>
                </c:pt>
                <c:pt idx="1411">
                  <c:v>12944.960000000001</c:v>
                </c:pt>
                <c:pt idx="1412">
                  <c:v>12944.960000000001</c:v>
                </c:pt>
                <c:pt idx="1413">
                  <c:v>12944.960000000001</c:v>
                </c:pt>
                <c:pt idx="1414">
                  <c:v>12944.960000000001</c:v>
                </c:pt>
                <c:pt idx="1415">
                  <c:v>12944.960000000001</c:v>
                </c:pt>
                <c:pt idx="1416">
                  <c:v>12944.960000000001</c:v>
                </c:pt>
                <c:pt idx="1417">
                  <c:v>12944.960000000001</c:v>
                </c:pt>
                <c:pt idx="1418">
                  <c:v>12944.960000000001</c:v>
                </c:pt>
                <c:pt idx="1419">
                  <c:v>12944.960000000001</c:v>
                </c:pt>
                <c:pt idx="1420">
                  <c:v>12944.960000000001</c:v>
                </c:pt>
                <c:pt idx="1421">
                  <c:v>12944.960000000001</c:v>
                </c:pt>
                <c:pt idx="1422">
                  <c:v>12944.960000000001</c:v>
                </c:pt>
                <c:pt idx="1423">
                  <c:v>12944.960000000001</c:v>
                </c:pt>
                <c:pt idx="1424">
                  <c:v>12944.960000000001</c:v>
                </c:pt>
                <c:pt idx="1425">
                  <c:v>12944.960000000001</c:v>
                </c:pt>
                <c:pt idx="1426">
                  <c:v>12944.960000000001</c:v>
                </c:pt>
                <c:pt idx="1427">
                  <c:v>12944.960000000001</c:v>
                </c:pt>
                <c:pt idx="1428">
                  <c:v>12944.960000000001</c:v>
                </c:pt>
                <c:pt idx="1429">
                  <c:v>12944.960000000001</c:v>
                </c:pt>
                <c:pt idx="1430">
                  <c:v>12944.960000000001</c:v>
                </c:pt>
                <c:pt idx="1431">
                  <c:v>12944.960000000001</c:v>
                </c:pt>
                <c:pt idx="1432">
                  <c:v>12944.960000000001</c:v>
                </c:pt>
                <c:pt idx="1433">
                  <c:v>12944.960000000001</c:v>
                </c:pt>
                <c:pt idx="1434">
                  <c:v>12944.960000000001</c:v>
                </c:pt>
                <c:pt idx="1435">
                  <c:v>12944.960000000001</c:v>
                </c:pt>
                <c:pt idx="1436">
                  <c:v>12944.960000000001</c:v>
                </c:pt>
                <c:pt idx="1437">
                  <c:v>12944.960000000001</c:v>
                </c:pt>
                <c:pt idx="1438">
                  <c:v>12944.960000000001</c:v>
                </c:pt>
                <c:pt idx="1439">
                  <c:v>12944.960000000001</c:v>
                </c:pt>
                <c:pt idx="1440">
                  <c:v>12944.960000000001</c:v>
                </c:pt>
                <c:pt idx="1441">
                  <c:v>12944.960000000001</c:v>
                </c:pt>
                <c:pt idx="1442">
                  <c:v>12944.960000000001</c:v>
                </c:pt>
                <c:pt idx="1443">
                  <c:v>12944.960000000001</c:v>
                </c:pt>
                <c:pt idx="1444">
                  <c:v>12944.960000000001</c:v>
                </c:pt>
                <c:pt idx="1445">
                  <c:v>12944.960000000001</c:v>
                </c:pt>
                <c:pt idx="1446">
                  <c:v>12944.960000000001</c:v>
                </c:pt>
                <c:pt idx="1447">
                  <c:v>12944.960000000001</c:v>
                </c:pt>
                <c:pt idx="1448">
                  <c:v>12944.960000000001</c:v>
                </c:pt>
                <c:pt idx="1449">
                  <c:v>12944.960000000001</c:v>
                </c:pt>
                <c:pt idx="1450">
                  <c:v>12944.960000000001</c:v>
                </c:pt>
                <c:pt idx="1451">
                  <c:v>12944.960000000001</c:v>
                </c:pt>
                <c:pt idx="1452">
                  <c:v>12944.960000000001</c:v>
                </c:pt>
                <c:pt idx="1453">
                  <c:v>12944.960000000001</c:v>
                </c:pt>
                <c:pt idx="1454">
                  <c:v>12944.960000000001</c:v>
                </c:pt>
                <c:pt idx="1455">
                  <c:v>12944.960000000001</c:v>
                </c:pt>
                <c:pt idx="1456">
                  <c:v>12944.960000000001</c:v>
                </c:pt>
                <c:pt idx="1457">
                  <c:v>12944.960000000001</c:v>
                </c:pt>
                <c:pt idx="1458">
                  <c:v>12944.960000000001</c:v>
                </c:pt>
                <c:pt idx="1459">
                  <c:v>12944.960000000001</c:v>
                </c:pt>
                <c:pt idx="1460">
                  <c:v>12944.960000000001</c:v>
                </c:pt>
                <c:pt idx="1461">
                  <c:v>12944.960000000001</c:v>
                </c:pt>
                <c:pt idx="1462">
                  <c:v>12944.960000000001</c:v>
                </c:pt>
                <c:pt idx="1463">
                  <c:v>12944.960000000001</c:v>
                </c:pt>
                <c:pt idx="1464">
                  <c:v>12944.960000000001</c:v>
                </c:pt>
                <c:pt idx="1465">
                  <c:v>12944.960000000001</c:v>
                </c:pt>
                <c:pt idx="1466">
                  <c:v>12944.960000000001</c:v>
                </c:pt>
                <c:pt idx="1467">
                  <c:v>12944.960000000001</c:v>
                </c:pt>
                <c:pt idx="1468">
                  <c:v>12944.960000000001</c:v>
                </c:pt>
                <c:pt idx="1469">
                  <c:v>12944.960000000001</c:v>
                </c:pt>
                <c:pt idx="1470">
                  <c:v>12944.960000000001</c:v>
                </c:pt>
                <c:pt idx="1471">
                  <c:v>12944.960000000001</c:v>
                </c:pt>
                <c:pt idx="1472">
                  <c:v>12944.960000000001</c:v>
                </c:pt>
                <c:pt idx="1473">
                  <c:v>12944.960000000001</c:v>
                </c:pt>
                <c:pt idx="1474">
                  <c:v>12944.960000000001</c:v>
                </c:pt>
                <c:pt idx="1475">
                  <c:v>12944.960000000001</c:v>
                </c:pt>
                <c:pt idx="1476">
                  <c:v>12944.960000000001</c:v>
                </c:pt>
                <c:pt idx="1477">
                  <c:v>14075.98</c:v>
                </c:pt>
                <c:pt idx="1478">
                  <c:v>14075.98</c:v>
                </c:pt>
                <c:pt idx="1479">
                  <c:v>14075.98</c:v>
                </c:pt>
                <c:pt idx="1480">
                  <c:v>14075.98</c:v>
                </c:pt>
                <c:pt idx="1481">
                  <c:v>14075.98</c:v>
                </c:pt>
                <c:pt idx="1482">
                  <c:v>14075.98</c:v>
                </c:pt>
                <c:pt idx="1483">
                  <c:v>14075.98</c:v>
                </c:pt>
                <c:pt idx="1484">
                  <c:v>14075.98</c:v>
                </c:pt>
                <c:pt idx="1485">
                  <c:v>14075.98</c:v>
                </c:pt>
                <c:pt idx="1486">
                  <c:v>14075.98</c:v>
                </c:pt>
                <c:pt idx="1487">
                  <c:v>14075.98</c:v>
                </c:pt>
                <c:pt idx="1488">
                  <c:v>14075.98</c:v>
                </c:pt>
                <c:pt idx="1489">
                  <c:v>14075.98</c:v>
                </c:pt>
                <c:pt idx="1490">
                  <c:v>14075.98</c:v>
                </c:pt>
                <c:pt idx="1491">
                  <c:v>14075.98</c:v>
                </c:pt>
                <c:pt idx="1492">
                  <c:v>14075.98</c:v>
                </c:pt>
                <c:pt idx="1493">
                  <c:v>14075.98</c:v>
                </c:pt>
                <c:pt idx="1494">
                  <c:v>14075.98</c:v>
                </c:pt>
                <c:pt idx="1495">
                  <c:v>14075.98</c:v>
                </c:pt>
                <c:pt idx="1496">
                  <c:v>14075.98</c:v>
                </c:pt>
                <c:pt idx="1497">
                  <c:v>14075.98</c:v>
                </c:pt>
                <c:pt idx="1498">
                  <c:v>14075.98</c:v>
                </c:pt>
                <c:pt idx="1499">
                  <c:v>14075.98</c:v>
                </c:pt>
                <c:pt idx="1500">
                  <c:v>14075.98</c:v>
                </c:pt>
                <c:pt idx="1501">
                  <c:v>14075.98</c:v>
                </c:pt>
                <c:pt idx="1502">
                  <c:v>14075.98</c:v>
                </c:pt>
                <c:pt idx="1503">
                  <c:v>14075.98</c:v>
                </c:pt>
                <c:pt idx="1504">
                  <c:v>14075.98</c:v>
                </c:pt>
                <c:pt idx="1505">
                  <c:v>14075.98</c:v>
                </c:pt>
                <c:pt idx="1506">
                  <c:v>14075.98</c:v>
                </c:pt>
                <c:pt idx="1507">
                  <c:v>14075.98</c:v>
                </c:pt>
                <c:pt idx="1508">
                  <c:v>14075.98</c:v>
                </c:pt>
                <c:pt idx="1509">
                  <c:v>14075.98</c:v>
                </c:pt>
                <c:pt idx="1510">
                  <c:v>14075.98</c:v>
                </c:pt>
                <c:pt idx="1511">
                  <c:v>14075.98</c:v>
                </c:pt>
                <c:pt idx="1512">
                  <c:v>14075.98</c:v>
                </c:pt>
                <c:pt idx="1513">
                  <c:v>14075.98</c:v>
                </c:pt>
                <c:pt idx="1514">
                  <c:v>14075.98</c:v>
                </c:pt>
                <c:pt idx="1515">
                  <c:v>14075.98</c:v>
                </c:pt>
                <c:pt idx="1516">
                  <c:v>14075.98</c:v>
                </c:pt>
                <c:pt idx="1517">
                  <c:v>14075.98</c:v>
                </c:pt>
                <c:pt idx="1518">
                  <c:v>14075.98</c:v>
                </c:pt>
                <c:pt idx="1519">
                  <c:v>14075.98</c:v>
                </c:pt>
                <c:pt idx="1520">
                  <c:v>14075.98</c:v>
                </c:pt>
                <c:pt idx="1521">
                  <c:v>14075.98</c:v>
                </c:pt>
                <c:pt idx="1522">
                  <c:v>14075.98</c:v>
                </c:pt>
                <c:pt idx="1523">
                  <c:v>14075.98</c:v>
                </c:pt>
                <c:pt idx="1524">
                  <c:v>14075.98</c:v>
                </c:pt>
                <c:pt idx="1525">
                  <c:v>14075.98</c:v>
                </c:pt>
                <c:pt idx="1526">
                  <c:v>14075.98</c:v>
                </c:pt>
                <c:pt idx="1527">
                  <c:v>14075.98</c:v>
                </c:pt>
                <c:pt idx="1528">
                  <c:v>14075.98</c:v>
                </c:pt>
                <c:pt idx="1529">
                  <c:v>14075.98</c:v>
                </c:pt>
                <c:pt idx="1530">
                  <c:v>14075.98</c:v>
                </c:pt>
                <c:pt idx="1531">
                  <c:v>14075.98</c:v>
                </c:pt>
                <c:pt idx="1532">
                  <c:v>14075.98</c:v>
                </c:pt>
                <c:pt idx="1533">
                  <c:v>14075.98</c:v>
                </c:pt>
                <c:pt idx="1534">
                  <c:v>14075.98</c:v>
                </c:pt>
                <c:pt idx="1535">
                  <c:v>14075.98</c:v>
                </c:pt>
                <c:pt idx="1536">
                  <c:v>14075.98</c:v>
                </c:pt>
                <c:pt idx="1537">
                  <c:v>14075.98</c:v>
                </c:pt>
                <c:pt idx="1538">
                  <c:v>14075.98</c:v>
                </c:pt>
                <c:pt idx="1539">
                  <c:v>14075.98</c:v>
                </c:pt>
                <c:pt idx="1540">
                  <c:v>14075.98</c:v>
                </c:pt>
                <c:pt idx="1541">
                  <c:v>14075.98</c:v>
                </c:pt>
                <c:pt idx="1542">
                  <c:v>14075.98</c:v>
                </c:pt>
                <c:pt idx="1543">
                  <c:v>14075.98</c:v>
                </c:pt>
                <c:pt idx="1544">
                  <c:v>14075.98</c:v>
                </c:pt>
                <c:pt idx="1545">
                  <c:v>14075.98</c:v>
                </c:pt>
                <c:pt idx="1546">
                  <c:v>14075.98</c:v>
                </c:pt>
                <c:pt idx="1547">
                  <c:v>14075.98</c:v>
                </c:pt>
                <c:pt idx="1548">
                  <c:v>14075.98</c:v>
                </c:pt>
                <c:pt idx="1549">
                  <c:v>14075.98</c:v>
                </c:pt>
                <c:pt idx="1550">
                  <c:v>14075.98</c:v>
                </c:pt>
                <c:pt idx="1551">
                  <c:v>14075.98</c:v>
                </c:pt>
                <c:pt idx="1552">
                  <c:v>14075.98</c:v>
                </c:pt>
                <c:pt idx="1553">
                  <c:v>14075.98</c:v>
                </c:pt>
                <c:pt idx="1554">
                  <c:v>14075.98</c:v>
                </c:pt>
                <c:pt idx="1555">
                  <c:v>14075.98</c:v>
                </c:pt>
                <c:pt idx="1556">
                  <c:v>14075.98</c:v>
                </c:pt>
                <c:pt idx="1557">
                  <c:v>14075.98</c:v>
                </c:pt>
                <c:pt idx="1558">
                  <c:v>14075.98</c:v>
                </c:pt>
                <c:pt idx="1559">
                  <c:v>14075.98</c:v>
                </c:pt>
                <c:pt idx="1560">
                  <c:v>14075.98</c:v>
                </c:pt>
                <c:pt idx="1561">
                  <c:v>14075.98</c:v>
                </c:pt>
                <c:pt idx="1562">
                  <c:v>14075.98</c:v>
                </c:pt>
                <c:pt idx="1563">
                  <c:v>14075.98</c:v>
                </c:pt>
                <c:pt idx="1564">
                  <c:v>14075.98</c:v>
                </c:pt>
                <c:pt idx="1565">
                  <c:v>14075.98</c:v>
                </c:pt>
                <c:pt idx="1566">
                  <c:v>14075.98</c:v>
                </c:pt>
                <c:pt idx="1567">
                  <c:v>14075.98</c:v>
                </c:pt>
                <c:pt idx="1568">
                  <c:v>14075.98</c:v>
                </c:pt>
                <c:pt idx="1569">
                  <c:v>14075.98</c:v>
                </c:pt>
                <c:pt idx="1570">
                  <c:v>14075.98</c:v>
                </c:pt>
                <c:pt idx="1571">
                  <c:v>14075.98</c:v>
                </c:pt>
                <c:pt idx="1572">
                  <c:v>14075.98</c:v>
                </c:pt>
                <c:pt idx="1573">
                  <c:v>14075.98</c:v>
                </c:pt>
                <c:pt idx="1574">
                  <c:v>14075.98</c:v>
                </c:pt>
                <c:pt idx="1575">
                  <c:v>14075.98</c:v>
                </c:pt>
                <c:pt idx="1576">
                  <c:v>14075.98</c:v>
                </c:pt>
                <c:pt idx="1577">
                  <c:v>14075.98</c:v>
                </c:pt>
                <c:pt idx="1578">
                  <c:v>14075.98</c:v>
                </c:pt>
                <c:pt idx="1579">
                  <c:v>14075.98</c:v>
                </c:pt>
                <c:pt idx="1580">
                  <c:v>14075.98</c:v>
                </c:pt>
                <c:pt idx="1581">
                  <c:v>14075.98</c:v>
                </c:pt>
                <c:pt idx="1582">
                  <c:v>14075.98</c:v>
                </c:pt>
                <c:pt idx="1583">
                  <c:v>14075.98</c:v>
                </c:pt>
                <c:pt idx="1584">
                  <c:v>14075.98</c:v>
                </c:pt>
                <c:pt idx="1585">
                  <c:v>14075.98</c:v>
                </c:pt>
                <c:pt idx="1586">
                  <c:v>14075.98</c:v>
                </c:pt>
                <c:pt idx="1587">
                  <c:v>14075.98</c:v>
                </c:pt>
                <c:pt idx="1588">
                  <c:v>14075.98</c:v>
                </c:pt>
                <c:pt idx="1589">
                  <c:v>14075.98</c:v>
                </c:pt>
                <c:pt idx="1590">
                  <c:v>14075.98</c:v>
                </c:pt>
                <c:pt idx="1591">
                  <c:v>14075.98</c:v>
                </c:pt>
                <c:pt idx="1592">
                  <c:v>14075.98</c:v>
                </c:pt>
                <c:pt idx="1593">
                  <c:v>14075.98</c:v>
                </c:pt>
                <c:pt idx="1594">
                  <c:v>14075.98</c:v>
                </c:pt>
                <c:pt idx="1595">
                  <c:v>14075.98</c:v>
                </c:pt>
                <c:pt idx="1596">
                  <c:v>14075.98</c:v>
                </c:pt>
                <c:pt idx="1597">
                  <c:v>14075.98</c:v>
                </c:pt>
                <c:pt idx="1598">
                  <c:v>14075.98</c:v>
                </c:pt>
                <c:pt idx="1599">
                  <c:v>14075.98</c:v>
                </c:pt>
                <c:pt idx="1600">
                  <c:v>14075.98</c:v>
                </c:pt>
                <c:pt idx="1601">
                  <c:v>14075.98</c:v>
                </c:pt>
                <c:pt idx="1602">
                  <c:v>14075.98</c:v>
                </c:pt>
                <c:pt idx="1603">
                  <c:v>14075.98</c:v>
                </c:pt>
                <c:pt idx="1604">
                  <c:v>14075.98</c:v>
                </c:pt>
                <c:pt idx="1605">
                  <c:v>14075.98</c:v>
                </c:pt>
                <c:pt idx="1606">
                  <c:v>14075.98</c:v>
                </c:pt>
                <c:pt idx="1607">
                  <c:v>14075.98</c:v>
                </c:pt>
                <c:pt idx="1608">
                  <c:v>14075.98</c:v>
                </c:pt>
                <c:pt idx="1609">
                  <c:v>14075.98</c:v>
                </c:pt>
                <c:pt idx="1610">
                  <c:v>14075.98</c:v>
                </c:pt>
                <c:pt idx="1611">
                  <c:v>14075.98</c:v>
                </c:pt>
                <c:pt idx="1612">
                  <c:v>14075.98</c:v>
                </c:pt>
                <c:pt idx="1613">
                  <c:v>14075.98</c:v>
                </c:pt>
                <c:pt idx="1614">
                  <c:v>14075.98</c:v>
                </c:pt>
                <c:pt idx="1615">
                  <c:v>14075.98</c:v>
                </c:pt>
                <c:pt idx="1616">
                  <c:v>14075.98</c:v>
                </c:pt>
                <c:pt idx="1617">
                  <c:v>14075.98</c:v>
                </c:pt>
                <c:pt idx="1618">
                  <c:v>14075.98</c:v>
                </c:pt>
                <c:pt idx="1619">
                  <c:v>14075.98</c:v>
                </c:pt>
                <c:pt idx="1620">
                  <c:v>14075.98</c:v>
                </c:pt>
                <c:pt idx="1621">
                  <c:v>14075.98</c:v>
                </c:pt>
                <c:pt idx="1622">
                  <c:v>14075.98</c:v>
                </c:pt>
                <c:pt idx="1623">
                  <c:v>14075.98</c:v>
                </c:pt>
                <c:pt idx="1624">
                  <c:v>14075.98</c:v>
                </c:pt>
                <c:pt idx="1625">
                  <c:v>14075.98</c:v>
                </c:pt>
                <c:pt idx="1626">
                  <c:v>14075.98</c:v>
                </c:pt>
                <c:pt idx="1627">
                  <c:v>14075.98</c:v>
                </c:pt>
                <c:pt idx="1628">
                  <c:v>14075.98</c:v>
                </c:pt>
                <c:pt idx="1629">
                  <c:v>14075.98</c:v>
                </c:pt>
                <c:pt idx="1630">
                  <c:v>14075.98</c:v>
                </c:pt>
                <c:pt idx="1631">
                  <c:v>14075.98</c:v>
                </c:pt>
                <c:pt idx="1632">
                  <c:v>14075.98</c:v>
                </c:pt>
                <c:pt idx="1633">
                  <c:v>14075.98</c:v>
                </c:pt>
                <c:pt idx="1634">
                  <c:v>14075.98</c:v>
                </c:pt>
                <c:pt idx="1635">
                  <c:v>14075.98</c:v>
                </c:pt>
                <c:pt idx="1636">
                  <c:v>14075.98</c:v>
                </c:pt>
                <c:pt idx="1637">
                  <c:v>14075.98</c:v>
                </c:pt>
                <c:pt idx="1638">
                  <c:v>14075.98</c:v>
                </c:pt>
                <c:pt idx="1639">
                  <c:v>14075.98</c:v>
                </c:pt>
                <c:pt idx="1640">
                  <c:v>14075.98</c:v>
                </c:pt>
                <c:pt idx="1641">
                  <c:v>14075.98</c:v>
                </c:pt>
                <c:pt idx="1642">
                  <c:v>14075.98</c:v>
                </c:pt>
                <c:pt idx="1643">
                  <c:v>14075.98</c:v>
                </c:pt>
                <c:pt idx="1644">
                  <c:v>14075.98</c:v>
                </c:pt>
                <c:pt idx="1645">
                  <c:v>14075.98</c:v>
                </c:pt>
                <c:pt idx="1646">
                  <c:v>14075.98</c:v>
                </c:pt>
                <c:pt idx="1647">
                  <c:v>14075.98</c:v>
                </c:pt>
                <c:pt idx="1648">
                  <c:v>14075.98</c:v>
                </c:pt>
                <c:pt idx="1649">
                  <c:v>14075.98</c:v>
                </c:pt>
                <c:pt idx="1650">
                  <c:v>14075.98</c:v>
                </c:pt>
                <c:pt idx="1651">
                  <c:v>14075.98</c:v>
                </c:pt>
                <c:pt idx="1652">
                  <c:v>14075.98</c:v>
                </c:pt>
                <c:pt idx="1653">
                  <c:v>14075.98</c:v>
                </c:pt>
                <c:pt idx="1654">
                  <c:v>14075.98</c:v>
                </c:pt>
                <c:pt idx="1655">
                  <c:v>14075.98</c:v>
                </c:pt>
                <c:pt idx="1656">
                  <c:v>14075.98</c:v>
                </c:pt>
                <c:pt idx="1657">
                  <c:v>14075.98</c:v>
                </c:pt>
                <c:pt idx="1658">
                  <c:v>14075.98</c:v>
                </c:pt>
                <c:pt idx="1659">
                  <c:v>14075.98</c:v>
                </c:pt>
                <c:pt idx="1660">
                  <c:v>14075.98</c:v>
                </c:pt>
                <c:pt idx="1661">
                  <c:v>14075.98</c:v>
                </c:pt>
                <c:pt idx="1662">
                  <c:v>14075.98</c:v>
                </c:pt>
                <c:pt idx="1663">
                  <c:v>14075.98</c:v>
                </c:pt>
                <c:pt idx="1664">
                  <c:v>14075.98</c:v>
                </c:pt>
                <c:pt idx="1665">
                  <c:v>14075.98</c:v>
                </c:pt>
                <c:pt idx="1666">
                  <c:v>14075.98</c:v>
                </c:pt>
                <c:pt idx="1667">
                  <c:v>14075.98</c:v>
                </c:pt>
                <c:pt idx="1668">
                  <c:v>14075.98</c:v>
                </c:pt>
                <c:pt idx="1669">
                  <c:v>14075.98</c:v>
                </c:pt>
                <c:pt idx="1670">
                  <c:v>14075.98</c:v>
                </c:pt>
                <c:pt idx="1671">
                  <c:v>14075.98</c:v>
                </c:pt>
                <c:pt idx="1672">
                  <c:v>14075.98</c:v>
                </c:pt>
                <c:pt idx="1673">
                  <c:v>14075.98</c:v>
                </c:pt>
                <c:pt idx="1674">
                  <c:v>14075.98</c:v>
                </c:pt>
                <c:pt idx="1675">
                  <c:v>14075.98</c:v>
                </c:pt>
                <c:pt idx="1676">
                  <c:v>14075.98</c:v>
                </c:pt>
                <c:pt idx="1677">
                  <c:v>14075.98</c:v>
                </c:pt>
                <c:pt idx="1678">
                  <c:v>14075.98</c:v>
                </c:pt>
                <c:pt idx="1679">
                  <c:v>14075.98</c:v>
                </c:pt>
                <c:pt idx="1680">
                  <c:v>14075.98</c:v>
                </c:pt>
                <c:pt idx="1681">
                  <c:v>14075.98</c:v>
                </c:pt>
                <c:pt idx="1682">
                  <c:v>14075.98</c:v>
                </c:pt>
                <c:pt idx="1683">
                  <c:v>14075.98</c:v>
                </c:pt>
                <c:pt idx="1684">
                  <c:v>14075.98</c:v>
                </c:pt>
                <c:pt idx="1685">
                  <c:v>14075.98</c:v>
                </c:pt>
                <c:pt idx="1686">
                  <c:v>14075.98</c:v>
                </c:pt>
                <c:pt idx="1687">
                  <c:v>14075.98</c:v>
                </c:pt>
                <c:pt idx="1688">
                  <c:v>14075.98</c:v>
                </c:pt>
                <c:pt idx="1689">
                  <c:v>14075.98</c:v>
                </c:pt>
                <c:pt idx="1690">
                  <c:v>14075.98</c:v>
                </c:pt>
                <c:pt idx="1691">
                  <c:v>14075.98</c:v>
                </c:pt>
                <c:pt idx="1692">
                  <c:v>14075.98</c:v>
                </c:pt>
                <c:pt idx="1693">
                  <c:v>14075.98</c:v>
                </c:pt>
                <c:pt idx="1694">
                  <c:v>14075.98</c:v>
                </c:pt>
                <c:pt idx="1695">
                  <c:v>14075.98</c:v>
                </c:pt>
                <c:pt idx="1696">
                  <c:v>14075.98</c:v>
                </c:pt>
                <c:pt idx="1697">
                  <c:v>14075.98</c:v>
                </c:pt>
                <c:pt idx="1698">
                  <c:v>14075.98</c:v>
                </c:pt>
                <c:pt idx="1699">
                  <c:v>14075.98</c:v>
                </c:pt>
                <c:pt idx="1700">
                  <c:v>14075.98</c:v>
                </c:pt>
                <c:pt idx="1701">
                  <c:v>14075.98</c:v>
                </c:pt>
                <c:pt idx="1702">
                  <c:v>14075.98</c:v>
                </c:pt>
                <c:pt idx="1703">
                  <c:v>14075.98</c:v>
                </c:pt>
                <c:pt idx="1704">
                  <c:v>14075.98</c:v>
                </c:pt>
                <c:pt idx="1705">
                  <c:v>14075.98</c:v>
                </c:pt>
                <c:pt idx="1706">
                  <c:v>14075.98</c:v>
                </c:pt>
                <c:pt idx="1707">
                  <c:v>14075.98</c:v>
                </c:pt>
                <c:pt idx="1708">
                  <c:v>14075.98</c:v>
                </c:pt>
                <c:pt idx="1709">
                  <c:v>14075.98</c:v>
                </c:pt>
                <c:pt idx="1710">
                  <c:v>14075.98</c:v>
                </c:pt>
                <c:pt idx="1711">
                  <c:v>14075.98</c:v>
                </c:pt>
                <c:pt idx="1712">
                  <c:v>14075.98</c:v>
                </c:pt>
                <c:pt idx="1713">
                  <c:v>14075.98</c:v>
                </c:pt>
                <c:pt idx="1714">
                  <c:v>14075.98</c:v>
                </c:pt>
                <c:pt idx="1715">
                  <c:v>14075.98</c:v>
                </c:pt>
                <c:pt idx="1716">
                  <c:v>14075.98</c:v>
                </c:pt>
                <c:pt idx="1717">
                  <c:v>14075.98</c:v>
                </c:pt>
                <c:pt idx="1718">
                  <c:v>14075.98</c:v>
                </c:pt>
                <c:pt idx="1719">
                  <c:v>14075.98</c:v>
                </c:pt>
                <c:pt idx="1720">
                  <c:v>14075.98</c:v>
                </c:pt>
                <c:pt idx="1721">
                  <c:v>14075.98</c:v>
                </c:pt>
                <c:pt idx="1722">
                  <c:v>15113.789999999999</c:v>
                </c:pt>
                <c:pt idx="1723">
                  <c:v>15113.789999999999</c:v>
                </c:pt>
                <c:pt idx="1724">
                  <c:v>15113.789999999999</c:v>
                </c:pt>
                <c:pt idx="1725">
                  <c:v>15113.789999999999</c:v>
                </c:pt>
                <c:pt idx="1726">
                  <c:v>15113.789999999999</c:v>
                </c:pt>
                <c:pt idx="1727">
                  <c:v>15113.789999999999</c:v>
                </c:pt>
                <c:pt idx="1728">
                  <c:v>15113.789999999999</c:v>
                </c:pt>
                <c:pt idx="1729">
                  <c:v>15113.789999999999</c:v>
                </c:pt>
                <c:pt idx="1730">
                  <c:v>15113.789999999999</c:v>
                </c:pt>
                <c:pt idx="1731">
                  <c:v>15113.789999999999</c:v>
                </c:pt>
                <c:pt idx="1732">
                  <c:v>15113.789999999999</c:v>
                </c:pt>
                <c:pt idx="1733">
                  <c:v>15113.789999999999</c:v>
                </c:pt>
                <c:pt idx="1734">
                  <c:v>15113.789999999999</c:v>
                </c:pt>
                <c:pt idx="1735">
                  <c:v>15113.789999999999</c:v>
                </c:pt>
                <c:pt idx="1736">
                  <c:v>15113.789999999999</c:v>
                </c:pt>
                <c:pt idx="1737">
                  <c:v>15113.789999999999</c:v>
                </c:pt>
                <c:pt idx="1738">
                  <c:v>15113.789999999999</c:v>
                </c:pt>
                <c:pt idx="1739">
                  <c:v>15113.789999999999</c:v>
                </c:pt>
                <c:pt idx="1740">
                  <c:v>15113.789999999999</c:v>
                </c:pt>
                <c:pt idx="1741">
                  <c:v>15113.789999999999</c:v>
                </c:pt>
                <c:pt idx="1742">
                  <c:v>15113.789999999999</c:v>
                </c:pt>
                <c:pt idx="1743">
                  <c:v>15113.789999999999</c:v>
                </c:pt>
                <c:pt idx="1744">
                  <c:v>15113.789999999999</c:v>
                </c:pt>
                <c:pt idx="1745">
                  <c:v>15113.789999999999</c:v>
                </c:pt>
                <c:pt idx="1746">
                  <c:v>15113.789999999999</c:v>
                </c:pt>
                <c:pt idx="1747">
                  <c:v>15113.789999999999</c:v>
                </c:pt>
                <c:pt idx="1748">
                  <c:v>15113.789999999999</c:v>
                </c:pt>
                <c:pt idx="1749">
                  <c:v>15113.789999999999</c:v>
                </c:pt>
                <c:pt idx="1750">
                  <c:v>15113.789999999999</c:v>
                </c:pt>
                <c:pt idx="1751">
                  <c:v>15113.789999999999</c:v>
                </c:pt>
                <c:pt idx="1752">
                  <c:v>15113.789999999999</c:v>
                </c:pt>
                <c:pt idx="1753">
                  <c:v>15113.789999999999</c:v>
                </c:pt>
                <c:pt idx="1754">
                  <c:v>15113.789999999999</c:v>
                </c:pt>
                <c:pt idx="1755">
                  <c:v>15113.789999999999</c:v>
                </c:pt>
                <c:pt idx="1756">
                  <c:v>15113.789999999999</c:v>
                </c:pt>
                <c:pt idx="1757">
                  <c:v>15113.789999999999</c:v>
                </c:pt>
                <c:pt idx="1758">
                  <c:v>15113.789999999999</c:v>
                </c:pt>
                <c:pt idx="1759">
                  <c:v>15113.789999999999</c:v>
                </c:pt>
                <c:pt idx="1760">
                  <c:v>15113.789999999999</c:v>
                </c:pt>
                <c:pt idx="1761">
                  <c:v>15113.789999999999</c:v>
                </c:pt>
                <c:pt idx="1762">
                  <c:v>15113.789999999999</c:v>
                </c:pt>
                <c:pt idx="1763">
                  <c:v>15113.789999999999</c:v>
                </c:pt>
                <c:pt idx="1764">
                  <c:v>15113.789999999999</c:v>
                </c:pt>
                <c:pt idx="1765">
                  <c:v>15113.789999999999</c:v>
                </c:pt>
                <c:pt idx="1766">
                  <c:v>15113.789999999999</c:v>
                </c:pt>
                <c:pt idx="1767">
                  <c:v>15113.789999999999</c:v>
                </c:pt>
                <c:pt idx="1768">
                  <c:v>15113.789999999999</c:v>
                </c:pt>
                <c:pt idx="1769">
                  <c:v>15113.789999999999</c:v>
                </c:pt>
                <c:pt idx="1770">
                  <c:v>15113.789999999999</c:v>
                </c:pt>
                <c:pt idx="1771">
                  <c:v>15113.789999999999</c:v>
                </c:pt>
                <c:pt idx="1772">
                  <c:v>15113.789999999999</c:v>
                </c:pt>
                <c:pt idx="1773">
                  <c:v>15113.789999999999</c:v>
                </c:pt>
                <c:pt idx="1774">
                  <c:v>15113.789999999999</c:v>
                </c:pt>
                <c:pt idx="1775">
                  <c:v>15113.789999999999</c:v>
                </c:pt>
                <c:pt idx="1776">
                  <c:v>15113.789999999999</c:v>
                </c:pt>
                <c:pt idx="1777">
                  <c:v>15113.789999999999</c:v>
                </c:pt>
                <c:pt idx="1778">
                  <c:v>15113.789999999999</c:v>
                </c:pt>
                <c:pt idx="1779">
                  <c:v>15113.789999999999</c:v>
                </c:pt>
                <c:pt idx="1780">
                  <c:v>15113.789999999999</c:v>
                </c:pt>
                <c:pt idx="1781">
                  <c:v>15113.789999999999</c:v>
                </c:pt>
                <c:pt idx="1782">
                  <c:v>15113.789999999999</c:v>
                </c:pt>
                <c:pt idx="1783">
                  <c:v>15113.789999999999</c:v>
                </c:pt>
                <c:pt idx="1784">
                  <c:v>15113.789999999999</c:v>
                </c:pt>
                <c:pt idx="1785">
                  <c:v>15113.789999999999</c:v>
                </c:pt>
                <c:pt idx="1786">
                  <c:v>15113.789999999999</c:v>
                </c:pt>
                <c:pt idx="1787">
                  <c:v>15113.789999999999</c:v>
                </c:pt>
                <c:pt idx="1788">
                  <c:v>15113.789999999999</c:v>
                </c:pt>
                <c:pt idx="1789">
                  <c:v>15113.789999999999</c:v>
                </c:pt>
                <c:pt idx="1790">
                  <c:v>15113.789999999999</c:v>
                </c:pt>
                <c:pt idx="1791">
                  <c:v>15113.789999999999</c:v>
                </c:pt>
                <c:pt idx="1792">
                  <c:v>15113.789999999999</c:v>
                </c:pt>
                <c:pt idx="1793">
                  <c:v>15113.789999999999</c:v>
                </c:pt>
                <c:pt idx="1794">
                  <c:v>15113.789999999999</c:v>
                </c:pt>
                <c:pt idx="1795">
                  <c:v>15113.789999999999</c:v>
                </c:pt>
                <c:pt idx="1796">
                  <c:v>15113.789999999999</c:v>
                </c:pt>
                <c:pt idx="1797">
                  <c:v>15113.789999999999</c:v>
                </c:pt>
                <c:pt idx="1798">
                  <c:v>15113.789999999999</c:v>
                </c:pt>
                <c:pt idx="1799">
                  <c:v>15113.789999999999</c:v>
                </c:pt>
                <c:pt idx="1800">
                  <c:v>15113.789999999999</c:v>
                </c:pt>
                <c:pt idx="1801">
                  <c:v>15113.789999999999</c:v>
                </c:pt>
                <c:pt idx="1802">
                  <c:v>15113.789999999999</c:v>
                </c:pt>
                <c:pt idx="1803">
                  <c:v>15113.789999999999</c:v>
                </c:pt>
                <c:pt idx="1804">
                  <c:v>15113.789999999999</c:v>
                </c:pt>
                <c:pt idx="1805">
                  <c:v>15113.789999999999</c:v>
                </c:pt>
                <c:pt idx="1806">
                  <c:v>15113.789999999999</c:v>
                </c:pt>
                <c:pt idx="1807">
                  <c:v>15113.789999999999</c:v>
                </c:pt>
                <c:pt idx="1808">
                  <c:v>15113.789999999999</c:v>
                </c:pt>
                <c:pt idx="1809">
                  <c:v>15113.789999999999</c:v>
                </c:pt>
                <c:pt idx="1810">
                  <c:v>15113.789999999999</c:v>
                </c:pt>
                <c:pt idx="1811">
                  <c:v>15113.789999999999</c:v>
                </c:pt>
                <c:pt idx="1812">
                  <c:v>15113.789999999999</c:v>
                </c:pt>
                <c:pt idx="1813">
                  <c:v>15113.789999999999</c:v>
                </c:pt>
                <c:pt idx="1814">
                  <c:v>15113.789999999999</c:v>
                </c:pt>
                <c:pt idx="1815">
                  <c:v>15113.789999999999</c:v>
                </c:pt>
                <c:pt idx="1816">
                  <c:v>15113.789999999999</c:v>
                </c:pt>
                <c:pt idx="1817">
                  <c:v>15113.789999999999</c:v>
                </c:pt>
                <c:pt idx="1818">
                  <c:v>15113.789999999999</c:v>
                </c:pt>
                <c:pt idx="1819">
                  <c:v>15113.789999999999</c:v>
                </c:pt>
                <c:pt idx="1820">
                  <c:v>15113.789999999999</c:v>
                </c:pt>
                <c:pt idx="1821">
                  <c:v>15113.789999999999</c:v>
                </c:pt>
                <c:pt idx="1822">
                  <c:v>15113.789999999999</c:v>
                </c:pt>
                <c:pt idx="1823">
                  <c:v>15113.789999999999</c:v>
                </c:pt>
                <c:pt idx="1824">
                  <c:v>15113.789999999999</c:v>
                </c:pt>
                <c:pt idx="1825">
                  <c:v>15113.789999999999</c:v>
                </c:pt>
                <c:pt idx="1826">
                  <c:v>15113.789999999999</c:v>
                </c:pt>
                <c:pt idx="1827">
                  <c:v>15113.789999999999</c:v>
                </c:pt>
                <c:pt idx="1828">
                  <c:v>15113.789999999999</c:v>
                </c:pt>
                <c:pt idx="1829">
                  <c:v>15113.789999999999</c:v>
                </c:pt>
                <c:pt idx="1830">
                  <c:v>15113.789999999999</c:v>
                </c:pt>
                <c:pt idx="1831">
                  <c:v>15113.789999999999</c:v>
                </c:pt>
                <c:pt idx="1832">
                  <c:v>15113.789999999999</c:v>
                </c:pt>
                <c:pt idx="1833">
                  <c:v>15113.789999999999</c:v>
                </c:pt>
                <c:pt idx="1834">
                  <c:v>15113.789999999999</c:v>
                </c:pt>
                <c:pt idx="1835">
                  <c:v>15113.789999999999</c:v>
                </c:pt>
                <c:pt idx="1836">
                  <c:v>15113.789999999999</c:v>
                </c:pt>
                <c:pt idx="1837">
                  <c:v>15113.789999999999</c:v>
                </c:pt>
                <c:pt idx="1838">
                  <c:v>15113.789999999999</c:v>
                </c:pt>
                <c:pt idx="1839">
                  <c:v>15113.789999999999</c:v>
                </c:pt>
                <c:pt idx="1840">
                  <c:v>15113.789999999999</c:v>
                </c:pt>
                <c:pt idx="1841">
                  <c:v>15113.789999999999</c:v>
                </c:pt>
                <c:pt idx="1842">
                  <c:v>15113.789999999999</c:v>
                </c:pt>
                <c:pt idx="1843">
                  <c:v>15113.789999999999</c:v>
                </c:pt>
                <c:pt idx="1844">
                  <c:v>15113.789999999999</c:v>
                </c:pt>
                <c:pt idx="1845">
                  <c:v>15113.789999999999</c:v>
                </c:pt>
                <c:pt idx="1846">
                  <c:v>15113.789999999999</c:v>
                </c:pt>
                <c:pt idx="1847">
                  <c:v>15113.789999999999</c:v>
                </c:pt>
                <c:pt idx="1848">
                  <c:v>15113.789999999999</c:v>
                </c:pt>
                <c:pt idx="1849">
                  <c:v>15113.789999999999</c:v>
                </c:pt>
                <c:pt idx="1850">
                  <c:v>15113.789999999999</c:v>
                </c:pt>
                <c:pt idx="1851">
                  <c:v>15113.789999999999</c:v>
                </c:pt>
                <c:pt idx="1852">
                  <c:v>15113.789999999999</c:v>
                </c:pt>
                <c:pt idx="1853">
                  <c:v>15113.789999999999</c:v>
                </c:pt>
                <c:pt idx="1854">
                  <c:v>15113.789999999999</c:v>
                </c:pt>
                <c:pt idx="1855">
                  <c:v>15113.789999999999</c:v>
                </c:pt>
                <c:pt idx="1856">
                  <c:v>15113.789999999999</c:v>
                </c:pt>
                <c:pt idx="1857">
                  <c:v>15113.789999999999</c:v>
                </c:pt>
                <c:pt idx="1858">
                  <c:v>15113.789999999999</c:v>
                </c:pt>
                <c:pt idx="1859">
                  <c:v>15113.789999999999</c:v>
                </c:pt>
                <c:pt idx="1860">
                  <c:v>15113.789999999999</c:v>
                </c:pt>
                <c:pt idx="1861">
                  <c:v>15113.789999999999</c:v>
                </c:pt>
                <c:pt idx="1862">
                  <c:v>15113.789999999999</c:v>
                </c:pt>
                <c:pt idx="1863">
                  <c:v>15113.789999999999</c:v>
                </c:pt>
                <c:pt idx="1864">
                  <c:v>15113.789999999999</c:v>
                </c:pt>
                <c:pt idx="1865">
                  <c:v>15113.789999999999</c:v>
                </c:pt>
                <c:pt idx="1866">
                  <c:v>15113.789999999999</c:v>
                </c:pt>
                <c:pt idx="1867">
                  <c:v>15113.789999999999</c:v>
                </c:pt>
                <c:pt idx="1868">
                  <c:v>15113.789999999999</c:v>
                </c:pt>
                <c:pt idx="1869">
                  <c:v>15113.789999999999</c:v>
                </c:pt>
                <c:pt idx="1870">
                  <c:v>15113.789999999999</c:v>
                </c:pt>
                <c:pt idx="1871">
                  <c:v>15113.789999999999</c:v>
                </c:pt>
                <c:pt idx="1872">
                  <c:v>15113.789999999999</c:v>
                </c:pt>
                <c:pt idx="1873">
                  <c:v>15113.789999999999</c:v>
                </c:pt>
                <c:pt idx="1874">
                  <c:v>15113.789999999999</c:v>
                </c:pt>
                <c:pt idx="1875">
                  <c:v>15113.789999999999</c:v>
                </c:pt>
                <c:pt idx="1876">
                  <c:v>15113.789999999999</c:v>
                </c:pt>
                <c:pt idx="1877">
                  <c:v>15113.789999999999</c:v>
                </c:pt>
                <c:pt idx="1878">
                  <c:v>15113.789999999999</c:v>
                </c:pt>
                <c:pt idx="1879">
                  <c:v>15113.789999999999</c:v>
                </c:pt>
                <c:pt idx="1880">
                  <c:v>15113.789999999999</c:v>
                </c:pt>
                <c:pt idx="1881">
                  <c:v>15113.789999999999</c:v>
                </c:pt>
                <c:pt idx="1882">
                  <c:v>15113.789999999999</c:v>
                </c:pt>
                <c:pt idx="1883">
                  <c:v>15113.789999999999</c:v>
                </c:pt>
                <c:pt idx="1884">
                  <c:v>15113.789999999999</c:v>
                </c:pt>
                <c:pt idx="1885">
                  <c:v>15113.789999999999</c:v>
                </c:pt>
                <c:pt idx="1886">
                  <c:v>15113.789999999999</c:v>
                </c:pt>
                <c:pt idx="1887">
                  <c:v>15113.789999999999</c:v>
                </c:pt>
                <c:pt idx="1888">
                  <c:v>15113.789999999999</c:v>
                </c:pt>
                <c:pt idx="1889">
                  <c:v>15113.789999999999</c:v>
                </c:pt>
                <c:pt idx="1890">
                  <c:v>15113.789999999999</c:v>
                </c:pt>
                <c:pt idx="1891">
                  <c:v>15113.789999999999</c:v>
                </c:pt>
                <c:pt idx="1892">
                  <c:v>15113.789999999999</c:v>
                </c:pt>
                <c:pt idx="1893">
                  <c:v>15113.789999999999</c:v>
                </c:pt>
                <c:pt idx="1894">
                  <c:v>15113.789999999999</c:v>
                </c:pt>
                <c:pt idx="1895">
                  <c:v>15113.789999999999</c:v>
                </c:pt>
                <c:pt idx="1896">
                  <c:v>15113.789999999999</c:v>
                </c:pt>
                <c:pt idx="1897">
                  <c:v>15113.789999999999</c:v>
                </c:pt>
                <c:pt idx="1898">
                  <c:v>15113.789999999999</c:v>
                </c:pt>
                <c:pt idx="1899">
                  <c:v>15113.789999999999</c:v>
                </c:pt>
                <c:pt idx="1900">
                  <c:v>15113.789999999999</c:v>
                </c:pt>
                <c:pt idx="1901">
                  <c:v>15113.789999999999</c:v>
                </c:pt>
                <c:pt idx="1902">
                  <c:v>15113.789999999999</c:v>
                </c:pt>
                <c:pt idx="1903">
                  <c:v>15113.789999999999</c:v>
                </c:pt>
                <c:pt idx="1904">
                  <c:v>15113.789999999999</c:v>
                </c:pt>
                <c:pt idx="1905">
                  <c:v>15113.789999999999</c:v>
                </c:pt>
                <c:pt idx="1906">
                  <c:v>15113.789999999999</c:v>
                </c:pt>
                <c:pt idx="1907">
                  <c:v>15113.789999999999</c:v>
                </c:pt>
                <c:pt idx="1908">
                  <c:v>15113.789999999999</c:v>
                </c:pt>
                <c:pt idx="1909">
                  <c:v>15113.789999999999</c:v>
                </c:pt>
                <c:pt idx="1910">
                  <c:v>15113.789999999999</c:v>
                </c:pt>
                <c:pt idx="1911">
                  <c:v>15113.789999999999</c:v>
                </c:pt>
                <c:pt idx="1912">
                  <c:v>15113.789999999999</c:v>
                </c:pt>
                <c:pt idx="1913">
                  <c:v>15113.789999999999</c:v>
                </c:pt>
                <c:pt idx="1914">
                  <c:v>15113.789999999999</c:v>
                </c:pt>
                <c:pt idx="1915">
                  <c:v>15113.789999999999</c:v>
                </c:pt>
                <c:pt idx="1916">
                  <c:v>15113.789999999999</c:v>
                </c:pt>
                <c:pt idx="1917">
                  <c:v>15113.789999999999</c:v>
                </c:pt>
                <c:pt idx="1918">
                  <c:v>15113.789999999999</c:v>
                </c:pt>
                <c:pt idx="1919">
                  <c:v>15113.789999999999</c:v>
                </c:pt>
                <c:pt idx="1920">
                  <c:v>15113.789999999999</c:v>
                </c:pt>
                <c:pt idx="1921">
                  <c:v>15113.789999999999</c:v>
                </c:pt>
                <c:pt idx="1922">
                  <c:v>15113.789999999999</c:v>
                </c:pt>
                <c:pt idx="1923">
                  <c:v>15113.789999999999</c:v>
                </c:pt>
                <c:pt idx="1924">
                  <c:v>15113.789999999999</c:v>
                </c:pt>
                <c:pt idx="1925">
                  <c:v>15113.789999999999</c:v>
                </c:pt>
                <c:pt idx="1926">
                  <c:v>15113.789999999999</c:v>
                </c:pt>
                <c:pt idx="1927">
                  <c:v>15113.789999999999</c:v>
                </c:pt>
                <c:pt idx="1928">
                  <c:v>15113.789999999999</c:v>
                </c:pt>
                <c:pt idx="1929">
                  <c:v>15113.789999999999</c:v>
                </c:pt>
                <c:pt idx="1930">
                  <c:v>15113.789999999999</c:v>
                </c:pt>
                <c:pt idx="1931">
                  <c:v>15113.789999999999</c:v>
                </c:pt>
                <c:pt idx="1932">
                  <c:v>15113.789999999999</c:v>
                </c:pt>
                <c:pt idx="1933">
                  <c:v>15113.789999999999</c:v>
                </c:pt>
                <c:pt idx="1934">
                  <c:v>15113.789999999999</c:v>
                </c:pt>
                <c:pt idx="1935">
                  <c:v>15113.789999999999</c:v>
                </c:pt>
                <c:pt idx="1936">
                  <c:v>15113.789999999999</c:v>
                </c:pt>
                <c:pt idx="1937">
                  <c:v>15113.789999999999</c:v>
                </c:pt>
                <c:pt idx="1938">
                  <c:v>15113.789999999999</c:v>
                </c:pt>
                <c:pt idx="1939">
                  <c:v>15113.789999999999</c:v>
                </c:pt>
                <c:pt idx="1940">
                  <c:v>15113.789999999999</c:v>
                </c:pt>
                <c:pt idx="1941">
                  <c:v>15113.789999999999</c:v>
                </c:pt>
                <c:pt idx="1942">
                  <c:v>15113.789999999999</c:v>
                </c:pt>
                <c:pt idx="1943">
                  <c:v>15113.789999999999</c:v>
                </c:pt>
                <c:pt idx="1944">
                  <c:v>15113.789999999999</c:v>
                </c:pt>
                <c:pt idx="1945">
                  <c:v>15113.789999999999</c:v>
                </c:pt>
                <c:pt idx="1946">
                  <c:v>15113.789999999999</c:v>
                </c:pt>
                <c:pt idx="1947">
                  <c:v>15113.789999999999</c:v>
                </c:pt>
                <c:pt idx="1948">
                  <c:v>15113.789999999999</c:v>
                </c:pt>
                <c:pt idx="1949">
                  <c:v>15113.789999999999</c:v>
                </c:pt>
                <c:pt idx="1950">
                  <c:v>15113.789999999999</c:v>
                </c:pt>
                <c:pt idx="1951">
                  <c:v>15113.789999999999</c:v>
                </c:pt>
                <c:pt idx="1952">
                  <c:v>15113.789999999999</c:v>
                </c:pt>
                <c:pt idx="1953">
                  <c:v>15113.789999999999</c:v>
                </c:pt>
                <c:pt idx="1954">
                  <c:v>15113.789999999999</c:v>
                </c:pt>
                <c:pt idx="1955">
                  <c:v>15113.789999999999</c:v>
                </c:pt>
                <c:pt idx="1956">
                  <c:v>15113.789999999999</c:v>
                </c:pt>
                <c:pt idx="1957">
                  <c:v>15113.789999999999</c:v>
                </c:pt>
                <c:pt idx="1958">
                  <c:v>15113.789999999999</c:v>
                </c:pt>
                <c:pt idx="1959">
                  <c:v>15113.789999999999</c:v>
                </c:pt>
                <c:pt idx="1960">
                  <c:v>15113.789999999999</c:v>
                </c:pt>
                <c:pt idx="1961">
                  <c:v>15113.789999999999</c:v>
                </c:pt>
                <c:pt idx="1962">
                  <c:v>15113.789999999999</c:v>
                </c:pt>
                <c:pt idx="1963">
                  <c:v>15113.789999999999</c:v>
                </c:pt>
                <c:pt idx="1964">
                  <c:v>15113.789999999999</c:v>
                </c:pt>
                <c:pt idx="1965">
                  <c:v>15113.789999999999</c:v>
                </c:pt>
                <c:pt idx="1966">
                  <c:v>16241</c:v>
                </c:pt>
                <c:pt idx="1967">
                  <c:v>16241</c:v>
                </c:pt>
                <c:pt idx="1968">
                  <c:v>16241</c:v>
                </c:pt>
                <c:pt idx="1969">
                  <c:v>16241</c:v>
                </c:pt>
                <c:pt idx="1970">
                  <c:v>16241</c:v>
                </c:pt>
                <c:pt idx="1971">
                  <c:v>16241</c:v>
                </c:pt>
                <c:pt idx="1972">
                  <c:v>16241</c:v>
                </c:pt>
                <c:pt idx="1973">
                  <c:v>16241</c:v>
                </c:pt>
                <c:pt idx="1974">
                  <c:v>16241</c:v>
                </c:pt>
                <c:pt idx="1975">
                  <c:v>16241</c:v>
                </c:pt>
                <c:pt idx="1976">
                  <c:v>16241</c:v>
                </c:pt>
                <c:pt idx="1977">
                  <c:v>16241</c:v>
                </c:pt>
                <c:pt idx="1978">
                  <c:v>16241</c:v>
                </c:pt>
                <c:pt idx="1979">
                  <c:v>16241</c:v>
                </c:pt>
                <c:pt idx="1980">
                  <c:v>16241</c:v>
                </c:pt>
                <c:pt idx="1981">
                  <c:v>16241</c:v>
                </c:pt>
                <c:pt idx="1982">
                  <c:v>16241</c:v>
                </c:pt>
                <c:pt idx="1983">
                  <c:v>16241</c:v>
                </c:pt>
                <c:pt idx="1984">
                  <c:v>16241</c:v>
                </c:pt>
                <c:pt idx="1985">
                  <c:v>16241</c:v>
                </c:pt>
                <c:pt idx="1986">
                  <c:v>16241</c:v>
                </c:pt>
                <c:pt idx="1987">
                  <c:v>16241</c:v>
                </c:pt>
                <c:pt idx="1988">
                  <c:v>16241</c:v>
                </c:pt>
                <c:pt idx="1989">
                  <c:v>16241</c:v>
                </c:pt>
                <c:pt idx="1990">
                  <c:v>16241</c:v>
                </c:pt>
                <c:pt idx="1991">
                  <c:v>16241</c:v>
                </c:pt>
                <c:pt idx="1992">
                  <c:v>16241</c:v>
                </c:pt>
                <c:pt idx="1993">
                  <c:v>16241</c:v>
                </c:pt>
                <c:pt idx="1994">
                  <c:v>16241</c:v>
                </c:pt>
                <c:pt idx="1995">
                  <c:v>16241</c:v>
                </c:pt>
                <c:pt idx="1996">
                  <c:v>16241</c:v>
                </c:pt>
                <c:pt idx="1997">
                  <c:v>16241</c:v>
                </c:pt>
                <c:pt idx="1998">
                  <c:v>16241</c:v>
                </c:pt>
                <c:pt idx="1999">
                  <c:v>16241</c:v>
                </c:pt>
                <c:pt idx="2000">
                  <c:v>16241</c:v>
                </c:pt>
                <c:pt idx="2001">
                  <c:v>16241</c:v>
                </c:pt>
                <c:pt idx="2002">
                  <c:v>16241</c:v>
                </c:pt>
                <c:pt idx="2003">
                  <c:v>16241</c:v>
                </c:pt>
                <c:pt idx="2004">
                  <c:v>16241</c:v>
                </c:pt>
                <c:pt idx="2005">
                  <c:v>16241</c:v>
                </c:pt>
                <c:pt idx="2006">
                  <c:v>16241</c:v>
                </c:pt>
                <c:pt idx="2007">
                  <c:v>16241</c:v>
                </c:pt>
                <c:pt idx="2008">
                  <c:v>16241</c:v>
                </c:pt>
                <c:pt idx="2009">
                  <c:v>16241</c:v>
                </c:pt>
                <c:pt idx="2010">
                  <c:v>16241</c:v>
                </c:pt>
                <c:pt idx="2011">
                  <c:v>16241</c:v>
                </c:pt>
                <c:pt idx="2012">
                  <c:v>16241</c:v>
                </c:pt>
                <c:pt idx="2013">
                  <c:v>16241</c:v>
                </c:pt>
                <c:pt idx="2014">
                  <c:v>16241</c:v>
                </c:pt>
                <c:pt idx="2015">
                  <c:v>16241</c:v>
                </c:pt>
                <c:pt idx="2016">
                  <c:v>16241</c:v>
                </c:pt>
                <c:pt idx="2017">
                  <c:v>16241</c:v>
                </c:pt>
                <c:pt idx="2018">
                  <c:v>16241</c:v>
                </c:pt>
                <c:pt idx="2019">
                  <c:v>16241</c:v>
                </c:pt>
                <c:pt idx="2020">
                  <c:v>16241</c:v>
                </c:pt>
                <c:pt idx="2021">
                  <c:v>16241</c:v>
                </c:pt>
                <c:pt idx="2022">
                  <c:v>16241</c:v>
                </c:pt>
                <c:pt idx="2023">
                  <c:v>16241</c:v>
                </c:pt>
                <c:pt idx="2024">
                  <c:v>16241</c:v>
                </c:pt>
                <c:pt idx="2025">
                  <c:v>16241</c:v>
                </c:pt>
                <c:pt idx="2026">
                  <c:v>16241</c:v>
                </c:pt>
                <c:pt idx="2027">
                  <c:v>16241</c:v>
                </c:pt>
                <c:pt idx="2028">
                  <c:v>16241</c:v>
                </c:pt>
                <c:pt idx="2029">
                  <c:v>16241</c:v>
                </c:pt>
                <c:pt idx="2030">
                  <c:v>16241</c:v>
                </c:pt>
                <c:pt idx="2031">
                  <c:v>16241</c:v>
                </c:pt>
                <c:pt idx="2032">
                  <c:v>16241</c:v>
                </c:pt>
                <c:pt idx="2033">
                  <c:v>16241</c:v>
                </c:pt>
                <c:pt idx="2034">
                  <c:v>16241</c:v>
                </c:pt>
                <c:pt idx="2035">
                  <c:v>16241</c:v>
                </c:pt>
                <c:pt idx="2036">
                  <c:v>16241</c:v>
                </c:pt>
                <c:pt idx="2037">
                  <c:v>16241</c:v>
                </c:pt>
                <c:pt idx="2038">
                  <c:v>16241</c:v>
                </c:pt>
                <c:pt idx="2039">
                  <c:v>16241</c:v>
                </c:pt>
                <c:pt idx="2040">
                  <c:v>16241</c:v>
                </c:pt>
                <c:pt idx="2041">
                  <c:v>16241</c:v>
                </c:pt>
                <c:pt idx="2042">
                  <c:v>16241</c:v>
                </c:pt>
                <c:pt idx="2043">
                  <c:v>16241</c:v>
                </c:pt>
                <c:pt idx="2044">
                  <c:v>16241</c:v>
                </c:pt>
                <c:pt idx="2045">
                  <c:v>16241</c:v>
                </c:pt>
                <c:pt idx="2046">
                  <c:v>16241</c:v>
                </c:pt>
                <c:pt idx="2047">
                  <c:v>16241</c:v>
                </c:pt>
                <c:pt idx="2048">
                  <c:v>16241</c:v>
                </c:pt>
                <c:pt idx="2049">
                  <c:v>16241</c:v>
                </c:pt>
                <c:pt idx="2050">
                  <c:v>16241</c:v>
                </c:pt>
                <c:pt idx="2051">
                  <c:v>16241</c:v>
                </c:pt>
                <c:pt idx="2052">
                  <c:v>16241</c:v>
                </c:pt>
                <c:pt idx="2053">
                  <c:v>16241</c:v>
                </c:pt>
                <c:pt idx="2054">
                  <c:v>16241</c:v>
                </c:pt>
                <c:pt idx="2055">
                  <c:v>16241</c:v>
                </c:pt>
                <c:pt idx="2056">
                  <c:v>16241</c:v>
                </c:pt>
                <c:pt idx="2057">
                  <c:v>16241</c:v>
                </c:pt>
                <c:pt idx="2058">
                  <c:v>16241</c:v>
                </c:pt>
                <c:pt idx="2059">
                  <c:v>16241</c:v>
                </c:pt>
                <c:pt idx="2060">
                  <c:v>16241</c:v>
                </c:pt>
                <c:pt idx="2061">
                  <c:v>16241</c:v>
                </c:pt>
                <c:pt idx="2062">
                  <c:v>16241</c:v>
                </c:pt>
                <c:pt idx="2063">
                  <c:v>16241</c:v>
                </c:pt>
                <c:pt idx="2064">
                  <c:v>16241</c:v>
                </c:pt>
                <c:pt idx="2065">
                  <c:v>16241</c:v>
                </c:pt>
                <c:pt idx="2066">
                  <c:v>16241</c:v>
                </c:pt>
                <c:pt idx="2067">
                  <c:v>16241</c:v>
                </c:pt>
                <c:pt idx="2068">
                  <c:v>16241</c:v>
                </c:pt>
                <c:pt idx="2069">
                  <c:v>16241</c:v>
                </c:pt>
                <c:pt idx="2070">
                  <c:v>16241</c:v>
                </c:pt>
                <c:pt idx="2071">
                  <c:v>16241</c:v>
                </c:pt>
                <c:pt idx="2072">
                  <c:v>16241</c:v>
                </c:pt>
                <c:pt idx="2073">
                  <c:v>16241</c:v>
                </c:pt>
                <c:pt idx="2074">
                  <c:v>16241</c:v>
                </c:pt>
                <c:pt idx="2075">
                  <c:v>16241</c:v>
                </c:pt>
                <c:pt idx="2076">
                  <c:v>16241</c:v>
                </c:pt>
                <c:pt idx="2077">
                  <c:v>16241</c:v>
                </c:pt>
                <c:pt idx="2078">
                  <c:v>16241</c:v>
                </c:pt>
                <c:pt idx="2079">
                  <c:v>16241</c:v>
                </c:pt>
                <c:pt idx="2080">
                  <c:v>16241</c:v>
                </c:pt>
                <c:pt idx="2081">
                  <c:v>16241</c:v>
                </c:pt>
                <c:pt idx="2082">
                  <c:v>16241</c:v>
                </c:pt>
                <c:pt idx="2083">
                  <c:v>16241</c:v>
                </c:pt>
                <c:pt idx="2084">
                  <c:v>16241</c:v>
                </c:pt>
                <c:pt idx="2085">
                  <c:v>16241</c:v>
                </c:pt>
                <c:pt idx="2086">
                  <c:v>16241</c:v>
                </c:pt>
                <c:pt idx="2087">
                  <c:v>16241</c:v>
                </c:pt>
                <c:pt idx="2088">
                  <c:v>16241</c:v>
                </c:pt>
                <c:pt idx="2089">
                  <c:v>16241</c:v>
                </c:pt>
                <c:pt idx="2090">
                  <c:v>16241</c:v>
                </c:pt>
                <c:pt idx="2091">
                  <c:v>16241</c:v>
                </c:pt>
                <c:pt idx="2092">
                  <c:v>16241</c:v>
                </c:pt>
                <c:pt idx="2093">
                  <c:v>16241</c:v>
                </c:pt>
                <c:pt idx="2094">
                  <c:v>16241</c:v>
                </c:pt>
                <c:pt idx="2095">
                  <c:v>16241</c:v>
                </c:pt>
                <c:pt idx="2096">
                  <c:v>16241</c:v>
                </c:pt>
                <c:pt idx="2097">
                  <c:v>16241</c:v>
                </c:pt>
                <c:pt idx="2098">
                  <c:v>16241</c:v>
                </c:pt>
                <c:pt idx="2099">
                  <c:v>16241</c:v>
                </c:pt>
                <c:pt idx="2100">
                  <c:v>16241</c:v>
                </c:pt>
                <c:pt idx="2101">
                  <c:v>16241</c:v>
                </c:pt>
                <c:pt idx="2102">
                  <c:v>16241</c:v>
                </c:pt>
                <c:pt idx="2103">
                  <c:v>16241</c:v>
                </c:pt>
                <c:pt idx="2104">
                  <c:v>16241</c:v>
                </c:pt>
                <c:pt idx="2105">
                  <c:v>16241</c:v>
                </c:pt>
                <c:pt idx="2106">
                  <c:v>16241</c:v>
                </c:pt>
                <c:pt idx="2107">
                  <c:v>16241</c:v>
                </c:pt>
                <c:pt idx="2108">
                  <c:v>16241</c:v>
                </c:pt>
                <c:pt idx="2109">
                  <c:v>16241</c:v>
                </c:pt>
                <c:pt idx="2110">
                  <c:v>16241</c:v>
                </c:pt>
                <c:pt idx="2111">
                  <c:v>16241</c:v>
                </c:pt>
                <c:pt idx="2112">
                  <c:v>16241</c:v>
                </c:pt>
                <c:pt idx="2113">
                  <c:v>16241</c:v>
                </c:pt>
                <c:pt idx="2114">
                  <c:v>16241</c:v>
                </c:pt>
                <c:pt idx="2115">
                  <c:v>16241</c:v>
                </c:pt>
                <c:pt idx="2116">
                  <c:v>16241</c:v>
                </c:pt>
                <c:pt idx="2117">
                  <c:v>16241</c:v>
                </c:pt>
                <c:pt idx="2118">
                  <c:v>16241</c:v>
                </c:pt>
                <c:pt idx="2119">
                  <c:v>16241</c:v>
                </c:pt>
                <c:pt idx="2120">
                  <c:v>16241</c:v>
                </c:pt>
                <c:pt idx="2121">
                  <c:v>16241</c:v>
                </c:pt>
                <c:pt idx="2122">
                  <c:v>16241</c:v>
                </c:pt>
                <c:pt idx="2123">
                  <c:v>16241</c:v>
                </c:pt>
                <c:pt idx="2124">
                  <c:v>16241</c:v>
                </c:pt>
                <c:pt idx="2125">
                  <c:v>16241</c:v>
                </c:pt>
                <c:pt idx="2126">
                  <c:v>16241</c:v>
                </c:pt>
                <c:pt idx="2127">
                  <c:v>16241</c:v>
                </c:pt>
                <c:pt idx="2128">
                  <c:v>16241</c:v>
                </c:pt>
                <c:pt idx="2129">
                  <c:v>16241</c:v>
                </c:pt>
                <c:pt idx="2130">
                  <c:v>16241</c:v>
                </c:pt>
                <c:pt idx="2131">
                  <c:v>16241</c:v>
                </c:pt>
                <c:pt idx="2132">
                  <c:v>16241</c:v>
                </c:pt>
                <c:pt idx="2133">
                  <c:v>16241</c:v>
                </c:pt>
                <c:pt idx="2134">
                  <c:v>16241</c:v>
                </c:pt>
                <c:pt idx="2135">
                  <c:v>16241</c:v>
                </c:pt>
                <c:pt idx="2136">
                  <c:v>16241</c:v>
                </c:pt>
                <c:pt idx="2137">
                  <c:v>16241</c:v>
                </c:pt>
                <c:pt idx="2138">
                  <c:v>16241</c:v>
                </c:pt>
                <c:pt idx="2139">
                  <c:v>16241</c:v>
                </c:pt>
                <c:pt idx="2140">
                  <c:v>16241</c:v>
                </c:pt>
                <c:pt idx="2141">
                  <c:v>16241</c:v>
                </c:pt>
                <c:pt idx="2142">
                  <c:v>16241</c:v>
                </c:pt>
                <c:pt idx="2143">
                  <c:v>16241</c:v>
                </c:pt>
                <c:pt idx="2144">
                  <c:v>16241</c:v>
                </c:pt>
                <c:pt idx="2145">
                  <c:v>16241</c:v>
                </c:pt>
                <c:pt idx="2146">
                  <c:v>16241</c:v>
                </c:pt>
                <c:pt idx="2147">
                  <c:v>16241</c:v>
                </c:pt>
                <c:pt idx="2148">
                  <c:v>16241</c:v>
                </c:pt>
                <c:pt idx="2149">
                  <c:v>16241</c:v>
                </c:pt>
                <c:pt idx="2150">
                  <c:v>16241</c:v>
                </c:pt>
                <c:pt idx="2151">
                  <c:v>16241</c:v>
                </c:pt>
                <c:pt idx="2152">
                  <c:v>16241</c:v>
                </c:pt>
                <c:pt idx="2153">
                  <c:v>16241</c:v>
                </c:pt>
                <c:pt idx="2154">
                  <c:v>16241</c:v>
                </c:pt>
                <c:pt idx="2155">
                  <c:v>16241</c:v>
                </c:pt>
                <c:pt idx="2156">
                  <c:v>16241</c:v>
                </c:pt>
                <c:pt idx="2157">
                  <c:v>16241</c:v>
                </c:pt>
                <c:pt idx="2158">
                  <c:v>16241</c:v>
                </c:pt>
                <c:pt idx="2159">
                  <c:v>16241</c:v>
                </c:pt>
                <c:pt idx="2160">
                  <c:v>16241</c:v>
                </c:pt>
                <c:pt idx="2161">
                  <c:v>16241</c:v>
                </c:pt>
                <c:pt idx="2162">
                  <c:v>16241</c:v>
                </c:pt>
                <c:pt idx="2163">
                  <c:v>16241</c:v>
                </c:pt>
                <c:pt idx="2164">
                  <c:v>16241</c:v>
                </c:pt>
                <c:pt idx="2165">
                  <c:v>16241</c:v>
                </c:pt>
                <c:pt idx="2166">
                  <c:v>16241</c:v>
                </c:pt>
                <c:pt idx="2167">
                  <c:v>16241</c:v>
                </c:pt>
                <c:pt idx="2168">
                  <c:v>16241</c:v>
                </c:pt>
                <c:pt idx="2169">
                  <c:v>16241</c:v>
                </c:pt>
                <c:pt idx="2170">
                  <c:v>16241</c:v>
                </c:pt>
                <c:pt idx="2171">
                  <c:v>16241</c:v>
                </c:pt>
                <c:pt idx="2172">
                  <c:v>16241</c:v>
                </c:pt>
                <c:pt idx="2173">
                  <c:v>16241</c:v>
                </c:pt>
                <c:pt idx="2174">
                  <c:v>16241</c:v>
                </c:pt>
                <c:pt idx="2175">
                  <c:v>16241</c:v>
                </c:pt>
                <c:pt idx="2176">
                  <c:v>16241</c:v>
                </c:pt>
                <c:pt idx="2177">
                  <c:v>16241</c:v>
                </c:pt>
                <c:pt idx="2178">
                  <c:v>16241</c:v>
                </c:pt>
                <c:pt idx="2179">
                  <c:v>16241</c:v>
                </c:pt>
                <c:pt idx="2180">
                  <c:v>16241</c:v>
                </c:pt>
                <c:pt idx="2181">
                  <c:v>16241</c:v>
                </c:pt>
                <c:pt idx="2182">
                  <c:v>16241</c:v>
                </c:pt>
                <c:pt idx="2183">
                  <c:v>16241</c:v>
                </c:pt>
                <c:pt idx="2184">
                  <c:v>16241</c:v>
                </c:pt>
                <c:pt idx="2185">
                  <c:v>16241</c:v>
                </c:pt>
                <c:pt idx="2186">
                  <c:v>16241</c:v>
                </c:pt>
                <c:pt idx="2187">
                  <c:v>16241</c:v>
                </c:pt>
                <c:pt idx="2188">
                  <c:v>16241</c:v>
                </c:pt>
                <c:pt idx="2189">
                  <c:v>16241</c:v>
                </c:pt>
                <c:pt idx="2190">
                  <c:v>16241</c:v>
                </c:pt>
                <c:pt idx="2191">
                  <c:v>16241</c:v>
                </c:pt>
                <c:pt idx="2192">
                  <c:v>16241</c:v>
                </c:pt>
                <c:pt idx="2193">
                  <c:v>16241</c:v>
                </c:pt>
                <c:pt idx="2194">
                  <c:v>16241</c:v>
                </c:pt>
                <c:pt idx="2195">
                  <c:v>16241</c:v>
                </c:pt>
                <c:pt idx="2196">
                  <c:v>16241</c:v>
                </c:pt>
                <c:pt idx="2197">
                  <c:v>16241</c:v>
                </c:pt>
                <c:pt idx="2198">
                  <c:v>16241</c:v>
                </c:pt>
                <c:pt idx="2199">
                  <c:v>16241</c:v>
                </c:pt>
                <c:pt idx="2200">
                  <c:v>16241</c:v>
                </c:pt>
                <c:pt idx="2201">
                  <c:v>16241</c:v>
                </c:pt>
                <c:pt idx="2202">
                  <c:v>16241</c:v>
                </c:pt>
                <c:pt idx="2203">
                  <c:v>16241</c:v>
                </c:pt>
                <c:pt idx="2204">
                  <c:v>16241</c:v>
                </c:pt>
                <c:pt idx="2205">
                  <c:v>16241</c:v>
                </c:pt>
                <c:pt idx="2206">
                  <c:v>16241</c:v>
                </c:pt>
                <c:pt idx="2207">
                  <c:v>16241</c:v>
                </c:pt>
                <c:pt idx="2208">
                  <c:v>16241</c:v>
                </c:pt>
                <c:pt idx="2209">
                  <c:v>16241</c:v>
                </c:pt>
                <c:pt idx="2210">
                  <c:v>18186.77</c:v>
                </c:pt>
                <c:pt idx="2211">
                  <c:v>18186.77</c:v>
                </c:pt>
                <c:pt idx="2212">
                  <c:v>18186.77</c:v>
                </c:pt>
                <c:pt idx="2213">
                  <c:v>18186.77</c:v>
                </c:pt>
                <c:pt idx="2214">
                  <c:v>18186.77</c:v>
                </c:pt>
                <c:pt idx="2215">
                  <c:v>18186.77</c:v>
                </c:pt>
                <c:pt idx="2216">
                  <c:v>18186.77</c:v>
                </c:pt>
                <c:pt idx="2217">
                  <c:v>18186.77</c:v>
                </c:pt>
                <c:pt idx="2218">
                  <c:v>18186.77</c:v>
                </c:pt>
                <c:pt idx="2219">
                  <c:v>18186.77</c:v>
                </c:pt>
                <c:pt idx="2220">
                  <c:v>18186.77</c:v>
                </c:pt>
                <c:pt idx="2221">
                  <c:v>18186.77</c:v>
                </c:pt>
                <c:pt idx="2222">
                  <c:v>18186.77</c:v>
                </c:pt>
                <c:pt idx="2223">
                  <c:v>18186.77</c:v>
                </c:pt>
                <c:pt idx="2224">
                  <c:v>18186.77</c:v>
                </c:pt>
                <c:pt idx="2225">
                  <c:v>18186.77</c:v>
                </c:pt>
                <c:pt idx="2226">
                  <c:v>18186.77</c:v>
                </c:pt>
                <c:pt idx="2227">
                  <c:v>18186.77</c:v>
                </c:pt>
                <c:pt idx="2228">
                  <c:v>18186.77</c:v>
                </c:pt>
                <c:pt idx="2229">
                  <c:v>18186.77</c:v>
                </c:pt>
                <c:pt idx="2230">
                  <c:v>18186.77</c:v>
                </c:pt>
                <c:pt idx="2231">
                  <c:v>18186.77</c:v>
                </c:pt>
                <c:pt idx="2232">
                  <c:v>18186.77</c:v>
                </c:pt>
                <c:pt idx="2233">
                  <c:v>18186.77</c:v>
                </c:pt>
                <c:pt idx="2234">
                  <c:v>18186.77</c:v>
                </c:pt>
                <c:pt idx="2235">
                  <c:v>18186.77</c:v>
                </c:pt>
                <c:pt idx="2236">
                  <c:v>18186.77</c:v>
                </c:pt>
                <c:pt idx="2237">
                  <c:v>18186.77</c:v>
                </c:pt>
                <c:pt idx="2238">
                  <c:v>18186.77</c:v>
                </c:pt>
                <c:pt idx="2239">
                  <c:v>18186.77</c:v>
                </c:pt>
                <c:pt idx="2240">
                  <c:v>18186.77</c:v>
                </c:pt>
                <c:pt idx="2241">
                  <c:v>18186.77</c:v>
                </c:pt>
                <c:pt idx="2242">
                  <c:v>18186.77</c:v>
                </c:pt>
                <c:pt idx="2243">
                  <c:v>18186.77</c:v>
                </c:pt>
                <c:pt idx="2244">
                  <c:v>18186.77</c:v>
                </c:pt>
                <c:pt idx="2245">
                  <c:v>18186.77</c:v>
                </c:pt>
                <c:pt idx="2246">
                  <c:v>18186.77</c:v>
                </c:pt>
                <c:pt idx="2247">
                  <c:v>18186.77</c:v>
                </c:pt>
                <c:pt idx="2248">
                  <c:v>18186.77</c:v>
                </c:pt>
                <c:pt idx="2249">
                  <c:v>18186.77</c:v>
                </c:pt>
                <c:pt idx="2250">
                  <c:v>18186.77</c:v>
                </c:pt>
                <c:pt idx="2251">
                  <c:v>18186.77</c:v>
                </c:pt>
                <c:pt idx="2252">
                  <c:v>18186.77</c:v>
                </c:pt>
                <c:pt idx="2253">
                  <c:v>18186.77</c:v>
                </c:pt>
                <c:pt idx="2254">
                  <c:v>18186.77</c:v>
                </c:pt>
                <c:pt idx="2255">
                  <c:v>18186.77</c:v>
                </c:pt>
                <c:pt idx="2256">
                  <c:v>18186.77</c:v>
                </c:pt>
                <c:pt idx="2257">
                  <c:v>18186.77</c:v>
                </c:pt>
                <c:pt idx="2258">
                  <c:v>18186.77</c:v>
                </c:pt>
                <c:pt idx="2259">
                  <c:v>18186.77</c:v>
                </c:pt>
                <c:pt idx="2260">
                  <c:v>18186.77</c:v>
                </c:pt>
                <c:pt idx="2261">
                  <c:v>18186.77</c:v>
                </c:pt>
                <c:pt idx="2262">
                  <c:v>18186.77</c:v>
                </c:pt>
                <c:pt idx="2263">
                  <c:v>18186.77</c:v>
                </c:pt>
                <c:pt idx="2264">
                  <c:v>18186.77</c:v>
                </c:pt>
                <c:pt idx="2265">
                  <c:v>18186.77</c:v>
                </c:pt>
                <c:pt idx="2266">
                  <c:v>18186.77</c:v>
                </c:pt>
                <c:pt idx="2267">
                  <c:v>18186.77</c:v>
                </c:pt>
                <c:pt idx="2268">
                  <c:v>18186.77</c:v>
                </c:pt>
                <c:pt idx="2269">
                  <c:v>18186.77</c:v>
                </c:pt>
                <c:pt idx="2270">
                  <c:v>18186.77</c:v>
                </c:pt>
                <c:pt idx="2271">
                  <c:v>18186.77</c:v>
                </c:pt>
                <c:pt idx="2272">
                  <c:v>18186.77</c:v>
                </c:pt>
                <c:pt idx="2273">
                  <c:v>18186.77</c:v>
                </c:pt>
                <c:pt idx="2274">
                  <c:v>18186.77</c:v>
                </c:pt>
                <c:pt idx="2275">
                  <c:v>18186.77</c:v>
                </c:pt>
                <c:pt idx="2276">
                  <c:v>18186.77</c:v>
                </c:pt>
                <c:pt idx="2277">
                  <c:v>18186.77</c:v>
                </c:pt>
                <c:pt idx="2278">
                  <c:v>18186.77</c:v>
                </c:pt>
                <c:pt idx="2279">
                  <c:v>18186.77</c:v>
                </c:pt>
                <c:pt idx="2280">
                  <c:v>18186.77</c:v>
                </c:pt>
                <c:pt idx="2281">
                  <c:v>18186.77</c:v>
                </c:pt>
                <c:pt idx="2282">
                  <c:v>18186.77</c:v>
                </c:pt>
                <c:pt idx="2283">
                  <c:v>18186.77</c:v>
                </c:pt>
                <c:pt idx="2284">
                  <c:v>18186.77</c:v>
                </c:pt>
                <c:pt idx="2285">
                  <c:v>18186.77</c:v>
                </c:pt>
                <c:pt idx="2286">
                  <c:v>18186.77</c:v>
                </c:pt>
                <c:pt idx="2287">
                  <c:v>18186.77</c:v>
                </c:pt>
                <c:pt idx="2288">
                  <c:v>18186.77</c:v>
                </c:pt>
                <c:pt idx="2289">
                  <c:v>18186.77</c:v>
                </c:pt>
                <c:pt idx="2290">
                  <c:v>18186.77</c:v>
                </c:pt>
                <c:pt idx="2291">
                  <c:v>18186.77</c:v>
                </c:pt>
                <c:pt idx="2292">
                  <c:v>18186.77</c:v>
                </c:pt>
                <c:pt idx="2293">
                  <c:v>18186.77</c:v>
                </c:pt>
                <c:pt idx="2294">
                  <c:v>18186.77</c:v>
                </c:pt>
                <c:pt idx="2295">
                  <c:v>18186.77</c:v>
                </c:pt>
                <c:pt idx="2296">
                  <c:v>18186.77</c:v>
                </c:pt>
                <c:pt idx="2297">
                  <c:v>18186.77</c:v>
                </c:pt>
                <c:pt idx="2298">
                  <c:v>18186.77</c:v>
                </c:pt>
                <c:pt idx="2299">
                  <c:v>18186.77</c:v>
                </c:pt>
                <c:pt idx="2300">
                  <c:v>18186.77</c:v>
                </c:pt>
                <c:pt idx="2301">
                  <c:v>18186.77</c:v>
                </c:pt>
                <c:pt idx="2302">
                  <c:v>18186.77</c:v>
                </c:pt>
                <c:pt idx="2303">
                  <c:v>18186.77</c:v>
                </c:pt>
                <c:pt idx="2304">
                  <c:v>18186.77</c:v>
                </c:pt>
                <c:pt idx="2305">
                  <c:v>18186.77</c:v>
                </c:pt>
                <c:pt idx="2306">
                  <c:v>18186.77</c:v>
                </c:pt>
                <c:pt idx="2307">
                  <c:v>18186.77</c:v>
                </c:pt>
                <c:pt idx="2308">
                  <c:v>18186.77</c:v>
                </c:pt>
                <c:pt idx="2309">
                  <c:v>18186.77</c:v>
                </c:pt>
                <c:pt idx="2310">
                  <c:v>18186.77</c:v>
                </c:pt>
                <c:pt idx="2311">
                  <c:v>18186.77</c:v>
                </c:pt>
                <c:pt idx="2312">
                  <c:v>18186.77</c:v>
                </c:pt>
                <c:pt idx="2313">
                  <c:v>18186.77</c:v>
                </c:pt>
                <c:pt idx="2314">
                  <c:v>18186.77</c:v>
                </c:pt>
                <c:pt idx="2315">
                  <c:v>18186.77</c:v>
                </c:pt>
                <c:pt idx="2316">
                  <c:v>18186.77</c:v>
                </c:pt>
                <c:pt idx="2317">
                  <c:v>18186.77</c:v>
                </c:pt>
                <c:pt idx="2318">
                  <c:v>18186.77</c:v>
                </c:pt>
                <c:pt idx="2319">
                  <c:v>18186.77</c:v>
                </c:pt>
                <c:pt idx="2320">
                  <c:v>18186.77</c:v>
                </c:pt>
                <c:pt idx="2321">
                  <c:v>18186.77</c:v>
                </c:pt>
                <c:pt idx="2322">
                  <c:v>18186.77</c:v>
                </c:pt>
                <c:pt idx="2323">
                  <c:v>18186.77</c:v>
                </c:pt>
                <c:pt idx="2324">
                  <c:v>18186.77</c:v>
                </c:pt>
                <c:pt idx="2325">
                  <c:v>18186.77</c:v>
                </c:pt>
                <c:pt idx="2326">
                  <c:v>18186.77</c:v>
                </c:pt>
                <c:pt idx="2327">
                  <c:v>18186.77</c:v>
                </c:pt>
                <c:pt idx="2328">
                  <c:v>18186.77</c:v>
                </c:pt>
                <c:pt idx="2329">
                  <c:v>18186.77</c:v>
                </c:pt>
                <c:pt idx="2330">
                  <c:v>18186.77</c:v>
                </c:pt>
                <c:pt idx="2331">
                  <c:v>18186.77</c:v>
                </c:pt>
                <c:pt idx="2332">
                  <c:v>18186.77</c:v>
                </c:pt>
                <c:pt idx="2333">
                  <c:v>18186.77</c:v>
                </c:pt>
                <c:pt idx="2334">
                  <c:v>18186.77</c:v>
                </c:pt>
                <c:pt idx="2335">
                  <c:v>18186.77</c:v>
                </c:pt>
                <c:pt idx="2336">
                  <c:v>18186.77</c:v>
                </c:pt>
                <c:pt idx="2337">
                  <c:v>18186.77</c:v>
                </c:pt>
                <c:pt idx="2338">
                  <c:v>18186.77</c:v>
                </c:pt>
                <c:pt idx="2339">
                  <c:v>18186.77</c:v>
                </c:pt>
                <c:pt idx="2340">
                  <c:v>18186.77</c:v>
                </c:pt>
                <c:pt idx="2341">
                  <c:v>18186.77</c:v>
                </c:pt>
                <c:pt idx="2342">
                  <c:v>18186.77</c:v>
                </c:pt>
                <c:pt idx="2343">
                  <c:v>18186.77</c:v>
                </c:pt>
                <c:pt idx="2344">
                  <c:v>18186.77</c:v>
                </c:pt>
                <c:pt idx="2345">
                  <c:v>18186.77</c:v>
                </c:pt>
                <c:pt idx="2346">
                  <c:v>18186.77</c:v>
                </c:pt>
                <c:pt idx="2347">
                  <c:v>18186.77</c:v>
                </c:pt>
                <c:pt idx="2348">
                  <c:v>18186.77</c:v>
                </c:pt>
                <c:pt idx="2349">
                  <c:v>18186.77</c:v>
                </c:pt>
                <c:pt idx="2350">
                  <c:v>18186.77</c:v>
                </c:pt>
                <c:pt idx="2351">
                  <c:v>18186.77</c:v>
                </c:pt>
                <c:pt idx="2352">
                  <c:v>18186.77</c:v>
                </c:pt>
                <c:pt idx="2353">
                  <c:v>18186.77</c:v>
                </c:pt>
                <c:pt idx="2354">
                  <c:v>18186.77</c:v>
                </c:pt>
                <c:pt idx="2355">
                  <c:v>18186.77</c:v>
                </c:pt>
                <c:pt idx="2356">
                  <c:v>18186.77</c:v>
                </c:pt>
                <c:pt idx="2357">
                  <c:v>18186.77</c:v>
                </c:pt>
                <c:pt idx="2358">
                  <c:v>18186.77</c:v>
                </c:pt>
                <c:pt idx="2359">
                  <c:v>18186.77</c:v>
                </c:pt>
                <c:pt idx="2360">
                  <c:v>18186.77</c:v>
                </c:pt>
                <c:pt idx="2361">
                  <c:v>18186.77</c:v>
                </c:pt>
                <c:pt idx="2362">
                  <c:v>18186.77</c:v>
                </c:pt>
                <c:pt idx="2363">
                  <c:v>18186.77</c:v>
                </c:pt>
                <c:pt idx="2364">
                  <c:v>18186.77</c:v>
                </c:pt>
                <c:pt idx="2365">
                  <c:v>18186.77</c:v>
                </c:pt>
                <c:pt idx="2366">
                  <c:v>18186.77</c:v>
                </c:pt>
                <c:pt idx="2367">
                  <c:v>18186.77</c:v>
                </c:pt>
                <c:pt idx="2368">
                  <c:v>18186.77</c:v>
                </c:pt>
                <c:pt idx="2369">
                  <c:v>18186.77</c:v>
                </c:pt>
                <c:pt idx="2370">
                  <c:v>18186.77</c:v>
                </c:pt>
                <c:pt idx="2371">
                  <c:v>18186.77</c:v>
                </c:pt>
                <c:pt idx="2372">
                  <c:v>18186.77</c:v>
                </c:pt>
                <c:pt idx="2373">
                  <c:v>18186.77</c:v>
                </c:pt>
                <c:pt idx="2374">
                  <c:v>18186.77</c:v>
                </c:pt>
                <c:pt idx="2375">
                  <c:v>18186.77</c:v>
                </c:pt>
                <c:pt idx="2376">
                  <c:v>18186.77</c:v>
                </c:pt>
                <c:pt idx="2377">
                  <c:v>18186.77</c:v>
                </c:pt>
                <c:pt idx="2378">
                  <c:v>18186.77</c:v>
                </c:pt>
                <c:pt idx="2379">
                  <c:v>18186.77</c:v>
                </c:pt>
                <c:pt idx="2380">
                  <c:v>18186.77</c:v>
                </c:pt>
                <c:pt idx="2381">
                  <c:v>18186.77</c:v>
                </c:pt>
                <c:pt idx="2382">
                  <c:v>18186.77</c:v>
                </c:pt>
                <c:pt idx="2383">
                  <c:v>18186.77</c:v>
                </c:pt>
                <c:pt idx="2384">
                  <c:v>18186.77</c:v>
                </c:pt>
                <c:pt idx="2385">
                  <c:v>18186.77</c:v>
                </c:pt>
                <c:pt idx="2386">
                  <c:v>18186.77</c:v>
                </c:pt>
                <c:pt idx="2387">
                  <c:v>18186.77</c:v>
                </c:pt>
                <c:pt idx="2388">
                  <c:v>18186.77</c:v>
                </c:pt>
                <c:pt idx="2389">
                  <c:v>18186.77</c:v>
                </c:pt>
                <c:pt idx="2390">
                  <c:v>18186.77</c:v>
                </c:pt>
                <c:pt idx="2391">
                  <c:v>18186.77</c:v>
                </c:pt>
                <c:pt idx="2392">
                  <c:v>18186.77</c:v>
                </c:pt>
                <c:pt idx="2393">
                  <c:v>18186.77</c:v>
                </c:pt>
                <c:pt idx="2394">
                  <c:v>18186.77</c:v>
                </c:pt>
                <c:pt idx="2395">
                  <c:v>18186.77</c:v>
                </c:pt>
                <c:pt idx="2396">
                  <c:v>18186.77</c:v>
                </c:pt>
                <c:pt idx="2397">
                  <c:v>18186.77</c:v>
                </c:pt>
                <c:pt idx="2398">
                  <c:v>18186.77</c:v>
                </c:pt>
                <c:pt idx="2399">
                  <c:v>18186.77</c:v>
                </c:pt>
                <c:pt idx="2400">
                  <c:v>18186.77</c:v>
                </c:pt>
                <c:pt idx="2401">
                  <c:v>18186.77</c:v>
                </c:pt>
                <c:pt idx="2402">
                  <c:v>18186.77</c:v>
                </c:pt>
                <c:pt idx="2403">
                  <c:v>18186.77</c:v>
                </c:pt>
                <c:pt idx="2404">
                  <c:v>18186.77</c:v>
                </c:pt>
                <c:pt idx="2405">
                  <c:v>18186.77</c:v>
                </c:pt>
                <c:pt idx="2406">
                  <c:v>18186.77</c:v>
                </c:pt>
                <c:pt idx="2407">
                  <c:v>18186.77</c:v>
                </c:pt>
                <c:pt idx="2408">
                  <c:v>18186.77</c:v>
                </c:pt>
                <c:pt idx="2409">
                  <c:v>18186.77</c:v>
                </c:pt>
                <c:pt idx="2410">
                  <c:v>18186.77</c:v>
                </c:pt>
                <c:pt idx="2411">
                  <c:v>18186.77</c:v>
                </c:pt>
                <c:pt idx="2412">
                  <c:v>18186.77</c:v>
                </c:pt>
                <c:pt idx="2413">
                  <c:v>18186.77</c:v>
                </c:pt>
                <c:pt idx="2414">
                  <c:v>18186.77</c:v>
                </c:pt>
                <c:pt idx="2415">
                  <c:v>18186.77</c:v>
                </c:pt>
                <c:pt idx="2416">
                  <c:v>18186.77</c:v>
                </c:pt>
                <c:pt idx="2417">
                  <c:v>18186.77</c:v>
                </c:pt>
                <c:pt idx="2418">
                  <c:v>18186.77</c:v>
                </c:pt>
                <c:pt idx="2419">
                  <c:v>18186.77</c:v>
                </c:pt>
                <c:pt idx="2420">
                  <c:v>18186.77</c:v>
                </c:pt>
                <c:pt idx="2421">
                  <c:v>18186.77</c:v>
                </c:pt>
                <c:pt idx="2422">
                  <c:v>18186.77</c:v>
                </c:pt>
                <c:pt idx="2423">
                  <c:v>18186.77</c:v>
                </c:pt>
                <c:pt idx="2424">
                  <c:v>18186.77</c:v>
                </c:pt>
                <c:pt idx="2425">
                  <c:v>18186.77</c:v>
                </c:pt>
                <c:pt idx="2426">
                  <c:v>18186.77</c:v>
                </c:pt>
                <c:pt idx="2427">
                  <c:v>18186.77</c:v>
                </c:pt>
                <c:pt idx="2428">
                  <c:v>18186.77</c:v>
                </c:pt>
                <c:pt idx="2429">
                  <c:v>18186.77</c:v>
                </c:pt>
                <c:pt idx="2430">
                  <c:v>18186.77</c:v>
                </c:pt>
                <c:pt idx="2431">
                  <c:v>18186.77</c:v>
                </c:pt>
                <c:pt idx="2432">
                  <c:v>18186.77</c:v>
                </c:pt>
                <c:pt idx="2433">
                  <c:v>18186.77</c:v>
                </c:pt>
                <c:pt idx="2434">
                  <c:v>18186.77</c:v>
                </c:pt>
                <c:pt idx="2435">
                  <c:v>18186.77</c:v>
                </c:pt>
                <c:pt idx="2436">
                  <c:v>18186.77</c:v>
                </c:pt>
                <c:pt idx="2437">
                  <c:v>18186.77</c:v>
                </c:pt>
                <c:pt idx="2438">
                  <c:v>18186.77</c:v>
                </c:pt>
                <c:pt idx="2439">
                  <c:v>18186.77</c:v>
                </c:pt>
                <c:pt idx="2440">
                  <c:v>18186.77</c:v>
                </c:pt>
                <c:pt idx="2441">
                  <c:v>18186.77</c:v>
                </c:pt>
                <c:pt idx="2442">
                  <c:v>18186.77</c:v>
                </c:pt>
                <c:pt idx="2443">
                  <c:v>18186.77</c:v>
                </c:pt>
                <c:pt idx="2444">
                  <c:v>18186.77</c:v>
                </c:pt>
                <c:pt idx="2445">
                  <c:v>18186.77</c:v>
                </c:pt>
                <c:pt idx="2446">
                  <c:v>18186.77</c:v>
                </c:pt>
                <c:pt idx="2447">
                  <c:v>18186.77</c:v>
                </c:pt>
                <c:pt idx="2448">
                  <c:v>18186.77</c:v>
                </c:pt>
                <c:pt idx="2449">
                  <c:v>18186.77</c:v>
                </c:pt>
                <c:pt idx="2450">
                  <c:v>18186.77</c:v>
                </c:pt>
                <c:pt idx="2451">
                  <c:v>18186.77</c:v>
                </c:pt>
                <c:pt idx="2452">
                  <c:v>18186.77</c:v>
                </c:pt>
                <c:pt idx="2453">
                  <c:v>18186.77</c:v>
                </c:pt>
                <c:pt idx="2454">
                  <c:v>20203.57</c:v>
                </c:pt>
                <c:pt idx="2455">
                  <c:v>20203.57</c:v>
                </c:pt>
                <c:pt idx="2456">
                  <c:v>20203.57</c:v>
                </c:pt>
                <c:pt idx="2457">
                  <c:v>20203.57</c:v>
                </c:pt>
                <c:pt idx="2458">
                  <c:v>20203.57</c:v>
                </c:pt>
                <c:pt idx="2459">
                  <c:v>20203.57</c:v>
                </c:pt>
                <c:pt idx="2460">
                  <c:v>20203.57</c:v>
                </c:pt>
                <c:pt idx="2461">
                  <c:v>20203.57</c:v>
                </c:pt>
                <c:pt idx="2462">
                  <c:v>20203.57</c:v>
                </c:pt>
                <c:pt idx="2463">
                  <c:v>20203.57</c:v>
                </c:pt>
                <c:pt idx="2464">
                  <c:v>20203.57</c:v>
                </c:pt>
                <c:pt idx="2465">
                  <c:v>20203.57</c:v>
                </c:pt>
                <c:pt idx="2466">
                  <c:v>20203.57</c:v>
                </c:pt>
                <c:pt idx="2467">
                  <c:v>20203.57</c:v>
                </c:pt>
                <c:pt idx="2468">
                  <c:v>20203.57</c:v>
                </c:pt>
                <c:pt idx="2469">
                  <c:v>20203.57</c:v>
                </c:pt>
                <c:pt idx="2470">
                  <c:v>20203.57</c:v>
                </c:pt>
                <c:pt idx="2471">
                  <c:v>20203.57</c:v>
                </c:pt>
                <c:pt idx="2472">
                  <c:v>20203.57</c:v>
                </c:pt>
                <c:pt idx="2473">
                  <c:v>20203.57</c:v>
                </c:pt>
                <c:pt idx="2474">
                  <c:v>20203.57</c:v>
                </c:pt>
                <c:pt idx="2475">
                  <c:v>20203.57</c:v>
                </c:pt>
                <c:pt idx="2476">
                  <c:v>20203.57</c:v>
                </c:pt>
                <c:pt idx="2477">
                  <c:v>20203.57</c:v>
                </c:pt>
                <c:pt idx="2478">
                  <c:v>20203.57</c:v>
                </c:pt>
                <c:pt idx="2479">
                  <c:v>20203.57</c:v>
                </c:pt>
                <c:pt idx="2480">
                  <c:v>20203.57</c:v>
                </c:pt>
                <c:pt idx="2481">
                  <c:v>20203.57</c:v>
                </c:pt>
                <c:pt idx="2482">
                  <c:v>20203.57</c:v>
                </c:pt>
                <c:pt idx="2483">
                  <c:v>20203.57</c:v>
                </c:pt>
                <c:pt idx="2484">
                  <c:v>20203.57</c:v>
                </c:pt>
                <c:pt idx="2485">
                  <c:v>20203.57</c:v>
                </c:pt>
                <c:pt idx="2486">
                  <c:v>20203.57</c:v>
                </c:pt>
                <c:pt idx="2487">
                  <c:v>20203.57</c:v>
                </c:pt>
                <c:pt idx="2488">
                  <c:v>20203.57</c:v>
                </c:pt>
                <c:pt idx="2489">
                  <c:v>20203.57</c:v>
                </c:pt>
                <c:pt idx="2490">
                  <c:v>20203.57</c:v>
                </c:pt>
                <c:pt idx="2491">
                  <c:v>20203.57</c:v>
                </c:pt>
                <c:pt idx="2492">
                  <c:v>20203.57</c:v>
                </c:pt>
                <c:pt idx="2493">
                  <c:v>20203.57</c:v>
                </c:pt>
                <c:pt idx="2494">
                  <c:v>20203.57</c:v>
                </c:pt>
                <c:pt idx="2495">
                  <c:v>20203.57</c:v>
                </c:pt>
                <c:pt idx="2496">
                  <c:v>20203.57</c:v>
                </c:pt>
                <c:pt idx="2497">
                  <c:v>20203.57</c:v>
                </c:pt>
                <c:pt idx="2498">
                  <c:v>20203.57</c:v>
                </c:pt>
                <c:pt idx="2499">
                  <c:v>20203.57</c:v>
                </c:pt>
                <c:pt idx="2500">
                  <c:v>20203.57</c:v>
                </c:pt>
                <c:pt idx="2501">
                  <c:v>20203.57</c:v>
                </c:pt>
                <c:pt idx="2502">
                  <c:v>20203.57</c:v>
                </c:pt>
                <c:pt idx="2503">
                  <c:v>20203.57</c:v>
                </c:pt>
                <c:pt idx="2504">
                  <c:v>20203.57</c:v>
                </c:pt>
                <c:pt idx="2505">
                  <c:v>20203.57</c:v>
                </c:pt>
                <c:pt idx="2506">
                  <c:v>20203.57</c:v>
                </c:pt>
                <c:pt idx="2507">
                  <c:v>20203.57</c:v>
                </c:pt>
                <c:pt idx="2508">
                  <c:v>20203.57</c:v>
                </c:pt>
                <c:pt idx="2509">
                  <c:v>20203.57</c:v>
                </c:pt>
                <c:pt idx="2510">
                  <c:v>20203.57</c:v>
                </c:pt>
                <c:pt idx="2511">
                  <c:v>20203.57</c:v>
                </c:pt>
                <c:pt idx="2512">
                  <c:v>20203.57</c:v>
                </c:pt>
                <c:pt idx="2513">
                  <c:v>20203.57</c:v>
                </c:pt>
                <c:pt idx="2514">
                  <c:v>20203.57</c:v>
                </c:pt>
                <c:pt idx="2515">
                  <c:v>20203.57</c:v>
                </c:pt>
                <c:pt idx="2516">
                  <c:v>20203.57</c:v>
                </c:pt>
                <c:pt idx="2517">
                  <c:v>20203.57</c:v>
                </c:pt>
                <c:pt idx="2518">
                  <c:v>20203.57</c:v>
                </c:pt>
                <c:pt idx="2519">
                  <c:v>20203.57</c:v>
                </c:pt>
                <c:pt idx="2520">
                  <c:v>20203.57</c:v>
                </c:pt>
                <c:pt idx="2521">
                  <c:v>20203.57</c:v>
                </c:pt>
                <c:pt idx="2522">
                  <c:v>20203.57</c:v>
                </c:pt>
                <c:pt idx="2523">
                  <c:v>20203.57</c:v>
                </c:pt>
                <c:pt idx="2524">
                  <c:v>20203.57</c:v>
                </c:pt>
                <c:pt idx="2525">
                  <c:v>20203.57</c:v>
                </c:pt>
                <c:pt idx="2526">
                  <c:v>20203.57</c:v>
                </c:pt>
                <c:pt idx="2527">
                  <c:v>20203.57</c:v>
                </c:pt>
                <c:pt idx="2528">
                  <c:v>20203.57</c:v>
                </c:pt>
                <c:pt idx="2529">
                  <c:v>20203.57</c:v>
                </c:pt>
                <c:pt idx="2530">
                  <c:v>20203.57</c:v>
                </c:pt>
                <c:pt idx="2531">
                  <c:v>20203.57</c:v>
                </c:pt>
                <c:pt idx="2532">
                  <c:v>20203.57</c:v>
                </c:pt>
                <c:pt idx="2533">
                  <c:v>20203.57</c:v>
                </c:pt>
                <c:pt idx="2534">
                  <c:v>20203.57</c:v>
                </c:pt>
                <c:pt idx="2535">
                  <c:v>20203.57</c:v>
                </c:pt>
                <c:pt idx="2536">
                  <c:v>20203.57</c:v>
                </c:pt>
                <c:pt idx="2537">
                  <c:v>20203.57</c:v>
                </c:pt>
                <c:pt idx="2538">
                  <c:v>20203.57</c:v>
                </c:pt>
                <c:pt idx="2539">
                  <c:v>20203.57</c:v>
                </c:pt>
                <c:pt idx="2540">
                  <c:v>20203.57</c:v>
                </c:pt>
                <c:pt idx="2541">
                  <c:v>20203.57</c:v>
                </c:pt>
                <c:pt idx="2542">
                  <c:v>20203.57</c:v>
                </c:pt>
                <c:pt idx="2543">
                  <c:v>20203.57</c:v>
                </c:pt>
                <c:pt idx="2544">
                  <c:v>20203.57</c:v>
                </c:pt>
                <c:pt idx="2545">
                  <c:v>20203.57</c:v>
                </c:pt>
                <c:pt idx="2546">
                  <c:v>20203.57</c:v>
                </c:pt>
                <c:pt idx="2547">
                  <c:v>20203.57</c:v>
                </c:pt>
                <c:pt idx="2548">
                  <c:v>20203.57</c:v>
                </c:pt>
                <c:pt idx="2549">
                  <c:v>20203.57</c:v>
                </c:pt>
                <c:pt idx="2550">
                  <c:v>20203.57</c:v>
                </c:pt>
                <c:pt idx="2551">
                  <c:v>20203.57</c:v>
                </c:pt>
                <c:pt idx="2552">
                  <c:v>20203.57</c:v>
                </c:pt>
                <c:pt idx="2553">
                  <c:v>20203.57</c:v>
                </c:pt>
                <c:pt idx="2554">
                  <c:v>20203.57</c:v>
                </c:pt>
                <c:pt idx="2555">
                  <c:v>20203.57</c:v>
                </c:pt>
                <c:pt idx="2556">
                  <c:v>20203.57</c:v>
                </c:pt>
                <c:pt idx="2557">
                  <c:v>20203.57</c:v>
                </c:pt>
                <c:pt idx="2558">
                  <c:v>20203.57</c:v>
                </c:pt>
                <c:pt idx="2559">
                  <c:v>20203.57</c:v>
                </c:pt>
                <c:pt idx="2560">
                  <c:v>20203.57</c:v>
                </c:pt>
                <c:pt idx="2561">
                  <c:v>20203.57</c:v>
                </c:pt>
                <c:pt idx="2562">
                  <c:v>20203.57</c:v>
                </c:pt>
                <c:pt idx="2563">
                  <c:v>20203.57</c:v>
                </c:pt>
                <c:pt idx="2564">
                  <c:v>20203.57</c:v>
                </c:pt>
                <c:pt idx="2565">
                  <c:v>20203.57</c:v>
                </c:pt>
                <c:pt idx="2566">
                  <c:v>20203.57</c:v>
                </c:pt>
                <c:pt idx="2567">
                  <c:v>20203.57</c:v>
                </c:pt>
                <c:pt idx="2568">
                  <c:v>20203.57</c:v>
                </c:pt>
                <c:pt idx="2569">
                  <c:v>20203.57</c:v>
                </c:pt>
                <c:pt idx="2570">
                  <c:v>20203.57</c:v>
                </c:pt>
                <c:pt idx="2571">
                  <c:v>20203.57</c:v>
                </c:pt>
                <c:pt idx="2572">
                  <c:v>20203.57</c:v>
                </c:pt>
                <c:pt idx="2573">
                  <c:v>20203.57</c:v>
                </c:pt>
                <c:pt idx="2574">
                  <c:v>20203.57</c:v>
                </c:pt>
                <c:pt idx="2575">
                  <c:v>20203.57</c:v>
                </c:pt>
                <c:pt idx="2576">
                  <c:v>20203.57</c:v>
                </c:pt>
                <c:pt idx="2577">
                  <c:v>20203.57</c:v>
                </c:pt>
                <c:pt idx="2578">
                  <c:v>20203.57</c:v>
                </c:pt>
                <c:pt idx="2579">
                  <c:v>20203.57</c:v>
                </c:pt>
                <c:pt idx="2580">
                  <c:v>20203.57</c:v>
                </c:pt>
                <c:pt idx="2581">
                  <c:v>20203.57</c:v>
                </c:pt>
                <c:pt idx="2582">
                  <c:v>20203.57</c:v>
                </c:pt>
                <c:pt idx="2583">
                  <c:v>20203.57</c:v>
                </c:pt>
                <c:pt idx="2584">
                  <c:v>20203.57</c:v>
                </c:pt>
                <c:pt idx="2585">
                  <c:v>20203.57</c:v>
                </c:pt>
                <c:pt idx="2586">
                  <c:v>20203.57</c:v>
                </c:pt>
                <c:pt idx="2587">
                  <c:v>20203.57</c:v>
                </c:pt>
                <c:pt idx="2588">
                  <c:v>20203.57</c:v>
                </c:pt>
                <c:pt idx="2589">
                  <c:v>20203.57</c:v>
                </c:pt>
                <c:pt idx="2590">
                  <c:v>20203.57</c:v>
                </c:pt>
                <c:pt idx="2591">
                  <c:v>20203.57</c:v>
                </c:pt>
                <c:pt idx="2592">
                  <c:v>20203.57</c:v>
                </c:pt>
                <c:pt idx="2593">
                  <c:v>20203.57</c:v>
                </c:pt>
                <c:pt idx="2594">
                  <c:v>20203.57</c:v>
                </c:pt>
                <c:pt idx="2595">
                  <c:v>20203.57</c:v>
                </c:pt>
                <c:pt idx="2596">
                  <c:v>20203.57</c:v>
                </c:pt>
                <c:pt idx="2597">
                  <c:v>20203.57</c:v>
                </c:pt>
                <c:pt idx="2598">
                  <c:v>20203.57</c:v>
                </c:pt>
                <c:pt idx="2599">
                  <c:v>20203.57</c:v>
                </c:pt>
                <c:pt idx="2600">
                  <c:v>20203.57</c:v>
                </c:pt>
                <c:pt idx="2601">
                  <c:v>20203.57</c:v>
                </c:pt>
                <c:pt idx="2602">
                  <c:v>20203.57</c:v>
                </c:pt>
                <c:pt idx="2603">
                  <c:v>20203.57</c:v>
                </c:pt>
                <c:pt idx="2604">
                  <c:v>20203.57</c:v>
                </c:pt>
                <c:pt idx="2605">
                  <c:v>20203.57</c:v>
                </c:pt>
                <c:pt idx="2606">
                  <c:v>20203.57</c:v>
                </c:pt>
                <c:pt idx="2607">
                  <c:v>20203.57</c:v>
                </c:pt>
                <c:pt idx="2608">
                  <c:v>20203.57</c:v>
                </c:pt>
                <c:pt idx="2609">
                  <c:v>20203.57</c:v>
                </c:pt>
                <c:pt idx="2610">
                  <c:v>20203.57</c:v>
                </c:pt>
                <c:pt idx="2611">
                  <c:v>20203.57</c:v>
                </c:pt>
                <c:pt idx="2612">
                  <c:v>20203.57</c:v>
                </c:pt>
                <c:pt idx="2613">
                  <c:v>20203.57</c:v>
                </c:pt>
                <c:pt idx="2614">
                  <c:v>20203.57</c:v>
                </c:pt>
                <c:pt idx="2615">
                  <c:v>20203.57</c:v>
                </c:pt>
                <c:pt idx="2616">
                  <c:v>20203.57</c:v>
                </c:pt>
                <c:pt idx="2617">
                  <c:v>20203.57</c:v>
                </c:pt>
                <c:pt idx="2618">
                  <c:v>20203.57</c:v>
                </c:pt>
                <c:pt idx="2619">
                  <c:v>20203.57</c:v>
                </c:pt>
                <c:pt idx="2620">
                  <c:v>20203.57</c:v>
                </c:pt>
                <c:pt idx="2621">
                  <c:v>20203.57</c:v>
                </c:pt>
                <c:pt idx="2622">
                  <c:v>20203.57</c:v>
                </c:pt>
                <c:pt idx="2623">
                  <c:v>20203.57</c:v>
                </c:pt>
                <c:pt idx="2624">
                  <c:v>20203.57</c:v>
                </c:pt>
                <c:pt idx="2625">
                  <c:v>20203.57</c:v>
                </c:pt>
                <c:pt idx="2626">
                  <c:v>20203.57</c:v>
                </c:pt>
                <c:pt idx="2627">
                  <c:v>20203.57</c:v>
                </c:pt>
                <c:pt idx="2628">
                  <c:v>20203.57</c:v>
                </c:pt>
                <c:pt idx="2629">
                  <c:v>20203.57</c:v>
                </c:pt>
                <c:pt idx="2630">
                  <c:v>20203.57</c:v>
                </c:pt>
                <c:pt idx="2631">
                  <c:v>20203.57</c:v>
                </c:pt>
                <c:pt idx="2632">
                  <c:v>20203.57</c:v>
                </c:pt>
                <c:pt idx="2633">
                  <c:v>20203.57</c:v>
                </c:pt>
                <c:pt idx="2634">
                  <c:v>20203.57</c:v>
                </c:pt>
                <c:pt idx="2635">
                  <c:v>20203.57</c:v>
                </c:pt>
                <c:pt idx="2636">
                  <c:v>20203.57</c:v>
                </c:pt>
                <c:pt idx="2637">
                  <c:v>20203.57</c:v>
                </c:pt>
                <c:pt idx="2638">
                  <c:v>20203.57</c:v>
                </c:pt>
                <c:pt idx="2639">
                  <c:v>20203.57</c:v>
                </c:pt>
                <c:pt idx="2640">
                  <c:v>20203.57</c:v>
                </c:pt>
                <c:pt idx="2641">
                  <c:v>20203.57</c:v>
                </c:pt>
                <c:pt idx="2642">
                  <c:v>20203.57</c:v>
                </c:pt>
                <c:pt idx="2643">
                  <c:v>20203.57</c:v>
                </c:pt>
                <c:pt idx="2644">
                  <c:v>20203.57</c:v>
                </c:pt>
                <c:pt idx="2645">
                  <c:v>20203.57</c:v>
                </c:pt>
                <c:pt idx="2646">
                  <c:v>20203.57</c:v>
                </c:pt>
                <c:pt idx="2647">
                  <c:v>20203.57</c:v>
                </c:pt>
                <c:pt idx="2648">
                  <c:v>20203.57</c:v>
                </c:pt>
                <c:pt idx="2649">
                  <c:v>20203.57</c:v>
                </c:pt>
                <c:pt idx="2650">
                  <c:v>20203.57</c:v>
                </c:pt>
                <c:pt idx="2651">
                  <c:v>20203.57</c:v>
                </c:pt>
                <c:pt idx="2652">
                  <c:v>20203.57</c:v>
                </c:pt>
                <c:pt idx="2653">
                  <c:v>20203.57</c:v>
                </c:pt>
                <c:pt idx="2654">
                  <c:v>20203.57</c:v>
                </c:pt>
                <c:pt idx="2655">
                  <c:v>20203.57</c:v>
                </c:pt>
                <c:pt idx="2656">
                  <c:v>20203.57</c:v>
                </c:pt>
                <c:pt idx="2657">
                  <c:v>20203.57</c:v>
                </c:pt>
                <c:pt idx="2658">
                  <c:v>20203.57</c:v>
                </c:pt>
                <c:pt idx="2659">
                  <c:v>20203.57</c:v>
                </c:pt>
                <c:pt idx="2660">
                  <c:v>20203.57</c:v>
                </c:pt>
                <c:pt idx="2661">
                  <c:v>20203.57</c:v>
                </c:pt>
                <c:pt idx="2662">
                  <c:v>20203.57</c:v>
                </c:pt>
                <c:pt idx="2663">
                  <c:v>20203.57</c:v>
                </c:pt>
                <c:pt idx="2664">
                  <c:v>20203.57</c:v>
                </c:pt>
                <c:pt idx="2665">
                  <c:v>20203.57</c:v>
                </c:pt>
                <c:pt idx="2666">
                  <c:v>20203.57</c:v>
                </c:pt>
                <c:pt idx="2667">
                  <c:v>20203.57</c:v>
                </c:pt>
                <c:pt idx="2668">
                  <c:v>20203.57</c:v>
                </c:pt>
                <c:pt idx="2669">
                  <c:v>20203.57</c:v>
                </c:pt>
                <c:pt idx="2670">
                  <c:v>20203.57</c:v>
                </c:pt>
                <c:pt idx="2671">
                  <c:v>20203.57</c:v>
                </c:pt>
                <c:pt idx="2672">
                  <c:v>20203.57</c:v>
                </c:pt>
                <c:pt idx="2673">
                  <c:v>20203.57</c:v>
                </c:pt>
                <c:pt idx="2674">
                  <c:v>20203.57</c:v>
                </c:pt>
                <c:pt idx="2675">
                  <c:v>20203.57</c:v>
                </c:pt>
                <c:pt idx="2676">
                  <c:v>20203.57</c:v>
                </c:pt>
                <c:pt idx="2677">
                  <c:v>20203.57</c:v>
                </c:pt>
                <c:pt idx="2678">
                  <c:v>20203.57</c:v>
                </c:pt>
                <c:pt idx="2679">
                  <c:v>20203.57</c:v>
                </c:pt>
                <c:pt idx="2680">
                  <c:v>20203.57</c:v>
                </c:pt>
                <c:pt idx="2681">
                  <c:v>20203.57</c:v>
                </c:pt>
                <c:pt idx="2682">
                  <c:v>20203.57</c:v>
                </c:pt>
                <c:pt idx="2683">
                  <c:v>20203.57</c:v>
                </c:pt>
                <c:pt idx="2684">
                  <c:v>20203.57</c:v>
                </c:pt>
                <c:pt idx="2685">
                  <c:v>20203.57</c:v>
                </c:pt>
                <c:pt idx="2686">
                  <c:v>20203.57</c:v>
                </c:pt>
                <c:pt idx="2687">
                  <c:v>20203.57</c:v>
                </c:pt>
                <c:pt idx="2688">
                  <c:v>20203.57</c:v>
                </c:pt>
                <c:pt idx="2689">
                  <c:v>20203.57</c:v>
                </c:pt>
                <c:pt idx="2690">
                  <c:v>20203.57</c:v>
                </c:pt>
                <c:pt idx="2691">
                  <c:v>20203.57</c:v>
                </c:pt>
                <c:pt idx="2692">
                  <c:v>20203.57</c:v>
                </c:pt>
                <c:pt idx="2693">
                  <c:v>20203.57</c:v>
                </c:pt>
                <c:pt idx="2694">
                  <c:v>20203.57</c:v>
                </c:pt>
                <c:pt idx="2695">
                  <c:v>20203.57</c:v>
                </c:pt>
                <c:pt idx="2696">
                  <c:v>20203.57</c:v>
                </c:pt>
                <c:pt idx="2697">
                  <c:v>21806.28</c:v>
                </c:pt>
                <c:pt idx="2698">
                  <c:v>21806.28</c:v>
                </c:pt>
                <c:pt idx="2699">
                  <c:v>21806.28</c:v>
                </c:pt>
                <c:pt idx="2700">
                  <c:v>21806.28</c:v>
                </c:pt>
                <c:pt idx="2701">
                  <c:v>21806.28</c:v>
                </c:pt>
                <c:pt idx="2702">
                  <c:v>21806.28</c:v>
                </c:pt>
                <c:pt idx="2703">
                  <c:v>21806.28</c:v>
                </c:pt>
                <c:pt idx="2704">
                  <c:v>21806.28</c:v>
                </c:pt>
                <c:pt idx="2705">
                  <c:v>21806.28</c:v>
                </c:pt>
                <c:pt idx="2706">
                  <c:v>21806.28</c:v>
                </c:pt>
                <c:pt idx="2707">
                  <c:v>21806.28</c:v>
                </c:pt>
                <c:pt idx="2708">
                  <c:v>21806.28</c:v>
                </c:pt>
                <c:pt idx="2709">
                  <c:v>21806.28</c:v>
                </c:pt>
                <c:pt idx="2710">
                  <c:v>21806.28</c:v>
                </c:pt>
                <c:pt idx="2711">
                  <c:v>21806.28</c:v>
                </c:pt>
                <c:pt idx="2712">
                  <c:v>21806.28</c:v>
                </c:pt>
                <c:pt idx="2713">
                  <c:v>21806.28</c:v>
                </c:pt>
                <c:pt idx="2714">
                  <c:v>21806.28</c:v>
                </c:pt>
                <c:pt idx="2715">
                  <c:v>21806.28</c:v>
                </c:pt>
                <c:pt idx="2716">
                  <c:v>21806.28</c:v>
                </c:pt>
                <c:pt idx="2717">
                  <c:v>21806.28</c:v>
                </c:pt>
                <c:pt idx="2718">
                  <c:v>21806.28</c:v>
                </c:pt>
                <c:pt idx="2719">
                  <c:v>21806.28</c:v>
                </c:pt>
                <c:pt idx="2720">
                  <c:v>21806.28</c:v>
                </c:pt>
                <c:pt idx="2721">
                  <c:v>21806.28</c:v>
                </c:pt>
                <c:pt idx="2722">
                  <c:v>21806.28</c:v>
                </c:pt>
                <c:pt idx="2723">
                  <c:v>21806.28</c:v>
                </c:pt>
                <c:pt idx="2724">
                  <c:v>21806.28</c:v>
                </c:pt>
                <c:pt idx="2725">
                  <c:v>21806.28</c:v>
                </c:pt>
                <c:pt idx="2726">
                  <c:v>21806.28</c:v>
                </c:pt>
                <c:pt idx="2727">
                  <c:v>21806.28</c:v>
                </c:pt>
                <c:pt idx="2728">
                  <c:v>21806.28</c:v>
                </c:pt>
                <c:pt idx="2729">
                  <c:v>21806.28</c:v>
                </c:pt>
                <c:pt idx="2730">
                  <c:v>21806.28</c:v>
                </c:pt>
                <c:pt idx="2731">
                  <c:v>21806.28</c:v>
                </c:pt>
                <c:pt idx="2732">
                  <c:v>21806.28</c:v>
                </c:pt>
                <c:pt idx="2733">
                  <c:v>21806.28</c:v>
                </c:pt>
                <c:pt idx="2734">
                  <c:v>21806.28</c:v>
                </c:pt>
                <c:pt idx="2735">
                  <c:v>21806.28</c:v>
                </c:pt>
                <c:pt idx="2736">
                  <c:v>21806.28</c:v>
                </c:pt>
                <c:pt idx="2737">
                  <c:v>21806.28</c:v>
                </c:pt>
                <c:pt idx="2738">
                  <c:v>21806.28</c:v>
                </c:pt>
                <c:pt idx="2739">
                  <c:v>21806.28</c:v>
                </c:pt>
                <c:pt idx="2740">
                  <c:v>21806.28</c:v>
                </c:pt>
                <c:pt idx="2741">
                  <c:v>21806.28</c:v>
                </c:pt>
                <c:pt idx="2742">
                  <c:v>21806.28</c:v>
                </c:pt>
                <c:pt idx="2743">
                  <c:v>21806.28</c:v>
                </c:pt>
                <c:pt idx="2744">
                  <c:v>21806.28</c:v>
                </c:pt>
                <c:pt idx="2745">
                  <c:v>21806.28</c:v>
                </c:pt>
                <c:pt idx="2746">
                  <c:v>21806.28</c:v>
                </c:pt>
                <c:pt idx="2747">
                  <c:v>21806.28</c:v>
                </c:pt>
                <c:pt idx="2748">
                  <c:v>21806.28</c:v>
                </c:pt>
                <c:pt idx="2749">
                  <c:v>21806.28</c:v>
                </c:pt>
                <c:pt idx="2750">
                  <c:v>21806.28</c:v>
                </c:pt>
                <c:pt idx="2751">
                  <c:v>21806.28</c:v>
                </c:pt>
                <c:pt idx="2752">
                  <c:v>21806.28</c:v>
                </c:pt>
                <c:pt idx="2753">
                  <c:v>21806.28</c:v>
                </c:pt>
                <c:pt idx="2754">
                  <c:v>21806.28</c:v>
                </c:pt>
                <c:pt idx="2755">
                  <c:v>21806.28</c:v>
                </c:pt>
                <c:pt idx="2756">
                  <c:v>21806.28</c:v>
                </c:pt>
                <c:pt idx="2757">
                  <c:v>21806.28</c:v>
                </c:pt>
                <c:pt idx="2758">
                  <c:v>21806.28</c:v>
                </c:pt>
                <c:pt idx="2759">
                  <c:v>21806.28</c:v>
                </c:pt>
                <c:pt idx="2760">
                  <c:v>21806.28</c:v>
                </c:pt>
                <c:pt idx="2761">
                  <c:v>21806.28</c:v>
                </c:pt>
                <c:pt idx="2762">
                  <c:v>21806.28</c:v>
                </c:pt>
                <c:pt idx="2763">
                  <c:v>21806.28</c:v>
                </c:pt>
                <c:pt idx="2764">
                  <c:v>21806.28</c:v>
                </c:pt>
                <c:pt idx="2765">
                  <c:v>21806.28</c:v>
                </c:pt>
                <c:pt idx="2766">
                  <c:v>21806.28</c:v>
                </c:pt>
                <c:pt idx="2767">
                  <c:v>21806.28</c:v>
                </c:pt>
                <c:pt idx="2768">
                  <c:v>21806.28</c:v>
                </c:pt>
                <c:pt idx="2769">
                  <c:v>21806.28</c:v>
                </c:pt>
                <c:pt idx="2770">
                  <c:v>21806.28</c:v>
                </c:pt>
                <c:pt idx="2771">
                  <c:v>21806.28</c:v>
                </c:pt>
                <c:pt idx="2772">
                  <c:v>21806.28</c:v>
                </c:pt>
                <c:pt idx="2773">
                  <c:v>21806.28</c:v>
                </c:pt>
                <c:pt idx="2774">
                  <c:v>21806.28</c:v>
                </c:pt>
                <c:pt idx="2775">
                  <c:v>21806.28</c:v>
                </c:pt>
                <c:pt idx="2776">
                  <c:v>21806.28</c:v>
                </c:pt>
                <c:pt idx="2777">
                  <c:v>21806.28</c:v>
                </c:pt>
                <c:pt idx="2778">
                  <c:v>21806.28</c:v>
                </c:pt>
                <c:pt idx="2779">
                  <c:v>21806.28</c:v>
                </c:pt>
                <c:pt idx="2780">
                  <c:v>21806.28</c:v>
                </c:pt>
                <c:pt idx="2781">
                  <c:v>21806.28</c:v>
                </c:pt>
                <c:pt idx="2782">
                  <c:v>21806.28</c:v>
                </c:pt>
                <c:pt idx="2783">
                  <c:v>21806.28</c:v>
                </c:pt>
                <c:pt idx="2784">
                  <c:v>21806.28</c:v>
                </c:pt>
                <c:pt idx="2785">
                  <c:v>21806.28</c:v>
                </c:pt>
                <c:pt idx="2786">
                  <c:v>21806.28</c:v>
                </c:pt>
                <c:pt idx="2787">
                  <c:v>21806.28</c:v>
                </c:pt>
                <c:pt idx="2788">
                  <c:v>21806.28</c:v>
                </c:pt>
                <c:pt idx="2789">
                  <c:v>21806.28</c:v>
                </c:pt>
                <c:pt idx="2790">
                  <c:v>21806.28</c:v>
                </c:pt>
                <c:pt idx="2791">
                  <c:v>21806.28</c:v>
                </c:pt>
                <c:pt idx="2792">
                  <c:v>21806.28</c:v>
                </c:pt>
                <c:pt idx="2793">
                  <c:v>21806.28</c:v>
                </c:pt>
                <c:pt idx="2794">
                  <c:v>21806.28</c:v>
                </c:pt>
                <c:pt idx="2795">
                  <c:v>21806.28</c:v>
                </c:pt>
                <c:pt idx="2796">
                  <c:v>21806.28</c:v>
                </c:pt>
                <c:pt idx="2797">
                  <c:v>21806.28</c:v>
                </c:pt>
                <c:pt idx="2798">
                  <c:v>21806.28</c:v>
                </c:pt>
                <c:pt idx="2799">
                  <c:v>21806.28</c:v>
                </c:pt>
                <c:pt idx="2800">
                  <c:v>21806.28</c:v>
                </c:pt>
                <c:pt idx="2801">
                  <c:v>21806.28</c:v>
                </c:pt>
                <c:pt idx="2802">
                  <c:v>21806.28</c:v>
                </c:pt>
                <c:pt idx="2803">
                  <c:v>21806.28</c:v>
                </c:pt>
                <c:pt idx="2804">
                  <c:v>21806.28</c:v>
                </c:pt>
                <c:pt idx="2805">
                  <c:v>21806.28</c:v>
                </c:pt>
                <c:pt idx="2806">
                  <c:v>21806.28</c:v>
                </c:pt>
                <c:pt idx="2807">
                  <c:v>21806.28</c:v>
                </c:pt>
                <c:pt idx="2808">
                  <c:v>21806.28</c:v>
                </c:pt>
                <c:pt idx="2809">
                  <c:v>21806.28</c:v>
                </c:pt>
                <c:pt idx="2810">
                  <c:v>21806.28</c:v>
                </c:pt>
                <c:pt idx="2811">
                  <c:v>21806.28</c:v>
                </c:pt>
                <c:pt idx="2812">
                  <c:v>21806.28</c:v>
                </c:pt>
                <c:pt idx="2813">
                  <c:v>21806.28</c:v>
                </c:pt>
                <c:pt idx="2814">
                  <c:v>21806.28</c:v>
                </c:pt>
                <c:pt idx="2815">
                  <c:v>21806.28</c:v>
                </c:pt>
                <c:pt idx="2816">
                  <c:v>21806.28</c:v>
                </c:pt>
                <c:pt idx="2817">
                  <c:v>21806.28</c:v>
                </c:pt>
                <c:pt idx="2818">
                  <c:v>21806.28</c:v>
                </c:pt>
                <c:pt idx="2819">
                  <c:v>21806.28</c:v>
                </c:pt>
                <c:pt idx="2820">
                  <c:v>21806.28</c:v>
                </c:pt>
                <c:pt idx="2821">
                  <c:v>21806.28</c:v>
                </c:pt>
                <c:pt idx="2822">
                  <c:v>21806.28</c:v>
                </c:pt>
                <c:pt idx="2823">
                  <c:v>21806.28</c:v>
                </c:pt>
                <c:pt idx="2824">
                  <c:v>21806.28</c:v>
                </c:pt>
                <c:pt idx="2825">
                  <c:v>21806.28</c:v>
                </c:pt>
                <c:pt idx="2826">
                  <c:v>21806.28</c:v>
                </c:pt>
                <c:pt idx="2827">
                  <c:v>21806.28</c:v>
                </c:pt>
                <c:pt idx="2828">
                  <c:v>21806.28</c:v>
                </c:pt>
                <c:pt idx="2829">
                  <c:v>21806.28</c:v>
                </c:pt>
                <c:pt idx="2830">
                  <c:v>21806.28</c:v>
                </c:pt>
                <c:pt idx="2831">
                  <c:v>21806.28</c:v>
                </c:pt>
                <c:pt idx="2832">
                  <c:v>21806.28</c:v>
                </c:pt>
                <c:pt idx="2833">
                  <c:v>21806.28</c:v>
                </c:pt>
                <c:pt idx="2834">
                  <c:v>21806.28</c:v>
                </c:pt>
                <c:pt idx="2835">
                  <c:v>21806.28</c:v>
                </c:pt>
                <c:pt idx="2836">
                  <c:v>21806.28</c:v>
                </c:pt>
                <c:pt idx="2837">
                  <c:v>21806.28</c:v>
                </c:pt>
                <c:pt idx="2838">
                  <c:v>21806.28</c:v>
                </c:pt>
                <c:pt idx="2839">
                  <c:v>21806.28</c:v>
                </c:pt>
                <c:pt idx="2840">
                  <c:v>21806.28</c:v>
                </c:pt>
                <c:pt idx="2841">
                  <c:v>21806.28</c:v>
                </c:pt>
                <c:pt idx="2842">
                  <c:v>21806.28</c:v>
                </c:pt>
                <c:pt idx="2843">
                  <c:v>21806.28</c:v>
                </c:pt>
                <c:pt idx="2844">
                  <c:v>21806.28</c:v>
                </c:pt>
                <c:pt idx="2845">
                  <c:v>21806.28</c:v>
                </c:pt>
                <c:pt idx="2846">
                  <c:v>21806.28</c:v>
                </c:pt>
                <c:pt idx="2847">
                  <c:v>21806.28</c:v>
                </c:pt>
                <c:pt idx="2848">
                  <c:v>21806.28</c:v>
                </c:pt>
                <c:pt idx="2849">
                  <c:v>21806.28</c:v>
                </c:pt>
                <c:pt idx="2850">
                  <c:v>21806.28</c:v>
                </c:pt>
                <c:pt idx="2851">
                  <c:v>21806.28</c:v>
                </c:pt>
                <c:pt idx="2852">
                  <c:v>21806.28</c:v>
                </c:pt>
                <c:pt idx="2853">
                  <c:v>21806.28</c:v>
                </c:pt>
                <c:pt idx="2854">
                  <c:v>21806.28</c:v>
                </c:pt>
                <c:pt idx="2855">
                  <c:v>21806.28</c:v>
                </c:pt>
                <c:pt idx="2856">
                  <c:v>21806.28</c:v>
                </c:pt>
                <c:pt idx="2857">
                  <c:v>21806.28</c:v>
                </c:pt>
                <c:pt idx="2858">
                  <c:v>21806.28</c:v>
                </c:pt>
                <c:pt idx="2859">
                  <c:v>21806.28</c:v>
                </c:pt>
                <c:pt idx="2860">
                  <c:v>21806.28</c:v>
                </c:pt>
                <c:pt idx="2861">
                  <c:v>21806.28</c:v>
                </c:pt>
                <c:pt idx="2862">
                  <c:v>21806.28</c:v>
                </c:pt>
                <c:pt idx="2863">
                  <c:v>21806.28</c:v>
                </c:pt>
                <c:pt idx="2864">
                  <c:v>21806.28</c:v>
                </c:pt>
                <c:pt idx="2865">
                  <c:v>21806.28</c:v>
                </c:pt>
                <c:pt idx="2866">
                  <c:v>21806.28</c:v>
                </c:pt>
                <c:pt idx="2867">
                  <c:v>21806.28</c:v>
                </c:pt>
                <c:pt idx="2868">
                  <c:v>21806.28</c:v>
                </c:pt>
                <c:pt idx="2869">
                  <c:v>21806.28</c:v>
                </c:pt>
                <c:pt idx="2870">
                  <c:v>21806.28</c:v>
                </c:pt>
                <c:pt idx="2871">
                  <c:v>21806.28</c:v>
                </c:pt>
                <c:pt idx="2872">
                  <c:v>21806.28</c:v>
                </c:pt>
                <c:pt idx="2873">
                  <c:v>21806.28</c:v>
                </c:pt>
                <c:pt idx="2874">
                  <c:v>21806.28</c:v>
                </c:pt>
                <c:pt idx="2875">
                  <c:v>21806.28</c:v>
                </c:pt>
                <c:pt idx="2876">
                  <c:v>21806.28</c:v>
                </c:pt>
                <c:pt idx="2877">
                  <c:v>21806.28</c:v>
                </c:pt>
                <c:pt idx="2878">
                  <c:v>21806.28</c:v>
                </c:pt>
                <c:pt idx="2879">
                  <c:v>21806.28</c:v>
                </c:pt>
                <c:pt idx="2880">
                  <c:v>21806.28</c:v>
                </c:pt>
                <c:pt idx="2881">
                  <c:v>21806.28</c:v>
                </c:pt>
                <c:pt idx="2882">
                  <c:v>21806.28</c:v>
                </c:pt>
                <c:pt idx="2883">
                  <c:v>21806.28</c:v>
                </c:pt>
                <c:pt idx="2884">
                  <c:v>21806.28</c:v>
                </c:pt>
                <c:pt idx="2885">
                  <c:v>21806.28</c:v>
                </c:pt>
                <c:pt idx="2886">
                  <c:v>21806.28</c:v>
                </c:pt>
                <c:pt idx="2887">
                  <c:v>21806.28</c:v>
                </c:pt>
                <c:pt idx="2888">
                  <c:v>21806.28</c:v>
                </c:pt>
                <c:pt idx="2889">
                  <c:v>21806.28</c:v>
                </c:pt>
                <c:pt idx="2890">
                  <c:v>21806.28</c:v>
                </c:pt>
                <c:pt idx="2891">
                  <c:v>21806.28</c:v>
                </c:pt>
                <c:pt idx="2892">
                  <c:v>21806.28</c:v>
                </c:pt>
                <c:pt idx="2893">
                  <c:v>21806.28</c:v>
                </c:pt>
                <c:pt idx="2894">
                  <c:v>21806.28</c:v>
                </c:pt>
                <c:pt idx="2895">
                  <c:v>21806.28</c:v>
                </c:pt>
                <c:pt idx="2896">
                  <c:v>21806.28</c:v>
                </c:pt>
                <c:pt idx="2897">
                  <c:v>21806.28</c:v>
                </c:pt>
                <c:pt idx="2898">
                  <c:v>21806.28</c:v>
                </c:pt>
                <c:pt idx="2899">
                  <c:v>21806.28</c:v>
                </c:pt>
                <c:pt idx="2900">
                  <c:v>21806.28</c:v>
                </c:pt>
                <c:pt idx="2901">
                  <c:v>21806.28</c:v>
                </c:pt>
                <c:pt idx="2902">
                  <c:v>21806.28</c:v>
                </c:pt>
                <c:pt idx="2903">
                  <c:v>21806.28</c:v>
                </c:pt>
                <c:pt idx="2904">
                  <c:v>21806.28</c:v>
                </c:pt>
                <c:pt idx="2905">
                  <c:v>21806.28</c:v>
                </c:pt>
                <c:pt idx="2906">
                  <c:v>21806.28</c:v>
                </c:pt>
                <c:pt idx="2907">
                  <c:v>21806.28</c:v>
                </c:pt>
                <c:pt idx="2908">
                  <c:v>21806.28</c:v>
                </c:pt>
                <c:pt idx="2909">
                  <c:v>21806.28</c:v>
                </c:pt>
                <c:pt idx="2910">
                  <c:v>21806.28</c:v>
                </c:pt>
                <c:pt idx="2911">
                  <c:v>21806.28</c:v>
                </c:pt>
                <c:pt idx="2912">
                  <c:v>21806.28</c:v>
                </c:pt>
                <c:pt idx="2913">
                  <c:v>21806.28</c:v>
                </c:pt>
                <c:pt idx="2914">
                  <c:v>21806.28</c:v>
                </c:pt>
                <c:pt idx="2915">
                  <c:v>21806.28</c:v>
                </c:pt>
                <c:pt idx="2916">
                  <c:v>21806.28</c:v>
                </c:pt>
                <c:pt idx="2917">
                  <c:v>21806.28</c:v>
                </c:pt>
                <c:pt idx="2918">
                  <c:v>21806.28</c:v>
                </c:pt>
                <c:pt idx="2919">
                  <c:v>21806.28</c:v>
                </c:pt>
                <c:pt idx="2920">
                  <c:v>21806.28</c:v>
                </c:pt>
                <c:pt idx="2921">
                  <c:v>21806.28</c:v>
                </c:pt>
                <c:pt idx="2922">
                  <c:v>21806.28</c:v>
                </c:pt>
                <c:pt idx="2923">
                  <c:v>21806.28</c:v>
                </c:pt>
                <c:pt idx="2924">
                  <c:v>21806.28</c:v>
                </c:pt>
                <c:pt idx="2925">
                  <c:v>21806.28</c:v>
                </c:pt>
                <c:pt idx="2926">
                  <c:v>21806.28</c:v>
                </c:pt>
                <c:pt idx="2927">
                  <c:v>21806.28</c:v>
                </c:pt>
                <c:pt idx="2928">
                  <c:v>21806.28</c:v>
                </c:pt>
                <c:pt idx="2929">
                  <c:v>21806.28</c:v>
                </c:pt>
                <c:pt idx="2930">
                  <c:v>21806.28</c:v>
                </c:pt>
                <c:pt idx="2931">
                  <c:v>21806.28</c:v>
                </c:pt>
                <c:pt idx="2932">
                  <c:v>21806.28</c:v>
                </c:pt>
                <c:pt idx="2933">
                  <c:v>21806.28</c:v>
                </c:pt>
                <c:pt idx="2934">
                  <c:v>21806.28</c:v>
                </c:pt>
                <c:pt idx="2935">
                  <c:v>21806.28</c:v>
                </c:pt>
                <c:pt idx="2936">
                  <c:v>21806.28</c:v>
                </c:pt>
                <c:pt idx="2937">
                  <c:v>21806.28</c:v>
                </c:pt>
                <c:pt idx="2938">
                  <c:v>21806.28</c:v>
                </c:pt>
                <c:pt idx="2939">
                  <c:v>21806.28</c:v>
                </c:pt>
                <c:pt idx="2940">
                  <c:v>21806.28</c:v>
                </c:pt>
                <c:pt idx="2941">
                  <c:v>20650.43</c:v>
                </c:pt>
                <c:pt idx="2942">
                  <c:v>20650.43</c:v>
                </c:pt>
                <c:pt idx="2943">
                  <c:v>20650.43</c:v>
                </c:pt>
                <c:pt idx="2944">
                  <c:v>20650.43</c:v>
                </c:pt>
                <c:pt idx="2945">
                  <c:v>20650.43</c:v>
                </c:pt>
                <c:pt idx="2946">
                  <c:v>20650.43</c:v>
                </c:pt>
                <c:pt idx="2947">
                  <c:v>20650.43</c:v>
                </c:pt>
                <c:pt idx="2948">
                  <c:v>20650.43</c:v>
                </c:pt>
                <c:pt idx="2949">
                  <c:v>20650.43</c:v>
                </c:pt>
                <c:pt idx="2950">
                  <c:v>20650.43</c:v>
                </c:pt>
                <c:pt idx="2951">
                  <c:v>20650.43</c:v>
                </c:pt>
                <c:pt idx="2952">
                  <c:v>20650.43</c:v>
                </c:pt>
                <c:pt idx="2953">
                  <c:v>20650.43</c:v>
                </c:pt>
                <c:pt idx="2954">
                  <c:v>20650.43</c:v>
                </c:pt>
                <c:pt idx="2955">
                  <c:v>20650.43</c:v>
                </c:pt>
                <c:pt idx="2956">
                  <c:v>20650.43</c:v>
                </c:pt>
                <c:pt idx="2957">
                  <c:v>20650.43</c:v>
                </c:pt>
                <c:pt idx="2958">
                  <c:v>20650.43</c:v>
                </c:pt>
                <c:pt idx="2959">
                  <c:v>20650.43</c:v>
                </c:pt>
                <c:pt idx="2960">
                  <c:v>20650.43</c:v>
                </c:pt>
                <c:pt idx="2961">
                  <c:v>20650.43</c:v>
                </c:pt>
                <c:pt idx="2962">
                  <c:v>20650.43</c:v>
                </c:pt>
                <c:pt idx="2963">
                  <c:v>20650.43</c:v>
                </c:pt>
                <c:pt idx="2964">
                  <c:v>20650.43</c:v>
                </c:pt>
                <c:pt idx="2965">
                  <c:v>20650.43</c:v>
                </c:pt>
                <c:pt idx="2966">
                  <c:v>20650.43</c:v>
                </c:pt>
                <c:pt idx="2967">
                  <c:v>20650.43</c:v>
                </c:pt>
                <c:pt idx="2968">
                  <c:v>20650.43</c:v>
                </c:pt>
                <c:pt idx="2969">
                  <c:v>20650.43</c:v>
                </c:pt>
                <c:pt idx="2970">
                  <c:v>20650.43</c:v>
                </c:pt>
                <c:pt idx="2971">
                  <c:v>20650.43</c:v>
                </c:pt>
                <c:pt idx="2972">
                  <c:v>20650.43</c:v>
                </c:pt>
                <c:pt idx="2973">
                  <c:v>20650.43</c:v>
                </c:pt>
                <c:pt idx="2974">
                  <c:v>20650.43</c:v>
                </c:pt>
                <c:pt idx="2975">
                  <c:v>20650.43</c:v>
                </c:pt>
                <c:pt idx="2976">
                  <c:v>20650.43</c:v>
                </c:pt>
                <c:pt idx="2977">
                  <c:v>20650.43</c:v>
                </c:pt>
                <c:pt idx="2978">
                  <c:v>20650.43</c:v>
                </c:pt>
                <c:pt idx="2979">
                  <c:v>20650.43</c:v>
                </c:pt>
                <c:pt idx="2980">
                  <c:v>20650.43</c:v>
                </c:pt>
                <c:pt idx="2981">
                  <c:v>20650.43</c:v>
                </c:pt>
                <c:pt idx="2982">
                  <c:v>20650.43</c:v>
                </c:pt>
                <c:pt idx="2983">
                  <c:v>20650.43</c:v>
                </c:pt>
                <c:pt idx="2984">
                  <c:v>20650.43</c:v>
                </c:pt>
                <c:pt idx="2985">
                  <c:v>20650.43</c:v>
                </c:pt>
                <c:pt idx="2986">
                  <c:v>20650.43</c:v>
                </c:pt>
                <c:pt idx="2987">
                  <c:v>20650.43</c:v>
                </c:pt>
                <c:pt idx="2988">
                  <c:v>20650.43</c:v>
                </c:pt>
                <c:pt idx="2989">
                  <c:v>20650.43</c:v>
                </c:pt>
                <c:pt idx="2990">
                  <c:v>20650.43</c:v>
                </c:pt>
                <c:pt idx="2991">
                  <c:v>20650.43</c:v>
                </c:pt>
                <c:pt idx="2992">
                  <c:v>20650.43</c:v>
                </c:pt>
                <c:pt idx="2993">
                  <c:v>20650.43</c:v>
                </c:pt>
                <c:pt idx="2994">
                  <c:v>20650.43</c:v>
                </c:pt>
                <c:pt idx="2995">
                  <c:v>20650.43</c:v>
                </c:pt>
                <c:pt idx="2996">
                  <c:v>20650.43</c:v>
                </c:pt>
                <c:pt idx="2997">
                  <c:v>20650.43</c:v>
                </c:pt>
                <c:pt idx="2998">
                  <c:v>20650.43</c:v>
                </c:pt>
                <c:pt idx="2999">
                  <c:v>20650.43</c:v>
                </c:pt>
                <c:pt idx="3000">
                  <c:v>20650.43</c:v>
                </c:pt>
                <c:pt idx="3001">
                  <c:v>20650.43</c:v>
                </c:pt>
                <c:pt idx="3002">
                  <c:v>20650.43</c:v>
                </c:pt>
                <c:pt idx="3003">
                  <c:v>20650.43</c:v>
                </c:pt>
                <c:pt idx="3004">
                  <c:v>20650.43</c:v>
                </c:pt>
                <c:pt idx="3005">
                  <c:v>20650.43</c:v>
                </c:pt>
                <c:pt idx="3006">
                  <c:v>20650.43</c:v>
                </c:pt>
                <c:pt idx="3007">
                  <c:v>20650.43</c:v>
                </c:pt>
                <c:pt idx="3008">
                  <c:v>20650.43</c:v>
                </c:pt>
                <c:pt idx="3009">
                  <c:v>20650.43</c:v>
                </c:pt>
                <c:pt idx="3010">
                  <c:v>20650.43</c:v>
                </c:pt>
                <c:pt idx="3011">
                  <c:v>20650.43</c:v>
                </c:pt>
                <c:pt idx="3012">
                  <c:v>20650.43</c:v>
                </c:pt>
                <c:pt idx="3013">
                  <c:v>20650.43</c:v>
                </c:pt>
                <c:pt idx="3014">
                  <c:v>20650.43</c:v>
                </c:pt>
                <c:pt idx="3015">
                  <c:v>20650.43</c:v>
                </c:pt>
                <c:pt idx="3016">
                  <c:v>20650.43</c:v>
                </c:pt>
                <c:pt idx="3017">
                  <c:v>20650.43</c:v>
                </c:pt>
                <c:pt idx="3018">
                  <c:v>20650.43</c:v>
                </c:pt>
                <c:pt idx="3019">
                  <c:v>20650.43</c:v>
                </c:pt>
                <c:pt idx="3020">
                  <c:v>20650.43</c:v>
                </c:pt>
                <c:pt idx="3021">
                  <c:v>20650.43</c:v>
                </c:pt>
                <c:pt idx="3022">
                  <c:v>20650.43</c:v>
                </c:pt>
                <c:pt idx="3023">
                  <c:v>20650.43</c:v>
                </c:pt>
                <c:pt idx="3024">
                  <c:v>20650.43</c:v>
                </c:pt>
                <c:pt idx="3025">
                  <c:v>20650.43</c:v>
                </c:pt>
                <c:pt idx="3026">
                  <c:v>20650.43</c:v>
                </c:pt>
                <c:pt idx="3027">
                  <c:v>20650.43</c:v>
                </c:pt>
                <c:pt idx="3028">
                  <c:v>20650.43</c:v>
                </c:pt>
                <c:pt idx="3029">
                  <c:v>20650.43</c:v>
                </c:pt>
                <c:pt idx="3030">
                  <c:v>20650.43</c:v>
                </c:pt>
                <c:pt idx="3031">
                  <c:v>20650.43</c:v>
                </c:pt>
                <c:pt idx="3032">
                  <c:v>20650.43</c:v>
                </c:pt>
                <c:pt idx="3033">
                  <c:v>20650.43</c:v>
                </c:pt>
                <c:pt idx="3034">
                  <c:v>20650.43</c:v>
                </c:pt>
                <c:pt idx="3035">
                  <c:v>20650.43</c:v>
                </c:pt>
                <c:pt idx="3036">
                  <c:v>20650.43</c:v>
                </c:pt>
                <c:pt idx="3037">
                  <c:v>20650.43</c:v>
                </c:pt>
                <c:pt idx="3038">
                  <c:v>20650.43</c:v>
                </c:pt>
                <c:pt idx="3039">
                  <c:v>20650.43</c:v>
                </c:pt>
                <c:pt idx="3040">
                  <c:v>20650.43</c:v>
                </c:pt>
                <c:pt idx="3041">
                  <c:v>20650.43</c:v>
                </c:pt>
                <c:pt idx="3042">
                  <c:v>20650.43</c:v>
                </c:pt>
                <c:pt idx="3043">
                  <c:v>20650.43</c:v>
                </c:pt>
                <c:pt idx="3044">
                  <c:v>20650.43</c:v>
                </c:pt>
                <c:pt idx="3045">
                  <c:v>20650.43</c:v>
                </c:pt>
                <c:pt idx="3046">
                  <c:v>20650.43</c:v>
                </c:pt>
                <c:pt idx="3047">
                  <c:v>20650.43</c:v>
                </c:pt>
                <c:pt idx="3048">
                  <c:v>20650.43</c:v>
                </c:pt>
                <c:pt idx="3049">
                  <c:v>20650.43</c:v>
                </c:pt>
                <c:pt idx="3050">
                  <c:v>20650.43</c:v>
                </c:pt>
                <c:pt idx="3051">
                  <c:v>20650.43</c:v>
                </c:pt>
                <c:pt idx="3052">
                  <c:v>20650.43</c:v>
                </c:pt>
                <c:pt idx="3053">
                  <c:v>20650.43</c:v>
                </c:pt>
                <c:pt idx="3054">
                  <c:v>20650.43</c:v>
                </c:pt>
                <c:pt idx="3055">
                  <c:v>20650.43</c:v>
                </c:pt>
                <c:pt idx="3056">
                  <c:v>20650.43</c:v>
                </c:pt>
                <c:pt idx="3057">
                  <c:v>20650.43</c:v>
                </c:pt>
                <c:pt idx="3058">
                  <c:v>20650.43</c:v>
                </c:pt>
                <c:pt idx="3059">
                  <c:v>20650.43</c:v>
                </c:pt>
                <c:pt idx="3060">
                  <c:v>20650.43</c:v>
                </c:pt>
                <c:pt idx="3061">
                  <c:v>20650.43</c:v>
                </c:pt>
                <c:pt idx="3062">
                  <c:v>20650.43</c:v>
                </c:pt>
                <c:pt idx="3063">
                  <c:v>20650.43</c:v>
                </c:pt>
                <c:pt idx="3064">
                  <c:v>20650.43</c:v>
                </c:pt>
                <c:pt idx="3065">
                  <c:v>20650.43</c:v>
                </c:pt>
                <c:pt idx="3066">
                  <c:v>20650.43</c:v>
                </c:pt>
                <c:pt idx="3067">
                  <c:v>20650.43</c:v>
                </c:pt>
              </c:numCache>
            </c:numRef>
          </c:val>
          <c:smooth val="0"/>
          <c:extLst>
            <c:ext xmlns:c16="http://schemas.microsoft.com/office/drawing/2014/chart" uri="{C3380CC4-5D6E-409C-BE32-E72D297353CC}">
              <c16:uniqueId val="{00000002-F5DB-48C1-A897-55CC3048A01F}"/>
            </c:ext>
          </c:extLst>
        </c:ser>
        <c:dLbls>
          <c:showLegendKey val="0"/>
          <c:showVal val="0"/>
          <c:showCatName val="0"/>
          <c:showSerName val="0"/>
          <c:showPercent val="0"/>
          <c:showBubbleSize val="0"/>
        </c:dLbls>
        <c:marker val="1"/>
        <c:smooth val="0"/>
        <c:axId val="659855344"/>
        <c:axId val="1"/>
      </c:lineChart>
      <c:lineChart>
        <c:grouping val="standard"/>
        <c:varyColors val="0"/>
        <c:ser>
          <c:idx val="0"/>
          <c:order val="0"/>
          <c:tx>
            <c:strRef>
              <c:f>Wind!$F$2</c:f>
              <c:strCache>
                <c:ptCount val="1"/>
                <c:pt idx="0">
                  <c:v>CSI 300 Price</c:v>
                </c:pt>
              </c:strCache>
            </c:strRef>
          </c:tx>
          <c:spPr>
            <a:ln w="28575" cap="rnd">
              <a:solidFill>
                <a:schemeClr val="accent1"/>
              </a:solidFill>
              <a:round/>
            </a:ln>
            <a:effectLst/>
          </c:spPr>
          <c:marker>
            <c:symbol val="none"/>
          </c:marker>
          <c:cat>
            <c:numRef>
              <c:f>Wind!$E$3:$E$3070</c:f>
              <c:numCache>
                <c:formatCode>yyyy\-mm\-dd</c:formatCode>
                <c:ptCount val="3068"/>
                <c:pt idx="0" formatCode="m/d/yyyy">
                  <c:v>39419</c:v>
                </c:pt>
                <c:pt idx="1">
                  <c:v>39420</c:v>
                </c:pt>
                <c:pt idx="2">
                  <c:v>39421</c:v>
                </c:pt>
                <c:pt idx="3">
                  <c:v>39422</c:v>
                </c:pt>
                <c:pt idx="4">
                  <c:v>39423</c:v>
                </c:pt>
                <c:pt idx="5">
                  <c:v>39426</c:v>
                </c:pt>
                <c:pt idx="6">
                  <c:v>39427</c:v>
                </c:pt>
                <c:pt idx="7">
                  <c:v>39428</c:v>
                </c:pt>
                <c:pt idx="8">
                  <c:v>39429</c:v>
                </c:pt>
                <c:pt idx="9">
                  <c:v>39430</c:v>
                </c:pt>
                <c:pt idx="10">
                  <c:v>39433</c:v>
                </c:pt>
                <c:pt idx="11">
                  <c:v>39434</c:v>
                </c:pt>
                <c:pt idx="12">
                  <c:v>39435</c:v>
                </c:pt>
                <c:pt idx="13">
                  <c:v>39436</c:v>
                </c:pt>
                <c:pt idx="14">
                  <c:v>39437</c:v>
                </c:pt>
                <c:pt idx="15">
                  <c:v>39440</c:v>
                </c:pt>
                <c:pt idx="16">
                  <c:v>39441</c:v>
                </c:pt>
                <c:pt idx="17">
                  <c:v>39442</c:v>
                </c:pt>
                <c:pt idx="18">
                  <c:v>39443</c:v>
                </c:pt>
                <c:pt idx="19">
                  <c:v>39444</c:v>
                </c:pt>
                <c:pt idx="20">
                  <c:v>39449</c:v>
                </c:pt>
                <c:pt idx="21">
                  <c:v>39450</c:v>
                </c:pt>
                <c:pt idx="22">
                  <c:v>39451</c:v>
                </c:pt>
                <c:pt idx="23">
                  <c:v>39454</c:v>
                </c:pt>
                <c:pt idx="24">
                  <c:v>39455</c:v>
                </c:pt>
                <c:pt idx="25">
                  <c:v>39456</c:v>
                </c:pt>
                <c:pt idx="26">
                  <c:v>39457</c:v>
                </c:pt>
                <c:pt idx="27">
                  <c:v>39458</c:v>
                </c:pt>
                <c:pt idx="28">
                  <c:v>39461</c:v>
                </c:pt>
                <c:pt idx="29">
                  <c:v>39462</c:v>
                </c:pt>
                <c:pt idx="30">
                  <c:v>39463</c:v>
                </c:pt>
                <c:pt idx="31">
                  <c:v>39464</c:v>
                </c:pt>
                <c:pt idx="32">
                  <c:v>39465</c:v>
                </c:pt>
                <c:pt idx="33">
                  <c:v>39468</c:v>
                </c:pt>
                <c:pt idx="34">
                  <c:v>39469</c:v>
                </c:pt>
                <c:pt idx="35">
                  <c:v>39470</c:v>
                </c:pt>
                <c:pt idx="36">
                  <c:v>39471</c:v>
                </c:pt>
                <c:pt idx="37">
                  <c:v>39472</c:v>
                </c:pt>
                <c:pt idx="38">
                  <c:v>39475</c:v>
                </c:pt>
                <c:pt idx="39">
                  <c:v>39476</c:v>
                </c:pt>
                <c:pt idx="40">
                  <c:v>39477</c:v>
                </c:pt>
                <c:pt idx="41">
                  <c:v>39478</c:v>
                </c:pt>
                <c:pt idx="42">
                  <c:v>39479</c:v>
                </c:pt>
                <c:pt idx="43">
                  <c:v>39482</c:v>
                </c:pt>
                <c:pt idx="44">
                  <c:v>39483</c:v>
                </c:pt>
                <c:pt idx="45">
                  <c:v>39491</c:v>
                </c:pt>
                <c:pt idx="46">
                  <c:v>39492</c:v>
                </c:pt>
                <c:pt idx="47">
                  <c:v>39493</c:v>
                </c:pt>
                <c:pt idx="48">
                  <c:v>39496</c:v>
                </c:pt>
                <c:pt idx="49">
                  <c:v>39497</c:v>
                </c:pt>
                <c:pt idx="50">
                  <c:v>39498</c:v>
                </c:pt>
                <c:pt idx="51">
                  <c:v>39499</c:v>
                </c:pt>
                <c:pt idx="52">
                  <c:v>39500</c:v>
                </c:pt>
                <c:pt idx="53">
                  <c:v>39503</c:v>
                </c:pt>
                <c:pt idx="54">
                  <c:v>39504</c:v>
                </c:pt>
                <c:pt idx="55">
                  <c:v>39505</c:v>
                </c:pt>
                <c:pt idx="56">
                  <c:v>39506</c:v>
                </c:pt>
                <c:pt idx="57">
                  <c:v>39507</c:v>
                </c:pt>
                <c:pt idx="58">
                  <c:v>39510</c:v>
                </c:pt>
                <c:pt idx="59">
                  <c:v>39511</c:v>
                </c:pt>
                <c:pt idx="60">
                  <c:v>39512</c:v>
                </c:pt>
                <c:pt idx="61">
                  <c:v>39513</c:v>
                </c:pt>
                <c:pt idx="62">
                  <c:v>39514</c:v>
                </c:pt>
                <c:pt idx="63">
                  <c:v>39517</c:v>
                </c:pt>
                <c:pt idx="64">
                  <c:v>39518</c:v>
                </c:pt>
                <c:pt idx="65">
                  <c:v>39519</c:v>
                </c:pt>
                <c:pt idx="66">
                  <c:v>39520</c:v>
                </c:pt>
                <c:pt idx="67">
                  <c:v>39521</c:v>
                </c:pt>
                <c:pt idx="68">
                  <c:v>39524</c:v>
                </c:pt>
                <c:pt idx="69">
                  <c:v>39525</c:v>
                </c:pt>
                <c:pt idx="70">
                  <c:v>39526</c:v>
                </c:pt>
                <c:pt idx="71">
                  <c:v>39527</c:v>
                </c:pt>
                <c:pt idx="72">
                  <c:v>39528</c:v>
                </c:pt>
                <c:pt idx="73">
                  <c:v>39531</c:v>
                </c:pt>
                <c:pt idx="74">
                  <c:v>39532</c:v>
                </c:pt>
                <c:pt idx="75">
                  <c:v>39533</c:v>
                </c:pt>
                <c:pt idx="76">
                  <c:v>39534</c:v>
                </c:pt>
                <c:pt idx="77">
                  <c:v>39535</c:v>
                </c:pt>
                <c:pt idx="78">
                  <c:v>39538</c:v>
                </c:pt>
                <c:pt idx="79">
                  <c:v>39539</c:v>
                </c:pt>
                <c:pt idx="80">
                  <c:v>39540</c:v>
                </c:pt>
                <c:pt idx="81">
                  <c:v>39541</c:v>
                </c:pt>
                <c:pt idx="82">
                  <c:v>39545</c:v>
                </c:pt>
                <c:pt idx="83">
                  <c:v>39546</c:v>
                </c:pt>
                <c:pt idx="84">
                  <c:v>39547</c:v>
                </c:pt>
                <c:pt idx="85">
                  <c:v>39548</c:v>
                </c:pt>
                <c:pt idx="86">
                  <c:v>39549</c:v>
                </c:pt>
                <c:pt idx="87">
                  <c:v>39552</c:v>
                </c:pt>
                <c:pt idx="88">
                  <c:v>39553</c:v>
                </c:pt>
                <c:pt idx="89">
                  <c:v>39554</c:v>
                </c:pt>
                <c:pt idx="90">
                  <c:v>39555</c:v>
                </c:pt>
                <c:pt idx="91">
                  <c:v>39556</c:v>
                </c:pt>
                <c:pt idx="92">
                  <c:v>39559</c:v>
                </c:pt>
                <c:pt idx="93">
                  <c:v>39560</c:v>
                </c:pt>
                <c:pt idx="94">
                  <c:v>39561</c:v>
                </c:pt>
                <c:pt idx="95">
                  <c:v>39562</c:v>
                </c:pt>
                <c:pt idx="96">
                  <c:v>39563</c:v>
                </c:pt>
                <c:pt idx="97">
                  <c:v>39566</c:v>
                </c:pt>
                <c:pt idx="98">
                  <c:v>39567</c:v>
                </c:pt>
                <c:pt idx="99">
                  <c:v>39568</c:v>
                </c:pt>
                <c:pt idx="100">
                  <c:v>39573</c:v>
                </c:pt>
                <c:pt idx="101">
                  <c:v>39574</c:v>
                </c:pt>
                <c:pt idx="102">
                  <c:v>39575</c:v>
                </c:pt>
                <c:pt idx="103">
                  <c:v>39576</c:v>
                </c:pt>
                <c:pt idx="104">
                  <c:v>39577</c:v>
                </c:pt>
                <c:pt idx="105">
                  <c:v>39580</c:v>
                </c:pt>
                <c:pt idx="106">
                  <c:v>39581</c:v>
                </c:pt>
                <c:pt idx="107">
                  <c:v>39582</c:v>
                </c:pt>
                <c:pt idx="108">
                  <c:v>39583</c:v>
                </c:pt>
                <c:pt idx="109">
                  <c:v>39584</c:v>
                </c:pt>
                <c:pt idx="110">
                  <c:v>39587</c:v>
                </c:pt>
                <c:pt idx="111">
                  <c:v>39588</c:v>
                </c:pt>
                <c:pt idx="112">
                  <c:v>39589</c:v>
                </c:pt>
                <c:pt idx="113">
                  <c:v>39590</c:v>
                </c:pt>
                <c:pt idx="114">
                  <c:v>39591</c:v>
                </c:pt>
                <c:pt idx="115">
                  <c:v>39594</c:v>
                </c:pt>
                <c:pt idx="116">
                  <c:v>39595</c:v>
                </c:pt>
                <c:pt idx="117">
                  <c:v>39596</c:v>
                </c:pt>
                <c:pt idx="118">
                  <c:v>39597</c:v>
                </c:pt>
                <c:pt idx="119">
                  <c:v>39598</c:v>
                </c:pt>
                <c:pt idx="120">
                  <c:v>39601</c:v>
                </c:pt>
                <c:pt idx="121">
                  <c:v>39602</c:v>
                </c:pt>
                <c:pt idx="122">
                  <c:v>39603</c:v>
                </c:pt>
                <c:pt idx="123">
                  <c:v>39604</c:v>
                </c:pt>
                <c:pt idx="124">
                  <c:v>39605</c:v>
                </c:pt>
                <c:pt idx="125">
                  <c:v>39609</c:v>
                </c:pt>
                <c:pt idx="126">
                  <c:v>39610</c:v>
                </c:pt>
                <c:pt idx="127">
                  <c:v>39611</c:v>
                </c:pt>
                <c:pt idx="128">
                  <c:v>39612</c:v>
                </c:pt>
                <c:pt idx="129">
                  <c:v>39615</c:v>
                </c:pt>
                <c:pt idx="130">
                  <c:v>39616</c:v>
                </c:pt>
                <c:pt idx="131">
                  <c:v>39617</c:v>
                </c:pt>
                <c:pt idx="132">
                  <c:v>39618</c:v>
                </c:pt>
                <c:pt idx="133">
                  <c:v>39619</c:v>
                </c:pt>
                <c:pt idx="134">
                  <c:v>39622</c:v>
                </c:pt>
                <c:pt idx="135">
                  <c:v>39623</c:v>
                </c:pt>
                <c:pt idx="136">
                  <c:v>39624</c:v>
                </c:pt>
                <c:pt idx="137">
                  <c:v>39625</c:v>
                </c:pt>
                <c:pt idx="138">
                  <c:v>39626</c:v>
                </c:pt>
                <c:pt idx="139">
                  <c:v>39629</c:v>
                </c:pt>
                <c:pt idx="140">
                  <c:v>39630</c:v>
                </c:pt>
                <c:pt idx="141">
                  <c:v>39631</c:v>
                </c:pt>
                <c:pt idx="142">
                  <c:v>39632</c:v>
                </c:pt>
                <c:pt idx="143">
                  <c:v>39633</c:v>
                </c:pt>
                <c:pt idx="144">
                  <c:v>39636</c:v>
                </c:pt>
                <c:pt idx="145">
                  <c:v>39637</c:v>
                </c:pt>
                <c:pt idx="146">
                  <c:v>39638</c:v>
                </c:pt>
                <c:pt idx="147">
                  <c:v>39639</c:v>
                </c:pt>
                <c:pt idx="148">
                  <c:v>39640</c:v>
                </c:pt>
                <c:pt idx="149">
                  <c:v>39643</c:v>
                </c:pt>
                <c:pt idx="150">
                  <c:v>39644</c:v>
                </c:pt>
                <c:pt idx="151">
                  <c:v>39645</c:v>
                </c:pt>
                <c:pt idx="152">
                  <c:v>39646</c:v>
                </c:pt>
                <c:pt idx="153">
                  <c:v>39647</c:v>
                </c:pt>
                <c:pt idx="154">
                  <c:v>39650</c:v>
                </c:pt>
                <c:pt idx="155">
                  <c:v>39651</c:v>
                </c:pt>
                <c:pt idx="156">
                  <c:v>39652</c:v>
                </c:pt>
                <c:pt idx="157">
                  <c:v>39653</c:v>
                </c:pt>
                <c:pt idx="158">
                  <c:v>39654</c:v>
                </c:pt>
                <c:pt idx="159">
                  <c:v>39657</c:v>
                </c:pt>
                <c:pt idx="160">
                  <c:v>39658</c:v>
                </c:pt>
                <c:pt idx="161">
                  <c:v>39659</c:v>
                </c:pt>
                <c:pt idx="162">
                  <c:v>39660</c:v>
                </c:pt>
                <c:pt idx="163">
                  <c:v>39661</c:v>
                </c:pt>
                <c:pt idx="164">
                  <c:v>39664</c:v>
                </c:pt>
                <c:pt idx="165">
                  <c:v>39665</c:v>
                </c:pt>
                <c:pt idx="166">
                  <c:v>39666</c:v>
                </c:pt>
                <c:pt idx="167">
                  <c:v>39667</c:v>
                </c:pt>
                <c:pt idx="168">
                  <c:v>39668</c:v>
                </c:pt>
                <c:pt idx="169">
                  <c:v>39671</c:v>
                </c:pt>
                <c:pt idx="170">
                  <c:v>39672</c:v>
                </c:pt>
                <c:pt idx="171">
                  <c:v>39673</c:v>
                </c:pt>
                <c:pt idx="172">
                  <c:v>39674</c:v>
                </c:pt>
                <c:pt idx="173">
                  <c:v>39675</c:v>
                </c:pt>
                <c:pt idx="174">
                  <c:v>39678</c:v>
                </c:pt>
                <c:pt idx="175">
                  <c:v>39679</c:v>
                </c:pt>
                <c:pt idx="176">
                  <c:v>39680</c:v>
                </c:pt>
                <c:pt idx="177">
                  <c:v>39681</c:v>
                </c:pt>
                <c:pt idx="178">
                  <c:v>39682</c:v>
                </c:pt>
                <c:pt idx="179">
                  <c:v>39685</c:v>
                </c:pt>
                <c:pt idx="180">
                  <c:v>39686</c:v>
                </c:pt>
                <c:pt idx="181">
                  <c:v>39687</c:v>
                </c:pt>
                <c:pt idx="182">
                  <c:v>39688</c:v>
                </c:pt>
                <c:pt idx="183">
                  <c:v>39689</c:v>
                </c:pt>
                <c:pt idx="184">
                  <c:v>39692</c:v>
                </c:pt>
                <c:pt idx="185">
                  <c:v>39693</c:v>
                </c:pt>
                <c:pt idx="186">
                  <c:v>39694</c:v>
                </c:pt>
                <c:pt idx="187">
                  <c:v>39695</c:v>
                </c:pt>
                <c:pt idx="188">
                  <c:v>39696</c:v>
                </c:pt>
                <c:pt idx="189">
                  <c:v>39699</c:v>
                </c:pt>
                <c:pt idx="190">
                  <c:v>39700</c:v>
                </c:pt>
                <c:pt idx="191">
                  <c:v>39701</c:v>
                </c:pt>
                <c:pt idx="192">
                  <c:v>39702</c:v>
                </c:pt>
                <c:pt idx="193">
                  <c:v>39703</c:v>
                </c:pt>
                <c:pt idx="194">
                  <c:v>39707</c:v>
                </c:pt>
                <c:pt idx="195">
                  <c:v>39708</c:v>
                </c:pt>
                <c:pt idx="196">
                  <c:v>39709</c:v>
                </c:pt>
                <c:pt idx="197">
                  <c:v>39710</c:v>
                </c:pt>
                <c:pt idx="198">
                  <c:v>39713</c:v>
                </c:pt>
                <c:pt idx="199">
                  <c:v>39714</c:v>
                </c:pt>
                <c:pt idx="200">
                  <c:v>39715</c:v>
                </c:pt>
                <c:pt idx="201">
                  <c:v>39716</c:v>
                </c:pt>
                <c:pt idx="202">
                  <c:v>39717</c:v>
                </c:pt>
                <c:pt idx="203">
                  <c:v>39727</c:v>
                </c:pt>
                <c:pt idx="204">
                  <c:v>39728</c:v>
                </c:pt>
                <c:pt idx="205">
                  <c:v>39729</c:v>
                </c:pt>
                <c:pt idx="206">
                  <c:v>39730</c:v>
                </c:pt>
                <c:pt idx="207">
                  <c:v>39731</c:v>
                </c:pt>
                <c:pt idx="208">
                  <c:v>39734</c:v>
                </c:pt>
                <c:pt idx="209">
                  <c:v>39735</c:v>
                </c:pt>
                <c:pt idx="210">
                  <c:v>39736</c:v>
                </c:pt>
                <c:pt idx="211">
                  <c:v>39737</c:v>
                </c:pt>
                <c:pt idx="212">
                  <c:v>39738</c:v>
                </c:pt>
                <c:pt idx="213">
                  <c:v>39741</c:v>
                </c:pt>
                <c:pt idx="214">
                  <c:v>39742</c:v>
                </c:pt>
                <c:pt idx="215">
                  <c:v>39743</c:v>
                </c:pt>
                <c:pt idx="216">
                  <c:v>39744</c:v>
                </c:pt>
                <c:pt idx="217">
                  <c:v>39745</c:v>
                </c:pt>
                <c:pt idx="218">
                  <c:v>39748</c:v>
                </c:pt>
                <c:pt idx="219">
                  <c:v>39749</c:v>
                </c:pt>
                <c:pt idx="220">
                  <c:v>39750</c:v>
                </c:pt>
                <c:pt idx="221">
                  <c:v>39751</c:v>
                </c:pt>
                <c:pt idx="222">
                  <c:v>39752</c:v>
                </c:pt>
                <c:pt idx="223">
                  <c:v>39755</c:v>
                </c:pt>
                <c:pt idx="224">
                  <c:v>39756</c:v>
                </c:pt>
                <c:pt idx="225">
                  <c:v>39757</c:v>
                </c:pt>
                <c:pt idx="226">
                  <c:v>39758</c:v>
                </c:pt>
                <c:pt idx="227">
                  <c:v>39759</c:v>
                </c:pt>
                <c:pt idx="228">
                  <c:v>39762</c:v>
                </c:pt>
                <c:pt idx="229">
                  <c:v>39763</c:v>
                </c:pt>
                <c:pt idx="230">
                  <c:v>39764</c:v>
                </c:pt>
                <c:pt idx="231">
                  <c:v>39765</c:v>
                </c:pt>
                <c:pt idx="232">
                  <c:v>39766</c:v>
                </c:pt>
                <c:pt idx="233">
                  <c:v>39769</c:v>
                </c:pt>
                <c:pt idx="234">
                  <c:v>39770</c:v>
                </c:pt>
                <c:pt idx="235">
                  <c:v>39771</c:v>
                </c:pt>
                <c:pt idx="236">
                  <c:v>39772</c:v>
                </c:pt>
                <c:pt idx="237">
                  <c:v>39773</c:v>
                </c:pt>
                <c:pt idx="238">
                  <c:v>39776</c:v>
                </c:pt>
                <c:pt idx="239">
                  <c:v>39777</c:v>
                </c:pt>
                <c:pt idx="240">
                  <c:v>39778</c:v>
                </c:pt>
                <c:pt idx="241">
                  <c:v>39779</c:v>
                </c:pt>
                <c:pt idx="242">
                  <c:v>39780</c:v>
                </c:pt>
                <c:pt idx="243">
                  <c:v>39783</c:v>
                </c:pt>
                <c:pt idx="244">
                  <c:v>39784</c:v>
                </c:pt>
                <c:pt idx="245">
                  <c:v>39785</c:v>
                </c:pt>
                <c:pt idx="246">
                  <c:v>39786</c:v>
                </c:pt>
                <c:pt idx="247">
                  <c:v>39787</c:v>
                </c:pt>
                <c:pt idx="248">
                  <c:v>39790</c:v>
                </c:pt>
                <c:pt idx="249">
                  <c:v>39791</c:v>
                </c:pt>
                <c:pt idx="250">
                  <c:v>39792</c:v>
                </c:pt>
                <c:pt idx="251">
                  <c:v>39793</c:v>
                </c:pt>
                <c:pt idx="252">
                  <c:v>39794</c:v>
                </c:pt>
                <c:pt idx="253">
                  <c:v>39797</c:v>
                </c:pt>
                <c:pt idx="254">
                  <c:v>39798</c:v>
                </c:pt>
                <c:pt idx="255">
                  <c:v>39799</c:v>
                </c:pt>
                <c:pt idx="256">
                  <c:v>39800</c:v>
                </c:pt>
                <c:pt idx="257">
                  <c:v>39801</c:v>
                </c:pt>
                <c:pt idx="258">
                  <c:v>39804</c:v>
                </c:pt>
                <c:pt idx="259">
                  <c:v>39805</c:v>
                </c:pt>
                <c:pt idx="260">
                  <c:v>39806</c:v>
                </c:pt>
                <c:pt idx="261">
                  <c:v>39807</c:v>
                </c:pt>
                <c:pt idx="262">
                  <c:v>39808</c:v>
                </c:pt>
                <c:pt idx="263">
                  <c:v>39811</c:v>
                </c:pt>
                <c:pt idx="264">
                  <c:v>39812</c:v>
                </c:pt>
                <c:pt idx="265">
                  <c:v>39813</c:v>
                </c:pt>
                <c:pt idx="266">
                  <c:v>39818</c:v>
                </c:pt>
                <c:pt idx="267">
                  <c:v>39819</c:v>
                </c:pt>
                <c:pt idx="268">
                  <c:v>39820</c:v>
                </c:pt>
                <c:pt idx="269">
                  <c:v>39821</c:v>
                </c:pt>
                <c:pt idx="270">
                  <c:v>39822</c:v>
                </c:pt>
                <c:pt idx="271">
                  <c:v>39825</c:v>
                </c:pt>
                <c:pt idx="272">
                  <c:v>39826</c:v>
                </c:pt>
                <c:pt idx="273">
                  <c:v>39827</c:v>
                </c:pt>
                <c:pt idx="274">
                  <c:v>39828</c:v>
                </c:pt>
                <c:pt idx="275">
                  <c:v>39829</c:v>
                </c:pt>
                <c:pt idx="276">
                  <c:v>39832</c:v>
                </c:pt>
                <c:pt idx="277">
                  <c:v>39833</c:v>
                </c:pt>
                <c:pt idx="278">
                  <c:v>39834</c:v>
                </c:pt>
                <c:pt idx="279">
                  <c:v>39835</c:v>
                </c:pt>
                <c:pt idx="280">
                  <c:v>39836</c:v>
                </c:pt>
                <c:pt idx="281">
                  <c:v>39846</c:v>
                </c:pt>
                <c:pt idx="282">
                  <c:v>39847</c:v>
                </c:pt>
                <c:pt idx="283">
                  <c:v>39848</c:v>
                </c:pt>
                <c:pt idx="284">
                  <c:v>39849</c:v>
                </c:pt>
                <c:pt idx="285">
                  <c:v>39850</c:v>
                </c:pt>
                <c:pt idx="286">
                  <c:v>39853</c:v>
                </c:pt>
                <c:pt idx="287">
                  <c:v>39854</c:v>
                </c:pt>
                <c:pt idx="288">
                  <c:v>39855</c:v>
                </c:pt>
                <c:pt idx="289">
                  <c:v>39856</c:v>
                </c:pt>
                <c:pt idx="290">
                  <c:v>39857</c:v>
                </c:pt>
                <c:pt idx="291">
                  <c:v>39860</c:v>
                </c:pt>
                <c:pt idx="292">
                  <c:v>39861</c:v>
                </c:pt>
                <c:pt idx="293">
                  <c:v>39862</c:v>
                </c:pt>
                <c:pt idx="294">
                  <c:v>39863</c:v>
                </c:pt>
                <c:pt idx="295">
                  <c:v>39864</c:v>
                </c:pt>
                <c:pt idx="296">
                  <c:v>39867</c:v>
                </c:pt>
                <c:pt idx="297">
                  <c:v>39868</c:v>
                </c:pt>
                <c:pt idx="298">
                  <c:v>39869</c:v>
                </c:pt>
                <c:pt idx="299">
                  <c:v>39870</c:v>
                </c:pt>
                <c:pt idx="300">
                  <c:v>39871</c:v>
                </c:pt>
                <c:pt idx="301">
                  <c:v>39874</c:v>
                </c:pt>
                <c:pt idx="302">
                  <c:v>39875</c:v>
                </c:pt>
                <c:pt idx="303">
                  <c:v>39876</c:v>
                </c:pt>
                <c:pt idx="304">
                  <c:v>39877</c:v>
                </c:pt>
                <c:pt idx="305">
                  <c:v>39878</c:v>
                </c:pt>
                <c:pt idx="306">
                  <c:v>39881</c:v>
                </c:pt>
                <c:pt idx="307">
                  <c:v>39882</c:v>
                </c:pt>
                <c:pt idx="308">
                  <c:v>39883</c:v>
                </c:pt>
                <c:pt idx="309">
                  <c:v>39884</c:v>
                </c:pt>
                <c:pt idx="310">
                  <c:v>39885</c:v>
                </c:pt>
                <c:pt idx="311">
                  <c:v>39888</c:v>
                </c:pt>
                <c:pt idx="312">
                  <c:v>39889</c:v>
                </c:pt>
                <c:pt idx="313">
                  <c:v>39890</c:v>
                </c:pt>
                <c:pt idx="314">
                  <c:v>39891</c:v>
                </c:pt>
                <c:pt idx="315">
                  <c:v>39892</c:v>
                </c:pt>
                <c:pt idx="316">
                  <c:v>39895</c:v>
                </c:pt>
                <c:pt idx="317">
                  <c:v>39896</c:v>
                </c:pt>
                <c:pt idx="318">
                  <c:v>39897</c:v>
                </c:pt>
                <c:pt idx="319">
                  <c:v>39898</c:v>
                </c:pt>
                <c:pt idx="320">
                  <c:v>39899</c:v>
                </c:pt>
                <c:pt idx="321">
                  <c:v>39902</c:v>
                </c:pt>
                <c:pt idx="322">
                  <c:v>39903</c:v>
                </c:pt>
                <c:pt idx="323">
                  <c:v>39904</c:v>
                </c:pt>
                <c:pt idx="324">
                  <c:v>39905</c:v>
                </c:pt>
                <c:pt idx="325">
                  <c:v>39906</c:v>
                </c:pt>
                <c:pt idx="326">
                  <c:v>39910</c:v>
                </c:pt>
                <c:pt idx="327">
                  <c:v>39911</c:v>
                </c:pt>
                <c:pt idx="328">
                  <c:v>39912</c:v>
                </c:pt>
                <c:pt idx="329">
                  <c:v>39913</c:v>
                </c:pt>
                <c:pt idx="330">
                  <c:v>39916</c:v>
                </c:pt>
                <c:pt idx="331">
                  <c:v>39917</c:v>
                </c:pt>
                <c:pt idx="332">
                  <c:v>39918</c:v>
                </c:pt>
                <c:pt idx="333">
                  <c:v>39919</c:v>
                </c:pt>
                <c:pt idx="334">
                  <c:v>39920</c:v>
                </c:pt>
                <c:pt idx="335">
                  <c:v>39923</c:v>
                </c:pt>
                <c:pt idx="336">
                  <c:v>39924</c:v>
                </c:pt>
                <c:pt idx="337">
                  <c:v>39925</c:v>
                </c:pt>
                <c:pt idx="338">
                  <c:v>39926</c:v>
                </c:pt>
                <c:pt idx="339">
                  <c:v>39927</c:v>
                </c:pt>
                <c:pt idx="340">
                  <c:v>39930</c:v>
                </c:pt>
                <c:pt idx="341">
                  <c:v>39931</c:v>
                </c:pt>
                <c:pt idx="342">
                  <c:v>39932</c:v>
                </c:pt>
                <c:pt idx="343">
                  <c:v>39933</c:v>
                </c:pt>
                <c:pt idx="344">
                  <c:v>39937</c:v>
                </c:pt>
                <c:pt idx="345">
                  <c:v>39938</c:v>
                </c:pt>
                <c:pt idx="346">
                  <c:v>39939</c:v>
                </c:pt>
                <c:pt idx="347">
                  <c:v>39940</c:v>
                </c:pt>
                <c:pt idx="348">
                  <c:v>39941</c:v>
                </c:pt>
                <c:pt idx="349">
                  <c:v>39944</c:v>
                </c:pt>
                <c:pt idx="350">
                  <c:v>39945</c:v>
                </c:pt>
                <c:pt idx="351">
                  <c:v>39946</c:v>
                </c:pt>
                <c:pt idx="352">
                  <c:v>39947</c:v>
                </c:pt>
                <c:pt idx="353">
                  <c:v>39948</c:v>
                </c:pt>
                <c:pt idx="354">
                  <c:v>39951</c:v>
                </c:pt>
                <c:pt idx="355">
                  <c:v>39952</c:v>
                </c:pt>
                <c:pt idx="356">
                  <c:v>39953</c:v>
                </c:pt>
                <c:pt idx="357">
                  <c:v>39954</c:v>
                </c:pt>
                <c:pt idx="358">
                  <c:v>39955</c:v>
                </c:pt>
                <c:pt idx="359">
                  <c:v>39958</c:v>
                </c:pt>
                <c:pt idx="360">
                  <c:v>39959</c:v>
                </c:pt>
                <c:pt idx="361">
                  <c:v>39960</c:v>
                </c:pt>
                <c:pt idx="362">
                  <c:v>39965</c:v>
                </c:pt>
                <c:pt idx="363">
                  <c:v>39966</c:v>
                </c:pt>
                <c:pt idx="364">
                  <c:v>39967</c:v>
                </c:pt>
                <c:pt idx="365">
                  <c:v>39968</c:v>
                </c:pt>
                <c:pt idx="366">
                  <c:v>39969</c:v>
                </c:pt>
                <c:pt idx="367">
                  <c:v>39972</c:v>
                </c:pt>
                <c:pt idx="368">
                  <c:v>39973</c:v>
                </c:pt>
                <c:pt idx="369">
                  <c:v>39974</c:v>
                </c:pt>
                <c:pt idx="370">
                  <c:v>39975</c:v>
                </c:pt>
                <c:pt idx="371">
                  <c:v>39976</c:v>
                </c:pt>
                <c:pt idx="372">
                  <c:v>39979</c:v>
                </c:pt>
                <c:pt idx="373">
                  <c:v>39980</c:v>
                </c:pt>
                <c:pt idx="374">
                  <c:v>39981</c:v>
                </c:pt>
                <c:pt idx="375">
                  <c:v>39982</c:v>
                </c:pt>
                <c:pt idx="376">
                  <c:v>39983</c:v>
                </c:pt>
                <c:pt idx="377">
                  <c:v>39986</c:v>
                </c:pt>
                <c:pt idx="378">
                  <c:v>39987</c:v>
                </c:pt>
                <c:pt idx="379">
                  <c:v>39988</c:v>
                </c:pt>
                <c:pt idx="380">
                  <c:v>39989</c:v>
                </c:pt>
                <c:pt idx="381">
                  <c:v>39990</c:v>
                </c:pt>
                <c:pt idx="382">
                  <c:v>39993</c:v>
                </c:pt>
                <c:pt idx="383">
                  <c:v>39994</c:v>
                </c:pt>
                <c:pt idx="384">
                  <c:v>39995</c:v>
                </c:pt>
                <c:pt idx="385">
                  <c:v>39996</c:v>
                </c:pt>
                <c:pt idx="386">
                  <c:v>39997</c:v>
                </c:pt>
                <c:pt idx="387">
                  <c:v>40000</c:v>
                </c:pt>
                <c:pt idx="388">
                  <c:v>40001</c:v>
                </c:pt>
                <c:pt idx="389">
                  <c:v>40002</c:v>
                </c:pt>
                <c:pt idx="390">
                  <c:v>40003</c:v>
                </c:pt>
                <c:pt idx="391">
                  <c:v>40004</c:v>
                </c:pt>
                <c:pt idx="392">
                  <c:v>40007</c:v>
                </c:pt>
                <c:pt idx="393">
                  <c:v>40008</c:v>
                </c:pt>
                <c:pt idx="394">
                  <c:v>40009</c:v>
                </c:pt>
                <c:pt idx="395">
                  <c:v>40010</c:v>
                </c:pt>
                <c:pt idx="396">
                  <c:v>40011</c:v>
                </c:pt>
                <c:pt idx="397">
                  <c:v>40014</c:v>
                </c:pt>
                <c:pt idx="398">
                  <c:v>40015</c:v>
                </c:pt>
                <c:pt idx="399">
                  <c:v>40016</c:v>
                </c:pt>
                <c:pt idx="400">
                  <c:v>40017</c:v>
                </c:pt>
                <c:pt idx="401">
                  <c:v>40018</c:v>
                </c:pt>
                <c:pt idx="402">
                  <c:v>40021</c:v>
                </c:pt>
                <c:pt idx="403">
                  <c:v>40022</c:v>
                </c:pt>
                <c:pt idx="404">
                  <c:v>40023</c:v>
                </c:pt>
                <c:pt idx="405">
                  <c:v>40024</c:v>
                </c:pt>
                <c:pt idx="406">
                  <c:v>40025</c:v>
                </c:pt>
                <c:pt idx="407">
                  <c:v>40028</c:v>
                </c:pt>
                <c:pt idx="408">
                  <c:v>40029</c:v>
                </c:pt>
                <c:pt idx="409">
                  <c:v>40030</c:v>
                </c:pt>
                <c:pt idx="410">
                  <c:v>40031</c:v>
                </c:pt>
                <c:pt idx="411">
                  <c:v>40032</c:v>
                </c:pt>
                <c:pt idx="412">
                  <c:v>40035</c:v>
                </c:pt>
                <c:pt idx="413">
                  <c:v>40036</c:v>
                </c:pt>
                <c:pt idx="414">
                  <c:v>40037</c:v>
                </c:pt>
                <c:pt idx="415">
                  <c:v>40038</c:v>
                </c:pt>
                <c:pt idx="416">
                  <c:v>40039</c:v>
                </c:pt>
                <c:pt idx="417">
                  <c:v>40042</c:v>
                </c:pt>
                <c:pt idx="418">
                  <c:v>40043</c:v>
                </c:pt>
                <c:pt idx="419">
                  <c:v>40044</c:v>
                </c:pt>
                <c:pt idx="420">
                  <c:v>40045</c:v>
                </c:pt>
                <c:pt idx="421">
                  <c:v>40046</c:v>
                </c:pt>
                <c:pt idx="422">
                  <c:v>40049</c:v>
                </c:pt>
                <c:pt idx="423">
                  <c:v>40050</c:v>
                </c:pt>
                <c:pt idx="424">
                  <c:v>40051</c:v>
                </c:pt>
                <c:pt idx="425">
                  <c:v>40052</c:v>
                </c:pt>
                <c:pt idx="426">
                  <c:v>40053</c:v>
                </c:pt>
                <c:pt idx="427">
                  <c:v>40056</c:v>
                </c:pt>
                <c:pt idx="428">
                  <c:v>40057</c:v>
                </c:pt>
                <c:pt idx="429">
                  <c:v>40058</c:v>
                </c:pt>
                <c:pt idx="430">
                  <c:v>40059</c:v>
                </c:pt>
                <c:pt idx="431">
                  <c:v>40060</c:v>
                </c:pt>
                <c:pt idx="432">
                  <c:v>40063</c:v>
                </c:pt>
                <c:pt idx="433">
                  <c:v>40064</c:v>
                </c:pt>
                <c:pt idx="434">
                  <c:v>40065</c:v>
                </c:pt>
                <c:pt idx="435">
                  <c:v>40066</c:v>
                </c:pt>
                <c:pt idx="436">
                  <c:v>40067</c:v>
                </c:pt>
                <c:pt idx="437">
                  <c:v>40070</c:v>
                </c:pt>
                <c:pt idx="438">
                  <c:v>40071</c:v>
                </c:pt>
                <c:pt idx="439">
                  <c:v>40072</c:v>
                </c:pt>
                <c:pt idx="440">
                  <c:v>40073</c:v>
                </c:pt>
                <c:pt idx="441">
                  <c:v>40074</c:v>
                </c:pt>
                <c:pt idx="442">
                  <c:v>40077</c:v>
                </c:pt>
                <c:pt idx="443">
                  <c:v>40078</c:v>
                </c:pt>
                <c:pt idx="444">
                  <c:v>40079</c:v>
                </c:pt>
                <c:pt idx="445">
                  <c:v>40080</c:v>
                </c:pt>
                <c:pt idx="446">
                  <c:v>40081</c:v>
                </c:pt>
                <c:pt idx="447">
                  <c:v>40084</c:v>
                </c:pt>
                <c:pt idx="448">
                  <c:v>40085</c:v>
                </c:pt>
                <c:pt idx="449">
                  <c:v>40086</c:v>
                </c:pt>
                <c:pt idx="450">
                  <c:v>40095</c:v>
                </c:pt>
                <c:pt idx="451">
                  <c:v>40098</c:v>
                </c:pt>
                <c:pt idx="452">
                  <c:v>40099</c:v>
                </c:pt>
                <c:pt idx="453">
                  <c:v>40100</c:v>
                </c:pt>
                <c:pt idx="454">
                  <c:v>40101</c:v>
                </c:pt>
                <c:pt idx="455">
                  <c:v>40102</c:v>
                </c:pt>
                <c:pt idx="456">
                  <c:v>40105</c:v>
                </c:pt>
                <c:pt idx="457">
                  <c:v>40106</c:v>
                </c:pt>
                <c:pt idx="458">
                  <c:v>40107</c:v>
                </c:pt>
                <c:pt idx="459">
                  <c:v>40108</c:v>
                </c:pt>
                <c:pt idx="460">
                  <c:v>40109</c:v>
                </c:pt>
                <c:pt idx="461">
                  <c:v>40112</c:v>
                </c:pt>
                <c:pt idx="462">
                  <c:v>40113</c:v>
                </c:pt>
                <c:pt idx="463">
                  <c:v>40114</c:v>
                </c:pt>
                <c:pt idx="464">
                  <c:v>40115</c:v>
                </c:pt>
                <c:pt idx="465">
                  <c:v>40116</c:v>
                </c:pt>
                <c:pt idx="466">
                  <c:v>40119</c:v>
                </c:pt>
                <c:pt idx="467">
                  <c:v>40120</c:v>
                </c:pt>
                <c:pt idx="468">
                  <c:v>40121</c:v>
                </c:pt>
                <c:pt idx="469">
                  <c:v>40122</c:v>
                </c:pt>
                <c:pt idx="470">
                  <c:v>40123</c:v>
                </c:pt>
                <c:pt idx="471">
                  <c:v>40126</c:v>
                </c:pt>
                <c:pt idx="472">
                  <c:v>40127</c:v>
                </c:pt>
                <c:pt idx="473">
                  <c:v>40128</c:v>
                </c:pt>
                <c:pt idx="474">
                  <c:v>40129</c:v>
                </c:pt>
                <c:pt idx="475">
                  <c:v>40130</c:v>
                </c:pt>
                <c:pt idx="476">
                  <c:v>40133</c:v>
                </c:pt>
                <c:pt idx="477">
                  <c:v>40134</c:v>
                </c:pt>
                <c:pt idx="478">
                  <c:v>40135</c:v>
                </c:pt>
                <c:pt idx="479">
                  <c:v>40136</c:v>
                </c:pt>
                <c:pt idx="480">
                  <c:v>40137</c:v>
                </c:pt>
                <c:pt idx="481">
                  <c:v>40140</c:v>
                </c:pt>
                <c:pt idx="482">
                  <c:v>40141</c:v>
                </c:pt>
                <c:pt idx="483">
                  <c:v>40142</c:v>
                </c:pt>
                <c:pt idx="484">
                  <c:v>40143</c:v>
                </c:pt>
                <c:pt idx="485">
                  <c:v>40144</c:v>
                </c:pt>
                <c:pt idx="486">
                  <c:v>40147</c:v>
                </c:pt>
                <c:pt idx="487">
                  <c:v>40148</c:v>
                </c:pt>
                <c:pt idx="488">
                  <c:v>40149</c:v>
                </c:pt>
                <c:pt idx="489">
                  <c:v>40150</c:v>
                </c:pt>
                <c:pt idx="490">
                  <c:v>40151</c:v>
                </c:pt>
                <c:pt idx="491">
                  <c:v>40154</c:v>
                </c:pt>
                <c:pt idx="492">
                  <c:v>40155</c:v>
                </c:pt>
                <c:pt idx="493">
                  <c:v>40156</c:v>
                </c:pt>
                <c:pt idx="494">
                  <c:v>40157</c:v>
                </c:pt>
                <c:pt idx="495">
                  <c:v>40158</c:v>
                </c:pt>
                <c:pt idx="496">
                  <c:v>40161</c:v>
                </c:pt>
                <c:pt idx="497">
                  <c:v>40162</c:v>
                </c:pt>
                <c:pt idx="498">
                  <c:v>40163</c:v>
                </c:pt>
                <c:pt idx="499">
                  <c:v>40164</c:v>
                </c:pt>
                <c:pt idx="500">
                  <c:v>40165</c:v>
                </c:pt>
                <c:pt idx="501">
                  <c:v>40168</c:v>
                </c:pt>
                <c:pt idx="502">
                  <c:v>40169</c:v>
                </c:pt>
                <c:pt idx="503">
                  <c:v>40170</c:v>
                </c:pt>
                <c:pt idx="504">
                  <c:v>40171</c:v>
                </c:pt>
                <c:pt idx="505">
                  <c:v>40172</c:v>
                </c:pt>
                <c:pt idx="506">
                  <c:v>40175</c:v>
                </c:pt>
                <c:pt idx="507">
                  <c:v>40176</c:v>
                </c:pt>
                <c:pt idx="508">
                  <c:v>40177</c:v>
                </c:pt>
                <c:pt idx="509">
                  <c:v>40178</c:v>
                </c:pt>
                <c:pt idx="510">
                  <c:v>40182</c:v>
                </c:pt>
                <c:pt idx="511">
                  <c:v>40183</c:v>
                </c:pt>
                <c:pt idx="512">
                  <c:v>40184</c:v>
                </c:pt>
                <c:pt idx="513">
                  <c:v>40185</c:v>
                </c:pt>
                <c:pt idx="514">
                  <c:v>40186</c:v>
                </c:pt>
                <c:pt idx="515">
                  <c:v>40189</c:v>
                </c:pt>
                <c:pt idx="516">
                  <c:v>40190</c:v>
                </c:pt>
                <c:pt idx="517">
                  <c:v>40191</c:v>
                </c:pt>
                <c:pt idx="518">
                  <c:v>40192</c:v>
                </c:pt>
                <c:pt idx="519">
                  <c:v>40193</c:v>
                </c:pt>
                <c:pt idx="520">
                  <c:v>40196</c:v>
                </c:pt>
                <c:pt idx="521">
                  <c:v>40197</c:v>
                </c:pt>
                <c:pt idx="522">
                  <c:v>40198</c:v>
                </c:pt>
                <c:pt idx="523">
                  <c:v>40199</c:v>
                </c:pt>
                <c:pt idx="524">
                  <c:v>40200</c:v>
                </c:pt>
                <c:pt idx="525">
                  <c:v>40203</c:v>
                </c:pt>
                <c:pt idx="526">
                  <c:v>40204</c:v>
                </c:pt>
                <c:pt idx="527">
                  <c:v>40205</c:v>
                </c:pt>
                <c:pt idx="528">
                  <c:v>40206</c:v>
                </c:pt>
                <c:pt idx="529">
                  <c:v>40207</c:v>
                </c:pt>
                <c:pt idx="530">
                  <c:v>40210</c:v>
                </c:pt>
                <c:pt idx="531">
                  <c:v>40211</c:v>
                </c:pt>
                <c:pt idx="532">
                  <c:v>40212</c:v>
                </c:pt>
                <c:pt idx="533">
                  <c:v>40213</c:v>
                </c:pt>
                <c:pt idx="534">
                  <c:v>40214</c:v>
                </c:pt>
                <c:pt idx="535">
                  <c:v>40217</c:v>
                </c:pt>
                <c:pt idx="536">
                  <c:v>40218</c:v>
                </c:pt>
                <c:pt idx="537">
                  <c:v>40219</c:v>
                </c:pt>
                <c:pt idx="538">
                  <c:v>40220</c:v>
                </c:pt>
                <c:pt idx="539">
                  <c:v>40221</c:v>
                </c:pt>
                <c:pt idx="540">
                  <c:v>40231</c:v>
                </c:pt>
                <c:pt idx="541">
                  <c:v>40232</c:v>
                </c:pt>
                <c:pt idx="542">
                  <c:v>40233</c:v>
                </c:pt>
                <c:pt idx="543">
                  <c:v>40234</c:v>
                </c:pt>
                <c:pt idx="544">
                  <c:v>40235</c:v>
                </c:pt>
                <c:pt idx="545">
                  <c:v>40238</c:v>
                </c:pt>
                <c:pt idx="546">
                  <c:v>40239</c:v>
                </c:pt>
                <c:pt idx="547">
                  <c:v>40240</c:v>
                </c:pt>
                <c:pt idx="548">
                  <c:v>40241</c:v>
                </c:pt>
                <c:pt idx="549">
                  <c:v>40242</c:v>
                </c:pt>
                <c:pt idx="550">
                  <c:v>40245</c:v>
                </c:pt>
                <c:pt idx="551">
                  <c:v>40246</c:v>
                </c:pt>
                <c:pt idx="552">
                  <c:v>40247</c:v>
                </c:pt>
                <c:pt idx="553">
                  <c:v>40248</c:v>
                </c:pt>
                <c:pt idx="554">
                  <c:v>40249</c:v>
                </c:pt>
                <c:pt idx="555">
                  <c:v>40252</c:v>
                </c:pt>
                <c:pt idx="556">
                  <c:v>40253</c:v>
                </c:pt>
                <c:pt idx="557">
                  <c:v>40254</c:v>
                </c:pt>
                <c:pt idx="558">
                  <c:v>40255</c:v>
                </c:pt>
                <c:pt idx="559">
                  <c:v>40256</c:v>
                </c:pt>
                <c:pt idx="560">
                  <c:v>40259</c:v>
                </c:pt>
                <c:pt idx="561">
                  <c:v>40260</c:v>
                </c:pt>
                <c:pt idx="562">
                  <c:v>40261</c:v>
                </c:pt>
                <c:pt idx="563">
                  <c:v>40262</c:v>
                </c:pt>
                <c:pt idx="564">
                  <c:v>40263</c:v>
                </c:pt>
                <c:pt idx="565">
                  <c:v>40266</c:v>
                </c:pt>
                <c:pt idx="566">
                  <c:v>40267</c:v>
                </c:pt>
                <c:pt idx="567">
                  <c:v>40268</c:v>
                </c:pt>
                <c:pt idx="568">
                  <c:v>40269</c:v>
                </c:pt>
                <c:pt idx="569">
                  <c:v>40270</c:v>
                </c:pt>
                <c:pt idx="570">
                  <c:v>40274</c:v>
                </c:pt>
                <c:pt idx="571">
                  <c:v>40275</c:v>
                </c:pt>
                <c:pt idx="572">
                  <c:v>40276</c:v>
                </c:pt>
                <c:pt idx="573">
                  <c:v>40277</c:v>
                </c:pt>
                <c:pt idx="574">
                  <c:v>40280</c:v>
                </c:pt>
                <c:pt idx="575">
                  <c:v>40281</c:v>
                </c:pt>
                <c:pt idx="576">
                  <c:v>40282</c:v>
                </c:pt>
                <c:pt idx="577">
                  <c:v>40283</c:v>
                </c:pt>
                <c:pt idx="578">
                  <c:v>40284</c:v>
                </c:pt>
                <c:pt idx="579">
                  <c:v>40287</c:v>
                </c:pt>
                <c:pt idx="580">
                  <c:v>40288</c:v>
                </c:pt>
                <c:pt idx="581">
                  <c:v>40289</c:v>
                </c:pt>
                <c:pt idx="582">
                  <c:v>40290</c:v>
                </c:pt>
                <c:pt idx="583">
                  <c:v>40291</c:v>
                </c:pt>
                <c:pt idx="584">
                  <c:v>40294</c:v>
                </c:pt>
                <c:pt idx="585">
                  <c:v>40295</c:v>
                </c:pt>
                <c:pt idx="586">
                  <c:v>40296</c:v>
                </c:pt>
                <c:pt idx="587">
                  <c:v>40297</c:v>
                </c:pt>
                <c:pt idx="588">
                  <c:v>40298</c:v>
                </c:pt>
                <c:pt idx="589">
                  <c:v>40302</c:v>
                </c:pt>
                <c:pt idx="590">
                  <c:v>40303</c:v>
                </c:pt>
                <c:pt idx="591">
                  <c:v>40304</c:v>
                </c:pt>
                <c:pt idx="592">
                  <c:v>40305</c:v>
                </c:pt>
                <c:pt idx="593">
                  <c:v>40308</c:v>
                </c:pt>
                <c:pt idx="594">
                  <c:v>40309</c:v>
                </c:pt>
                <c:pt idx="595">
                  <c:v>40310</c:v>
                </c:pt>
                <c:pt idx="596">
                  <c:v>40311</c:v>
                </c:pt>
                <c:pt idx="597">
                  <c:v>40312</c:v>
                </c:pt>
                <c:pt idx="598">
                  <c:v>40315</c:v>
                </c:pt>
                <c:pt idx="599">
                  <c:v>40316</c:v>
                </c:pt>
                <c:pt idx="600">
                  <c:v>40317</c:v>
                </c:pt>
                <c:pt idx="601">
                  <c:v>40318</c:v>
                </c:pt>
                <c:pt idx="602">
                  <c:v>40319</c:v>
                </c:pt>
                <c:pt idx="603">
                  <c:v>40322</c:v>
                </c:pt>
                <c:pt idx="604">
                  <c:v>40323</c:v>
                </c:pt>
                <c:pt idx="605">
                  <c:v>40324</c:v>
                </c:pt>
                <c:pt idx="606">
                  <c:v>40325</c:v>
                </c:pt>
                <c:pt idx="607">
                  <c:v>40326</c:v>
                </c:pt>
                <c:pt idx="608">
                  <c:v>40329</c:v>
                </c:pt>
                <c:pt idx="609">
                  <c:v>40330</c:v>
                </c:pt>
                <c:pt idx="610">
                  <c:v>40331</c:v>
                </c:pt>
                <c:pt idx="611">
                  <c:v>40332</c:v>
                </c:pt>
                <c:pt idx="612">
                  <c:v>40333</c:v>
                </c:pt>
                <c:pt idx="613">
                  <c:v>40336</c:v>
                </c:pt>
                <c:pt idx="614">
                  <c:v>40337</c:v>
                </c:pt>
                <c:pt idx="615">
                  <c:v>40338</c:v>
                </c:pt>
                <c:pt idx="616">
                  <c:v>40339</c:v>
                </c:pt>
                <c:pt idx="617">
                  <c:v>40340</c:v>
                </c:pt>
                <c:pt idx="618">
                  <c:v>40346</c:v>
                </c:pt>
                <c:pt idx="619">
                  <c:v>40347</c:v>
                </c:pt>
                <c:pt idx="620">
                  <c:v>40350</c:v>
                </c:pt>
                <c:pt idx="621">
                  <c:v>40351</c:v>
                </c:pt>
                <c:pt idx="622">
                  <c:v>40352</c:v>
                </c:pt>
                <c:pt idx="623">
                  <c:v>40353</c:v>
                </c:pt>
                <c:pt idx="624">
                  <c:v>40354</c:v>
                </c:pt>
                <c:pt idx="625">
                  <c:v>40357</c:v>
                </c:pt>
                <c:pt idx="626">
                  <c:v>40358</c:v>
                </c:pt>
                <c:pt idx="627">
                  <c:v>40359</c:v>
                </c:pt>
                <c:pt idx="628">
                  <c:v>40360</c:v>
                </c:pt>
                <c:pt idx="629">
                  <c:v>40361</c:v>
                </c:pt>
                <c:pt idx="630">
                  <c:v>40364</c:v>
                </c:pt>
                <c:pt idx="631">
                  <c:v>40365</c:v>
                </c:pt>
                <c:pt idx="632">
                  <c:v>40366</c:v>
                </c:pt>
                <c:pt idx="633">
                  <c:v>40367</c:v>
                </c:pt>
                <c:pt idx="634">
                  <c:v>40368</c:v>
                </c:pt>
                <c:pt idx="635">
                  <c:v>40371</c:v>
                </c:pt>
                <c:pt idx="636">
                  <c:v>40372</c:v>
                </c:pt>
                <c:pt idx="637">
                  <c:v>40373</c:v>
                </c:pt>
                <c:pt idx="638">
                  <c:v>40374</c:v>
                </c:pt>
                <c:pt idx="639">
                  <c:v>40375</c:v>
                </c:pt>
                <c:pt idx="640">
                  <c:v>40378</c:v>
                </c:pt>
                <c:pt idx="641">
                  <c:v>40379</c:v>
                </c:pt>
                <c:pt idx="642">
                  <c:v>40380</c:v>
                </c:pt>
                <c:pt idx="643">
                  <c:v>40381</c:v>
                </c:pt>
                <c:pt idx="644">
                  <c:v>40382</c:v>
                </c:pt>
                <c:pt idx="645">
                  <c:v>40385</c:v>
                </c:pt>
                <c:pt idx="646">
                  <c:v>40386</c:v>
                </c:pt>
                <c:pt idx="647">
                  <c:v>40387</c:v>
                </c:pt>
                <c:pt idx="648">
                  <c:v>40388</c:v>
                </c:pt>
                <c:pt idx="649">
                  <c:v>40389</c:v>
                </c:pt>
                <c:pt idx="650">
                  <c:v>40392</c:v>
                </c:pt>
                <c:pt idx="651">
                  <c:v>40393</c:v>
                </c:pt>
                <c:pt idx="652">
                  <c:v>40394</c:v>
                </c:pt>
                <c:pt idx="653">
                  <c:v>40395</c:v>
                </c:pt>
                <c:pt idx="654">
                  <c:v>40396</c:v>
                </c:pt>
                <c:pt idx="655">
                  <c:v>40399</c:v>
                </c:pt>
                <c:pt idx="656">
                  <c:v>40400</c:v>
                </c:pt>
                <c:pt idx="657">
                  <c:v>40401</c:v>
                </c:pt>
                <c:pt idx="658">
                  <c:v>40402</c:v>
                </c:pt>
                <c:pt idx="659">
                  <c:v>40403</c:v>
                </c:pt>
                <c:pt idx="660">
                  <c:v>40406</c:v>
                </c:pt>
                <c:pt idx="661">
                  <c:v>40407</c:v>
                </c:pt>
                <c:pt idx="662">
                  <c:v>40408</c:v>
                </c:pt>
                <c:pt idx="663">
                  <c:v>40409</c:v>
                </c:pt>
                <c:pt idx="664">
                  <c:v>40410</c:v>
                </c:pt>
                <c:pt idx="665">
                  <c:v>40413</c:v>
                </c:pt>
                <c:pt idx="666">
                  <c:v>40414</c:v>
                </c:pt>
                <c:pt idx="667">
                  <c:v>40415</c:v>
                </c:pt>
                <c:pt idx="668">
                  <c:v>40416</c:v>
                </c:pt>
                <c:pt idx="669">
                  <c:v>40417</c:v>
                </c:pt>
                <c:pt idx="670">
                  <c:v>40420</c:v>
                </c:pt>
                <c:pt idx="671">
                  <c:v>40421</c:v>
                </c:pt>
                <c:pt idx="672">
                  <c:v>40422</c:v>
                </c:pt>
                <c:pt idx="673">
                  <c:v>40423</c:v>
                </c:pt>
                <c:pt idx="674">
                  <c:v>40424</c:v>
                </c:pt>
                <c:pt idx="675">
                  <c:v>40427</c:v>
                </c:pt>
                <c:pt idx="676">
                  <c:v>40428</c:v>
                </c:pt>
                <c:pt idx="677">
                  <c:v>40429</c:v>
                </c:pt>
                <c:pt idx="678">
                  <c:v>40430</c:v>
                </c:pt>
                <c:pt idx="679">
                  <c:v>40431</c:v>
                </c:pt>
                <c:pt idx="680">
                  <c:v>40434</c:v>
                </c:pt>
                <c:pt idx="681">
                  <c:v>40435</c:v>
                </c:pt>
                <c:pt idx="682">
                  <c:v>40436</c:v>
                </c:pt>
                <c:pt idx="683">
                  <c:v>40437</c:v>
                </c:pt>
                <c:pt idx="684">
                  <c:v>40438</c:v>
                </c:pt>
                <c:pt idx="685">
                  <c:v>40441</c:v>
                </c:pt>
                <c:pt idx="686">
                  <c:v>40442</c:v>
                </c:pt>
                <c:pt idx="687">
                  <c:v>40448</c:v>
                </c:pt>
                <c:pt idx="688">
                  <c:v>40449</c:v>
                </c:pt>
                <c:pt idx="689">
                  <c:v>40450</c:v>
                </c:pt>
                <c:pt idx="690">
                  <c:v>40451</c:v>
                </c:pt>
                <c:pt idx="691">
                  <c:v>40459</c:v>
                </c:pt>
                <c:pt idx="692">
                  <c:v>40462</c:v>
                </c:pt>
                <c:pt idx="693">
                  <c:v>40463</c:v>
                </c:pt>
                <c:pt idx="694">
                  <c:v>40464</c:v>
                </c:pt>
                <c:pt idx="695">
                  <c:v>40465</c:v>
                </c:pt>
                <c:pt idx="696">
                  <c:v>40466</c:v>
                </c:pt>
                <c:pt idx="697">
                  <c:v>40469</c:v>
                </c:pt>
                <c:pt idx="698">
                  <c:v>40470</c:v>
                </c:pt>
                <c:pt idx="699">
                  <c:v>40471</c:v>
                </c:pt>
                <c:pt idx="700">
                  <c:v>40472</c:v>
                </c:pt>
                <c:pt idx="701">
                  <c:v>40473</c:v>
                </c:pt>
                <c:pt idx="702">
                  <c:v>40476</c:v>
                </c:pt>
                <c:pt idx="703">
                  <c:v>40477</c:v>
                </c:pt>
                <c:pt idx="704">
                  <c:v>40478</c:v>
                </c:pt>
                <c:pt idx="705">
                  <c:v>40479</c:v>
                </c:pt>
                <c:pt idx="706">
                  <c:v>40480</c:v>
                </c:pt>
                <c:pt idx="707">
                  <c:v>40483</c:v>
                </c:pt>
                <c:pt idx="708">
                  <c:v>40484</c:v>
                </c:pt>
                <c:pt idx="709">
                  <c:v>40485</c:v>
                </c:pt>
                <c:pt idx="710">
                  <c:v>40486</c:v>
                </c:pt>
                <c:pt idx="711">
                  <c:v>40487</c:v>
                </c:pt>
                <c:pt idx="712">
                  <c:v>40490</c:v>
                </c:pt>
                <c:pt idx="713">
                  <c:v>40491</c:v>
                </c:pt>
                <c:pt idx="714">
                  <c:v>40492</c:v>
                </c:pt>
                <c:pt idx="715">
                  <c:v>40493</c:v>
                </c:pt>
                <c:pt idx="716">
                  <c:v>40494</c:v>
                </c:pt>
                <c:pt idx="717">
                  <c:v>40497</c:v>
                </c:pt>
                <c:pt idx="718">
                  <c:v>40498</c:v>
                </c:pt>
                <c:pt idx="719">
                  <c:v>40499</c:v>
                </c:pt>
                <c:pt idx="720">
                  <c:v>40500</c:v>
                </c:pt>
                <c:pt idx="721">
                  <c:v>40501</c:v>
                </c:pt>
                <c:pt idx="722">
                  <c:v>40504</c:v>
                </c:pt>
                <c:pt idx="723">
                  <c:v>40505</c:v>
                </c:pt>
                <c:pt idx="724">
                  <c:v>40506</c:v>
                </c:pt>
                <c:pt idx="725">
                  <c:v>40507</c:v>
                </c:pt>
                <c:pt idx="726">
                  <c:v>40508</c:v>
                </c:pt>
                <c:pt idx="727">
                  <c:v>40511</c:v>
                </c:pt>
                <c:pt idx="728">
                  <c:v>40512</c:v>
                </c:pt>
                <c:pt idx="729">
                  <c:v>40513</c:v>
                </c:pt>
                <c:pt idx="730">
                  <c:v>40514</c:v>
                </c:pt>
                <c:pt idx="731">
                  <c:v>40515</c:v>
                </c:pt>
                <c:pt idx="732">
                  <c:v>40518</c:v>
                </c:pt>
                <c:pt idx="733">
                  <c:v>40519</c:v>
                </c:pt>
                <c:pt idx="734">
                  <c:v>40520</c:v>
                </c:pt>
                <c:pt idx="735">
                  <c:v>40521</c:v>
                </c:pt>
                <c:pt idx="736">
                  <c:v>40522</c:v>
                </c:pt>
                <c:pt idx="737">
                  <c:v>40525</c:v>
                </c:pt>
                <c:pt idx="738">
                  <c:v>40526</c:v>
                </c:pt>
                <c:pt idx="739">
                  <c:v>40527</c:v>
                </c:pt>
                <c:pt idx="740">
                  <c:v>40528</c:v>
                </c:pt>
                <c:pt idx="741">
                  <c:v>40529</c:v>
                </c:pt>
                <c:pt idx="742">
                  <c:v>40532</c:v>
                </c:pt>
                <c:pt idx="743">
                  <c:v>40533</c:v>
                </c:pt>
                <c:pt idx="744">
                  <c:v>40534</c:v>
                </c:pt>
                <c:pt idx="745">
                  <c:v>40535</c:v>
                </c:pt>
                <c:pt idx="746">
                  <c:v>40536</c:v>
                </c:pt>
                <c:pt idx="747">
                  <c:v>40539</c:v>
                </c:pt>
                <c:pt idx="748">
                  <c:v>40540</c:v>
                </c:pt>
                <c:pt idx="749">
                  <c:v>40541</c:v>
                </c:pt>
                <c:pt idx="750">
                  <c:v>40542</c:v>
                </c:pt>
                <c:pt idx="751">
                  <c:v>40543</c:v>
                </c:pt>
                <c:pt idx="752">
                  <c:v>40547</c:v>
                </c:pt>
                <c:pt idx="753">
                  <c:v>40548</c:v>
                </c:pt>
                <c:pt idx="754">
                  <c:v>40549</c:v>
                </c:pt>
                <c:pt idx="755">
                  <c:v>40550</c:v>
                </c:pt>
                <c:pt idx="756">
                  <c:v>40553</c:v>
                </c:pt>
                <c:pt idx="757">
                  <c:v>40554</c:v>
                </c:pt>
                <c:pt idx="758">
                  <c:v>40555</c:v>
                </c:pt>
                <c:pt idx="759">
                  <c:v>40556</c:v>
                </c:pt>
                <c:pt idx="760">
                  <c:v>40557</c:v>
                </c:pt>
                <c:pt idx="761">
                  <c:v>40560</c:v>
                </c:pt>
                <c:pt idx="762">
                  <c:v>40561</c:v>
                </c:pt>
                <c:pt idx="763">
                  <c:v>40562</c:v>
                </c:pt>
                <c:pt idx="764">
                  <c:v>40563</c:v>
                </c:pt>
                <c:pt idx="765">
                  <c:v>40564</c:v>
                </c:pt>
                <c:pt idx="766">
                  <c:v>40567</c:v>
                </c:pt>
                <c:pt idx="767">
                  <c:v>40568</c:v>
                </c:pt>
                <c:pt idx="768">
                  <c:v>40569</c:v>
                </c:pt>
                <c:pt idx="769">
                  <c:v>40570</c:v>
                </c:pt>
                <c:pt idx="770">
                  <c:v>40571</c:v>
                </c:pt>
                <c:pt idx="771">
                  <c:v>40574</c:v>
                </c:pt>
                <c:pt idx="772">
                  <c:v>40575</c:v>
                </c:pt>
                <c:pt idx="773">
                  <c:v>40583</c:v>
                </c:pt>
                <c:pt idx="774">
                  <c:v>40584</c:v>
                </c:pt>
                <c:pt idx="775">
                  <c:v>40585</c:v>
                </c:pt>
                <c:pt idx="776">
                  <c:v>40588</c:v>
                </c:pt>
                <c:pt idx="777">
                  <c:v>40589</c:v>
                </c:pt>
                <c:pt idx="778">
                  <c:v>40590</c:v>
                </c:pt>
                <c:pt idx="779">
                  <c:v>40591</c:v>
                </c:pt>
                <c:pt idx="780">
                  <c:v>40592</c:v>
                </c:pt>
                <c:pt idx="781">
                  <c:v>40595</c:v>
                </c:pt>
                <c:pt idx="782">
                  <c:v>40596</c:v>
                </c:pt>
                <c:pt idx="783">
                  <c:v>40597</c:v>
                </c:pt>
                <c:pt idx="784">
                  <c:v>40598</c:v>
                </c:pt>
                <c:pt idx="785">
                  <c:v>40599</c:v>
                </c:pt>
                <c:pt idx="786">
                  <c:v>40602</c:v>
                </c:pt>
                <c:pt idx="787">
                  <c:v>40603</c:v>
                </c:pt>
                <c:pt idx="788">
                  <c:v>40604</c:v>
                </c:pt>
                <c:pt idx="789">
                  <c:v>40605</c:v>
                </c:pt>
                <c:pt idx="790">
                  <c:v>40606</c:v>
                </c:pt>
                <c:pt idx="791">
                  <c:v>40609</c:v>
                </c:pt>
                <c:pt idx="792">
                  <c:v>40610</c:v>
                </c:pt>
                <c:pt idx="793">
                  <c:v>40611</c:v>
                </c:pt>
                <c:pt idx="794">
                  <c:v>40612</c:v>
                </c:pt>
                <c:pt idx="795">
                  <c:v>40613</c:v>
                </c:pt>
                <c:pt idx="796">
                  <c:v>40616</c:v>
                </c:pt>
                <c:pt idx="797">
                  <c:v>40617</c:v>
                </c:pt>
                <c:pt idx="798">
                  <c:v>40618</c:v>
                </c:pt>
                <c:pt idx="799">
                  <c:v>40619</c:v>
                </c:pt>
                <c:pt idx="800">
                  <c:v>40620</c:v>
                </c:pt>
                <c:pt idx="801">
                  <c:v>40623</c:v>
                </c:pt>
                <c:pt idx="802">
                  <c:v>40624</c:v>
                </c:pt>
                <c:pt idx="803">
                  <c:v>40625</c:v>
                </c:pt>
                <c:pt idx="804">
                  <c:v>40626</c:v>
                </c:pt>
                <c:pt idx="805">
                  <c:v>40627</c:v>
                </c:pt>
                <c:pt idx="806">
                  <c:v>40630</c:v>
                </c:pt>
                <c:pt idx="807">
                  <c:v>40631</c:v>
                </c:pt>
                <c:pt idx="808">
                  <c:v>40632</c:v>
                </c:pt>
                <c:pt idx="809">
                  <c:v>40633</c:v>
                </c:pt>
                <c:pt idx="810">
                  <c:v>40634</c:v>
                </c:pt>
                <c:pt idx="811">
                  <c:v>40639</c:v>
                </c:pt>
                <c:pt idx="812">
                  <c:v>40640</c:v>
                </c:pt>
                <c:pt idx="813">
                  <c:v>40641</c:v>
                </c:pt>
                <c:pt idx="814">
                  <c:v>40644</c:v>
                </c:pt>
                <c:pt idx="815">
                  <c:v>40645</c:v>
                </c:pt>
                <c:pt idx="816">
                  <c:v>40646</c:v>
                </c:pt>
                <c:pt idx="817">
                  <c:v>40647</c:v>
                </c:pt>
                <c:pt idx="818">
                  <c:v>40648</c:v>
                </c:pt>
                <c:pt idx="819">
                  <c:v>40651</c:v>
                </c:pt>
                <c:pt idx="820">
                  <c:v>40652</c:v>
                </c:pt>
                <c:pt idx="821">
                  <c:v>40653</c:v>
                </c:pt>
                <c:pt idx="822">
                  <c:v>40654</c:v>
                </c:pt>
                <c:pt idx="823">
                  <c:v>40655</c:v>
                </c:pt>
                <c:pt idx="824">
                  <c:v>40658</c:v>
                </c:pt>
                <c:pt idx="825">
                  <c:v>40659</c:v>
                </c:pt>
                <c:pt idx="826">
                  <c:v>40660</c:v>
                </c:pt>
                <c:pt idx="827">
                  <c:v>40661</c:v>
                </c:pt>
                <c:pt idx="828">
                  <c:v>40662</c:v>
                </c:pt>
                <c:pt idx="829">
                  <c:v>40666</c:v>
                </c:pt>
                <c:pt idx="830">
                  <c:v>40667</c:v>
                </c:pt>
                <c:pt idx="831">
                  <c:v>40668</c:v>
                </c:pt>
                <c:pt idx="832">
                  <c:v>40669</c:v>
                </c:pt>
                <c:pt idx="833">
                  <c:v>40672</c:v>
                </c:pt>
                <c:pt idx="834">
                  <c:v>40673</c:v>
                </c:pt>
                <c:pt idx="835">
                  <c:v>40674</c:v>
                </c:pt>
                <c:pt idx="836">
                  <c:v>40675</c:v>
                </c:pt>
                <c:pt idx="837">
                  <c:v>40676</c:v>
                </c:pt>
                <c:pt idx="838">
                  <c:v>40679</c:v>
                </c:pt>
                <c:pt idx="839">
                  <c:v>40680</c:v>
                </c:pt>
                <c:pt idx="840">
                  <c:v>40681</c:v>
                </c:pt>
                <c:pt idx="841">
                  <c:v>40682</c:v>
                </c:pt>
                <c:pt idx="842">
                  <c:v>40683</c:v>
                </c:pt>
                <c:pt idx="843">
                  <c:v>40686</c:v>
                </c:pt>
                <c:pt idx="844">
                  <c:v>40687</c:v>
                </c:pt>
                <c:pt idx="845">
                  <c:v>40688</c:v>
                </c:pt>
                <c:pt idx="846">
                  <c:v>40689</c:v>
                </c:pt>
                <c:pt idx="847">
                  <c:v>40690</c:v>
                </c:pt>
                <c:pt idx="848">
                  <c:v>40693</c:v>
                </c:pt>
                <c:pt idx="849">
                  <c:v>40694</c:v>
                </c:pt>
                <c:pt idx="850">
                  <c:v>40695</c:v>
                </c:pt>
                <c:pt idx="851">
                  <c:v>40696</c:v>
                </c:pt>
                <c:pt idx="852">
                  <c:v>40697</c:v>
                </c:pt>
                <c:pt idx="853">
                  <c:v>40701</c:v>
                </c:pt>
                <c:pt idx="854">
                  <c:v>40702</c:v>
                </c:pt>
                <c:pt idx="855">
                  <c:v>40703</c:v>
                </c:pt>
                <c:pt idx="856">
                  <c:v>40704</c:v>
                </c:pt>
                <c:pt idx="857">
                  <c:v>40707</c:v>
                </c:pt>
                <c:pt idx="858">
                  <c:v>40708</c:v>
                </c:pt>
                <c:pt idx="859">
                  <c:v>40709</c:v>
                </c:pt>
                <c:pt idx="860">
                  <c:v>40710</c:v>
                </c:pt>
                <c:pt idx="861">
                  <c:v>40711</c:v>
                </c:pt>
                <c:pt idx="862">
                  <c:v>40714</c:v>
                </c:pt>
                <c:pt idx="863">
                  <c:v>40715</c:v>
                </c:pt>
                <c:pt idx="864">
                  <c:v>40716</c:v>
                </c:pt>
                <c:pt idx="865">
                  <c:v>40717</c:v>
                </c:pt>
                <c:pt idx="866">
                  <c:v>40718</c:v>
                </c:pt>
                <c:pt idx="867">
                  <c:v>40721</c:v>
                </c:pt>
                <c:pt idx="868">
                  <c:v>40722</c:v>
                </c:pt>
                <c:pt idx="869">
                  <c:v>40723</c:v>
                </c:pt>
                <c:pt idx="870">
                  <c:v>40724</c:v>
                </c:pt>
                <c:pt idx="871">
                  <c:v>40725</c:v>
                </c:pt>
                <c:pt idx="872">
                  <c:v>40728</c:v>
                </c:pt>
                <c:pt idx="873">
                  <c:v>40729</c:v>
                </c:pt>
                <c:pt idx="874">
                  <c:v>40730</c:v>
                </c:pt>
                <c:pt idx="875">
                  <c:v>40731</c:v>
                </c:pt>
                <c:pt idx="876">
                  <c:v>40732</c:v>
                </c:pt>
                <c:pt idx="877">
                  <c:v>40735</c:v>
                </c:pt>
                <c:pt idx="878">
                  <c:v>40736</c:v>
                </c:pt>
                <c:pt idx="879">
                  <c:v>40737</c:v>
                </c:pt>
                <c:pt idx="880">
                  <c:v>40738</c:v>
                </c:pt>
                <c:pt idx="881">
                  <c:v>40739</c:v>
                </c:pt>
                <c:pt idx="882">
                  <c:v>40742</c:v>
                </c:pt>
                <c:pt idx="883">
                  <c:v>40743</c:v>
                </c:pt>
                <c:pt idx="884">
                  <c:v>40744</c:v>
                </c:pt>
                <c:pt idx="885">
                  <c:v>40745</c:v>
                </c:pt>
                <c:pt idx="886">
                  <c:v>40746</c:v>
                </c:pt>
                <c:pt idx="887">
                  <c:v>40749</c:v>
                </c:pt>
                <c:pt idx="888">
                  <c:v>40750</c:v>
                </c:pt>
                <c:pt idx="889">
                  <c:v>40751</c:v>
                </c:pt>
                <c:pt idx="890">
                  <c:v>40752</c:v>
                </c:pt>
                <c:pt idx="891">
                  <c:v>40753</c:v>
                </c:pt>
                <c:pt idx="892">
                  <c:v>40756</c:v>
                </c:pt>
                <c:pt idx="893">
                  <c:v>40757</c:v>
                </c:pt>
                <c:pt idx="894">
                  <c:v>40758</c:v>
                </c:pt>
                <c:pt idx="895">
                  <c:v>40759</c:v>
                </c:pt>
                <c:pt idx="896">
                  <c:v>40760</c:v>
                </c:pt>
                <c:pt idx="897">
                  <c:v>40763</c:v>
                </c:pt>
                <c:pt idx="898">
                  <c:v>40764</c:v>
                </c:pt>
                <c:pt idx="899">
                  <c:v>40765</c:v>
                </c:pt>
                <c:pt idx="900">
                  <c:v>40766</c:v>
                </c:pt>
                <c:pt idx="901">
                  <c:v>40767</c:v>
                </c:pt>
                <c:pt idx="902">
                  <c:v>40770</c:v>
                </c:pt>
                <c:pt idx="903">
                  <c:v>40771</c:v>
                </c:pt>
                <c:pt idx="904">
                  <c:v>40772</c:v>
                </c:pt>
                <c:pt idx="905">
                  <c:v>40773</c:v>
                </c:pt>
                <c:pt idx="906">
                  <c:v>40774</c:v>
                </c:pt>
                <c:pt idx="907">
                  <c:v>40777</c:v>
                </c:pt>
                <c:pt idx="908">
                  <c:v>40778</c:v>
                </c:pt>
                <c:pt idx="909">
                  <c:v>40779</c:v>
                </c:pt>
                <c:pt idx="910">
                  <c:v>40780</c:v>
                </c:pt>
                <c:pt idx="911">
                  <c:v>40781</c:v>
                </c:pt>
                <c:pt idx="912">
                  <c:v>40784</c:v>
                </c:pt>
                <c:pt idx="913">
                  <c:v>40785</c:v>
                </c:pt>
                <c:pt idx="914">
                  <c:v>40786</c:v>
                </c:pt>
                <c:pt idx="915">
                  <c:v>40787</c:v>
                </c:pt>
                <c:pt idx="916">
                  <c:v>40788</c:v>
                </c:pt>
                <c:pt idx="917">
                  <c:v>40791</c:v>
                </c:pt>
                <c:pt idx="918">
                  <c:v>40792</c:v>
                </c:pt>
                <c:pt idx="919">
                  <c:v>40793</c:v>
                </c:pt>
                <c:pt idx="920">
                  <c:v>40794</c:v>
                </c:pt>
                <c:pt idx="921">
                  <c:v>40795</c:v>
                </c:pt>
                <c:pt idx="922">
                  <c:v>40799</c:v>
                </c:pt>
                <c:pt idx="923">
                  <c:v>40800</c:v>
                </c:pt>
                <c:pt idx="924">
                  <c:v>40801</c:v>
                </c:pt>
                <c:pt idx="925">
                  <c:v>40802</c:v>
                </c:pt>
                <c:pt idx="926">
                  <c:v>40805</c:v>
                </c:pt>
                <c:pt idx="927">
                  <c:v>40806</c:v>
                </c:pt>
                <c:pt idx="928">
                  <c:v>40807</c:v>
                </c:pt>
                <c:pt idx="929">
                  <c:v>40808</c:v>
                </c:pt>
                <c:pt idx="930">
                  <c:v>40809</c:v>
                </c:pt>
                <c:pt idx="931">
                  <c:v>40812</c:v>
                </c:pt>
                <c:pt idx="932">
                  <c:v>40813</c:v>
                </c:pt>
                <c:pt idx="933">
                  <c:v>40814</c:v>
                </c:pt>
                <c:pt idx="934">
                  <c:v>40815</c:v>
                </c:pt>
                <c:pt idx="935">
                  <c:v>40816</c:v>
                </c:pt>
                <c:pt idx="936">
                  <c:v>40826</c:v>
                </c:pt>
                <c:pt idx="937">
                  <c:v>40827</c:v>
                </c:pt>
                <c:pt idx="938">
                  <c:v>40828</c:v>
                </c:pt>
                <c:pt idx="939">
                  <c:v>40829</c:v>
                </c:pt>
                <c:pt idx="940">
                  <c:v>40830</c:v>
                </c:pt>
                <c:pt idx="941">
                  <c:v>40833</c:v>
                </c:pt>
                <c:pt idx="942">
                  <c:v>40834</c:v>
                </c:pt>
                <c:pt idx="943">
                  <c:v>40835</c:v>
                </c:pt>
                <c:pt idx="944">
                  <c:v>40836</c:v>
                </c:pt>
                <c:pt idx="945">
                  <c:v>40837</c:v>
                </c:pt>
                <c:pt idx="946">
                  <c:v>40840</c:v>
                </c:pt>
                <c:pt idx="947">
                  <c:v>40841</c:v>
                </c:pt>
                <c:pt idx="948">
                  <c:v>40842</c:v>
                </c:pt>
                <c:pt idx="949">
                  <c:v>40843</c:v>
                </c:pt>
                <c:pt idx="950">
                  <c:v>40844</c:v>
                </c:pt>
                <c:pt idx="951">
                  <c:v>40847</c:v>
                </c:pt>
                <c:pt idx="952">
                  <c:v>40848</c:v>
                </c:pt>
                <c:pt idx="953">
                  <c:v>40849</c:v>
                </c:pt>
                <c:pt idx="954">
                  <c:v>40850</c:v>
                </c:pt>
                <c:pt idx="955">
                  <c:v>40851</c:v>
                </c:pt>
                <c:pt idx="956">
                  <c:v>40854</c:v>
                </c:pt>
                <c:pt idx="957">
                  <c:v>40855</c:v>
                </c:pt>
                <c:pt idx="958">
                  <c:v>40856</c:v>
                </c:pt>
                <c:pt idx="959">
                  <c:v>40857</c:v>
                </c:pt>
                <c:pt idx="960">
                  <c:v>40858</c:v>
                </c:pt>
                <c:pt idx="961">
                  <c:v>40861</c:v>
                </c:pt>
                <c:pt idx="962">
                  <c:v>40862</c:v>
                </c:pt>
                <c:pt idx="963">
                  <c:v>40863</c:v>
                </c:pt>
                <c:pt idx="964">
                  <c:v>40864</c:v>
                </c:pt>
                <c:pt idx="965">
                  <c:v>40865</c:v>
                </c:pt>
                <c:pt idx="966">
                  <c:v>40868</c:v>
                </c:pt>
                <c:pt idx="967">
                  <c:v>40869</c:v>
                </c:pt>
                <c:pt idx="968">
                  <c:v>40870</c:v>
                </c:pt>
                <c:pt idx="969">
                  <c:v>40871</c:v>
                </c:pt>
                <c:pt idx="970">
                  <c:v>40872</c:v>
                </c:pt>
                <c:pt idx="971">
                  <c:v>40875</c:v>
                </c:pt>
                <c:pt idx="972">
                  <c:v>40876</c:v>
                </c:pt>
                <c:pt idx="973">
                  <c:v>40877</c:v>
                </c:pt>
                <c:pt idx="974">
                  <c:v>40878</c:v>
                </c:pt>
                <c:pt idx="975">
                  <c:v>40879</c:v>
                </c:pt>
                <c:pt idx="976">
                  <c:v>40882</c:v>
                </c:pt>
                <c:pt idx="977">
                  <c:v>40883</c:v>
                </c:pt>
                <c:pt idx="978">
                  <c:v>40884</c:v>
                </c:pt>
                <c:pt idx="979">
                  <c:v>40885</c:v>
                </c:pt>
                <c:pt idx="980">
                  <c:v>40886</c:v>
                </c:pt>
                <c:pt idx="981">
                  <c:v>40889</c:v>
                </c:pt>
                <c:pt idx="982">
                  <c:v>40890</c:v>
                </c:pt>
                <c:pt idx="983">
                  <c:v>40891</c:v>
                </c:pt>
                <c:pt idx="984">
                  <c:v>40892</c:v>
                </c:pt>
                <c:pt idx="985">
                  <c:v>40893</c:v>
                </c:pt>
                <c:pt idx="986">
                  <c:v>40896</c:v>
                </c:pt>
                <c:pt idx="987">
                  <c:v>40897</c:v>
                </c:pt>
                <c:pt idx="988">
                  <c:v>40898</c:v>
                </c:pt>
                <c:pt idx="989">
                  <c:v>40899</c:v>
                </c:pt>
                <c:pt idx="990">
                  <c:v>40900</c:v>
                </c:pt>
                <c:pt idx="991">
                  <c:v>40903</c:v>
                </c:pt>
                <c:pt idx="992">
                  <c:v>40904</c:v>
                </c:pt>
                <c:pt idx="993">
                  <c:v>40905</c:v>
                </c:pt>
                <c:pt idx="994">
                  <c:v>40906</c:v>
                </c:pt>
                <c:pt idx="995">
                  <c:v>40907</c:v>
                </c:pt>
                <c:pt idx="996">
                  <c:v>40912</c:v>
                </c:pt>
                <c:pt idx="997">
                  <c:v>40913</c:v>
                </c:pt>
                <c:pt idx="998">
                  <c:v>40914</c:v>
                </c:pt>
                <c:pt idx="999">
                  <c:v>40917</c:v>
                </c:pt>
                <c:pt idx="1000">
                  <c:v>40918</c:v>
                </c:pt>
                <c:pt idx="1001">
                  <c:v>40919</c:v>
                </c:pt>
                <c:pt idx="1002">
                  <c:v>40920</c:v>
                </c:pt>
                <c:pt idx="1003">
                  <c:v>40921</c:v>
                </c:pt>
                <c:pt idx="1004">
                  <c:v>40924</c:v>
                </c:pt>
                <c:pt idx="1005">
                  <c:v>40925</c:v>
                </c:pt>
                <c:pt idx="1006">
                  <c:v>40926</c:v>
                </c:pt>
                <c:pt idx="1007">
                  <c:v>40927</c:v>
                </c:pt>
                <c:pt idx="1008">
                  <c:v>40928</c:v>
                </c:pt>
                <c:pt idx="1009">
                  <c:v>40938</c:v>
                </c:pt>
                <c:pt idx="1010">
                  <c:v>40939</c:v>
                </c:pt>
                <c:pt idx="1011">
                  <c:v>40940</c:v>
                </c:pt>
                <c:pt idx="1012">
                  <c:v>40941</c:v>
                </c:pt>
                <c:pt idx="1013">
                  <c:v>40942</c:v>
                </c:pt>
                <c:pt idx="1014">
                  <c:v>40945</c:v>
                </c:pt>
                <c:pt idx="1015">
                  <c:v>40946</c:v>
                </c:pt>
                <c:pt idx="1016">
                  <c:v>40947</c:v>
                </c:pt>
                <c:pt idx="1017">
                  <c:v>40948</c:v>
                </c:pt>
                <c:pt idx="1018">
                  <c:v>40949</c:v>
                </c:pt>
                <c:pt idx="1019">
                  <c:v>40952</c:v>
                </c:pt>
                <c:pt idx="1020">
                  <c:v>40953</c:v>
                </c:pt>
                <c:pt idx="1021">
                  <c:v>40954</c:v>
                </c:pt>
                <c:pt idx="1022">
                  <c:v>40955</c:v>
                </c:pt>
                <c:pt idx="1023">
                  <c:v>40956</c:v>
                </c:pt>
                <c:pt idx="1024">
                  <c:v>40959</c:v>
                </c:pt>
                <c:pt idx="1025">
                  <c:v>40960</c:v>
                </c:pt>
                <c:pt idx="1026">
                  <c:v>40961</c:v>
                </c:pt>
                <c:pt idx="1027">
                  <c:v>40962</c:v>
                </c:pt>
                <c:pt idx="1028">
                  <c:v>40963</c:v>
                </c:pt>
                <c:pt idx="1029">
                  <c:v>40966</c:v>
                </c:pt>
                <c:pt idx="1030">
                  <c:v>40967</c:v>
                </c:pt>
                <c:pt idx="1031">
                  <c:v>40968</c:v>
                </c:pt>
                <c:pt idx="1032">
                  <c:v>40969</c:v>
                </c:pt>
                <c:pt idx="1033">
                  <c:v>40970</c:v>
                </c:pt>
                <c:pt idx="1034">
                  <c:v>40973</c:v>
                </c:pt>
                <c:pt idx="1035">
                  <c:v>40974</c:v>
                </c:pt>
                <c:pt idx="1036">
                  <c:v>40975</c:v>
                </c:pt>
                <c:pt idx="1037">
                  <c:v>40976</c:v>
                </c:pt>
                <c:pt idx="1038">
                  <c:v>40977</c:v>
                </c:pt>
                <c:pt idx="1039">
                  <c:v>40980</c:v>
                </c:pt>
                <c:pt idx="1040">
                  <c:v>40981</c:v>
                </c:pt>
                <c:pt idx="1041">
                  <c:v>40982</c:v>
                </c:pt>
                <c:pt idx="1042">
                  <c:v>40983</c:v>
                </c:pt>
                <c:pt idx="1043">
                  <c:v>40984</c:v>
                </c:pt>
                <c:pt idx="1044">
                  <c:v>40987</c:v>
                </c:pt>
                <c:pt idx="1045">
                  <c:v>40988</c:v>
                </c:pt>
                <c:pt idx="1046">
                  <c:v>40989</c:v>
                </c:pt>
                <c:pt idx="1047">
                  <c:v>40990</c:v>
                </c:pt>
                <c:pt idx="1048">
                  <c:v>40991</c:v>
                </c:pt>
                <c:pt idx="1049">
                  <c:v>40994</c:v>
                </c:pt>
                <c:pt idx="1050">
                  <c:v>40995</c:v>
                </c:pt>
                <c:pt idx="1051">
                  <c:v>40996</c:v>
                </c:pt>
                <c:pt idx="1052">
                  <c:v>40997</c:v>
                </c:pt>
                <c:pt idx="1053">
                  <c:v>40998</c:v>
                </c:pt>
                <c:pt idx="1054">
                  <c:v>41004</c:v>
                </c:pt>
                <c:pt idx="1055">
                  <c:v>41005</c:v>
                </c:pt>
                <c:pt idx="1056">
                  <c:v>41008</c:v>
                </c:pt>
                <c:pt idx="1057">
                  <c:v>41009</c:v>
                </c:pt>
                <c:pt idx="1058">
                  <c:v>41010</c:v>
                </c:pt>
                <c:pt idx="1059">
                  <c:v>41011</c:v>
                </c:pt>
                <c:pt idx="1060">
                  <c:v>41012</c:v>
                </c:pt>
                <c:pt idx="1061">
                  <c:v>41015</c:v>
                </c:pt>
                <c:pt idx="1062">
                  <c:v>41016</c:v>
                </c:pt>
                <c:pt idx="1063">
                  <c:v>41017</c:v>
                </c:pt>
                <c:pt idx="1064">
                  <c:v>41018</c:v>
                </c:pt>
                <c:pt idx="1065">
                  <c:v>41019</c:v>
                </c:pt>
                <c:pt idx="1066">
                  <c:v>41022</c:v>
                </c:pt>
                <c:pt idx="1067">
                  <c:v>41023</c:v>
                </c:pt>
                <c:pt idx="1068">
                  <c:v>41024</c:v>
                </c:pt>
                <c:pt idx="1069">
                  <c:v>41025</c:v>
                </c:pt>
                <c:pt idx="1070">
                  <c:v>41026</c:v>
                </c:pt>
                <c:pt idx="1071">
                  <c:v>41031</c:v>
                </c:pt>
                <c:pt idx="1072">
                  <c:v>41032</c:v>
                </c:pt>
                <c:pt idx="1073">
                  <c:v>41033</c:v>
                </c:pt>
                <c:pt idx="1074">
                  <c:v>41036</c:v>
                </c:pt>
                <c:pt idx="1075">
                  <c:v>41037</c:v>
                </c:pt>
                <c:pt idx="1076">
                  <c:v>41038</c:v>
                </c:pt>
                <c:pt idx="1077">
                  <c:v>41039</c:v>
                </c:pt>
                <c:pt idx="1078">
                  <c:v>41040</c:v>
                </c:pt>
                <c:pt idx="1079">
                  <c:v>41043</c:v>
                </c:pt>
                <c:pt idx="1080">
                  <c:v>41044</c:v>
                </c:pt>
                <c:pt idx="1081">
                  <c:v>41045</c:v>
                </c:pt>
                <c:pt idx="1082">
                  <c:v>41046</c:v>
                </c:pt>
                <c:pt idx="1083">
                  <c:v>41047</c:v>
                </c:pt>
                <c:pt idx="1084">
                  <c:v>41050</c:v>
                </c:pt>
                <c:pt idx="1085">
                  <c:v>41051</c:v>
                </c:pt>
                <c:pt idx="1086">
                  <c:v>41052</c:v>
                </c:pt>
                <c:pt idx="1087">
                  <c:v>41053</c:v>
                </c:pt>
                <c:pt idx="1088">
                  <c:v>41054</c:v>
                </c:pt>
                <c:pt idx="1089">
                  <c:v>41057</c:v>
                </c:pt>
                <c:pt idx="1090">
                  <c:v>41058</c:v>
                </c:pt>
                <c:pt idx="1091">
                  <c:v>41059</c:v>
                </c:pt>
                <c:pt idx="1092">
                  <c:v>41060</c:v>
                </c:pt>
                <c:pt idx="1093">
                  <c:v>41061</c:v>
                </c:pt>
                <c:pt idx="1094">
                  <c:v>41064</c:v>
                </c:pt>
                <c:pt idx="1095">
                  <c:v>41065</c:v>
                </c:pt>
                <c:pt idx="1096">
                  <c:v>41066</c:v>
                </c:pt>
                <c:pt idx="1097">
                  <c:v>41067</c:v>
                </c:pt>
                <c:pt idx="1098">
                  <c:v>41068</c:v>
                </c:pt>
                <c:pt idx="1099">
                  <c:v>41071</c:v>
                </c:pt>
                <c:pt idx="1100">
                  <c:v>41072</c:v>
                </c:pt>
                <c:pt idx="1101">
                  <c:v>41073</c:v>
                </c:pt>
                <c:pt idx="1102">
                  <c:v>41074</c:v>
                </c:pt>
                <c:pt idx="1103">
                  <c:v>41075</c:v>
                </c:pt>
                <c:pt idx="1104">
                  <c:v>41078</c:v>
                </c:pt>
                <c:pt idx="1105">
                  <c:v>41079</c:v>
                </c:pt>
                <c:pt idx="1106">
                  <c:v>41080</c:v>
                </c:pt>
                <c:pt idx="1107">
                  <c:v>41081</c:v>
                </c:pt>
                <c:pt idx="1108">
                  <c:v>41085</c:v>
                </c:pt>
                <c:pt idx="1109">
                  <c:v>41086</c:v>
                </c:pt>
                <c:pt idx="1110">
                  <c:v>41087</c:v>
                </c:pt>
                <c:pt idx="1111">
                  <c:v>41088</c:v>
                </c:pt>
                <c:pt idx="1112">
                  <c:v>41089</c:v>
                </c:pt>
                <c:pt idx="1113">
                  <c:v>41092</c:v>
                </c:pt>
                <c:pt idx="1114">
                  <c:v>41093</c:v>
                </c:pt>
                <c:pt idx="1115">
                  <c:v>41094</c:v>
                </c:pt>
                <c:pt idx="1116">
                  <c:v>41095</c:v>
                </c:pt>
                <c:pt idx="1117">
                  <c:v>41096</c:v>
                </c:pt>
                <c:pt idx="1118">
                  <c:v>41099</c:v>
                </c:pt>
                <c:pt idx="1119">
                  <c:v>41100</c:v>
                </c:pt>
                <c:pt idx="1120">
                  <c:v>41101</c:v>
                </c:pt>
                <c:pt idx="1121">
                  <c:v>41102</c:v>
                </c:pt>
                <c:pt idx="1122">
                  <c:v>41103</c:v>
                </c:pt>
                <c:pt idx="1123">
                  <c:v>41106</c:v>
                </c:pt>
                <c:pt idx="1124">
                  <c:v>41107</c:v>
                </c:pt>
                <c:pt idx="1125">
                  <c:v>41108</c:v>
                </c:pt>
                <c:pt idx="1126">
                  <c:v>41109</c:v>
                </c:pt>
                <c:pt idx="1127">
                  <c:v>41110</c:v>
                </c:pt>
                <c:pt idx="1128">
                  <c:v>41113</c:v>
                </c:pt>
                <c:pt idx="1129">
                  <c:v>41114</c:v>
                </c:pt>
                <c:pt idx="1130">
                  <c:v>41115</c:v>
                </c:pt>
                <c:pt idx="1131">
                  <c:v>41116</c:v>
                </c:pt>
                <c:pt idx="1132">
                  <c:v>41117</c:v>
                </c:pt>
                <c:pt idx="1133">
                  <c:v>41120</c:v>
                </c:pt>
                <c:pt idx="1134">
                  <c:v>41121</c:v>
                </c:pt>
                <c:pt idx="1135">
                  <c:v>41122</c:v>
                </c:pt>
                <c:pt idx="1136">
                  <c:v>41123</c:v>
                </c:pt>
                <c:pt idx="1137">
                  <c:v>41124</c:v>
                </c:pt>
                <c:pt idx="1138">
                  <c:v>41127</c:v>
                </c:pt>
                <c:pt idx="1139">
                  <c:v>41128</c:v>
                </c:pt>
                <c:pt idx="1140">
                  <c:v>41129</c:v>
                </c:pt>
                <c:pt idx="1141">
                  <c:v>41130</c:v>
                </c:pt>
                <c:pt idx="1142">
                  <c:v>41131</c:v>
                </c:pt>
                <c:pt idx="1143">
                  <c:v>41134</c:v>
                </c:pt>
                <c:pt idx="1144">
                  <c:v>41135</c:v>
                </c:pt>
                <c:pt idx="1145">
                  <c:v>41136</c:v>
                </c:pt>
                <c:pt idx="1146">
                  <c:v>41137</c:v>
                </c:pt>
                <c:pt idx="1147">
                  <c:v>41138</c:v>
                </c:pt>
                <c:pt idx="1148">
                  <c:v>41141</c:v>
                </c:pt>
                <c:pt idx="1149">
                  <c:v>41142</c:v>
                </c:pt>
                <c:pt idx="1150">
                  <c:v>41143</c:v>
                </c:pt>
                <c:pt idx="1151">
                  <c:v>41144</c:v>
                </c:pt>
                <c:pt idx="1152">
                  <c:v>41145</c:v>
                </c:pt>
                <c:pt idx="1153">
                  <c:v>41148</c:v>
                </c:pt>
                <c:pt idx="1154">
                  <c:v>41149</c:v>
                </c:pt>
                <c:pt idx="1155">
                  <c:v>41150</c:v>
                </c:pt>
                <c:pt idx="1156">
                  <c:v>41151</c:v>
                </c:pt>
                <c:pt idx="1157">
                  <c:v>41152</c:v>
                </c:pt>
                <c:pt idx="1158">
                  <c:v>41155</c:v>
                </c:pt>
                <c:pt idx="1159">
                  <c:v>41156</c:v>
                </c:pt>
                <c:pt idx="1160">
                  <c:v>41157</c:v>
                </c:pt>
                <c:pt idx="1161">
                  <c:v>41158</c:v>
                </c:pt>
                <c:pt idx="1162">
                  <c:v>41159</c:v>
                </c:pt>
                <c:pt idx="1163">
                  <c:v>41162</c:v>
                </c:pt>
                <c:pt idx="1164">
                  <c:v>41163</c:v>
                </c:pt>
                <c:pt idx="1165">
                  <c:v>41164</c:v>
                </c:pt>
                <c:pt idx="1166">
                  <c:v>41165</c:v>
                </c:pt>
                <c:pt idx="1167">
                  <c:v>41166</c:v>
                </c:pt>
                <c:pt idx="1168">
                  <c:v>41169</c:v>
                </c:pt>
                <c:pt idx="1169">
                  <c:v>41170</c:v>
                </c:pt>
                <c:pt idx="1170">
                  <c:v>41171</c:v>
                </c:pt>
                <c:pt idx="1171">
                  <c:v>41172</c:v>
                </c:pt>
                <c:pt idx="1172">
                  <c:v>41173</c:v>
                </c:pt>
                <c:pt idx="1173">
                  <c:v>41176</c:v>
                </c:pt>
                <c:pt idx="1174">
                  <c:v>41177</c:v>
                </c:pt>
                <c:pt idx="1175">
                  <c:v>41178</c:v>
                </c:pt>
                <c:pt idx="1176">
                  <c:v>41179</c:v>
                </c:pt>
                <c:pt idx="1177">
                  <c:v>41180</c:v>
                </c:pt>
                <c:pt idx="1178">
                  <c:v>41190</c:v>
                </c:pt>
                <c:pt idx="1179">
                  <c:v>41191</c:v>
                </c:pt>
                <c:pt idx="1180">
                  <c:v>41192</c:v>
                </c:pt>
                <c:pt idx="1181">
                  <c:v>41193</c:v>
                </c:pt>
                <c:pt idx="1182">
                  <c:v>41194</c:v>
                </c:pt>
                <c:pt idx="1183">
                  <c:v>41197</c:v>
                </c:pt>
                <c:pt idx="1184">
                  <c:v>41198</c:v>
                </c:pt>
                <c:pt idx="1185">
                  <c:v>41199</c:v>
                </c:pt>
                <c:pt idx="1186">
                  <c:v>41200</c:v>
                </c:pt>
                <c:pt idx="1187">
                  <c:v>41201</c:v>
                </c:pt>
                <c:pt idx="1188">
                  <c:v>41204</c:v>
                </c:pt>
                <c:pt idx="1189">
                  <c:v>41205</c:v>
                </c:pt>
                <c:pt idx="1190">
                  <c:v>41206</c:v>
                </c:pt>
                <c:pt idx="1191">
                  <c:v>41207</c:v>
                </c:pt>
                <c:pt idx="1192">
                  <c:v>41208</c:v>
                </c:pt>
                <c:pt idx="1193">
                  <c:v>41211</c:v>
                </c:pt>
                <c:pt idx="1194">
                  <c:v>41212</c:v>
                </c:pt>
                <c:pt idx="1195">
                  <c:v>41213</c:v>
                </c:pt>
                <c:pt idx="1196">
                  <c:v>41214</c:v>
                </c:pt>
                <c:pt idx="1197">
                  <c:v>41215</c:v>
                </c:pt>
                <c:pt idx="1198">
                  <c:v>41218</c:v>
                </c:pt>
                <c:pt idx="1199">
                  <c:v>41219</c:v>
                </c:pt>
                <c:pt idx="1200">
                  <c:v>41220</c:v>
                </c:pt>
                <c:pt idx="1201">
                  <c:v>41221</c:v>
                </c:pt>
                <c:pt idx="1202">
                  <c:v>41222</c:v>
                </c:pt>
                <c:pt idx="1203">
                  <c:v>41225</c:v>
                </c:pt>
                <c:pt idx="1204">
                  <c:v>41226</c:v>
                </c:pt>
                <c:pt idx="1205">
                  <c:v>41227</c:v>
                </c:pt>
                <c:pt idx="1206">
                  <c:v>41228</c:v>
                </c:pt>
                <c:pt idx="1207">
                  <c:v>41229</c:v>
                </c:pt>
                <c:pt idx="1208">
                  <c:v>41232</c:v>
                </c:pt>
                <c:pt idx="1209">
                  <c:v>41233</c:v>
                </c:pt>
                <c:pt idx="1210">
                  <c:v>41234</c:v>
                </c:pt>
                <c:pt idx="1211">
                  <c:v>41235</c:v>
                </c:pt>
                <c:pt idx="1212">
                  <c:v>41236</c:v>
                </c:pt>
                <c:pt idx="1213">
                  <c:v>41239</c:v>
                </c:pt>
                <c:pt idx="1214">
                  <c:v>41240</c:v>
                </c:pt>
                <c:pt idx="1215">
                  <c:v>41241</c:v>
                </c:pt>
                <c:pt idx="1216">
                  <c:v>41242</c:v>
                </c:pt>
                <c:pt idx="1217">
                  <c:v>41243</c:v>
                </c:pt>
                <c:pt idx="1218">
                  <c:v>41246</c:v>
                </c:pt>
                <c:pt idx="1219">
                  <c:v>41247</c:v>
                </c:pt>
                <c:pt idx="1220">
                  <c:v>41248</c:v>
                </c:pt>
                <c:pt idx="1221">
                  <c:v>41249</c:v>
                </c:pt>
                <c:pt idx="1222">
                  <c:v>41250</c:v>
                </c:pt>
                <c:pt idx="1223">
                  <c:v>41253</c:v>
                </c:pt>
                <c:pt idx="1224">
                  <c:v>41254</c:v>
                </c:pt>
                <c:pt idx="1225">
                  <c:v>41255</c:v>
                </c:pt>
                <c:pt idx="1226">
                  <c:v>41256</c:v>
                </c:pt>
                <c:pt idx="1227">
                  <c:v>41257</c:v>
                </c:pt>
                <c:pt idx="1228">
                  <c:v>41260</c:v>
                </c:pt>
                <c:pt idx="1229">
                  <c:v>41261</c:v>
                </c:pt>
                <c:pt idx="1230">
                  <c:v>41262</c:v>
                </c:pt>
                <c:pt idx="1231">
                  <c:v>41263</c:v>
                </c:pt>
                <c:pt idx="1232">
                  <c:v>41264</c:v>
                </c:pt>
                <c:pt idx="1233">
                  <c:v>41267</c:v>
                </c:pt>
                <c:pt idx="1234">
                  <c:v>41268</c:v>
                </c:pt>
                <c:pt idx="1235">
                  <c:v>41269</c:v>
                </c:pt>
                <c:pt idx="1236">
                  <c:v>41270</c:v>
                </c:pt>
                <c:pt idx="1237">
                  <c:v>41271</c:v>
                </c:pt>
                <c:pt idx="1238">
                  <c:v>41274</c:v>
                </c:pt>
                <c:pt idx="1239">
                  <c:v>41278</c:v>
                </c:pt>
                <c:pt idx="1240">
                  <c:v>41281</c:v>
                </c:pt>
                <c:pt idx="1241">
                  <c:v>41282</c:v>
                </c:pt>
                <c:pt idx="1242">
                  <c:v>41283</c:v>
                </c:pt>
                <c:pt idx="1243">
                  <c:v>41284</c:v>
                </c:pt>
                <c:pt idx="1244">
                  <c:v>41285</c:v>
                </c:pt>
                <c:pt idx="1245">
                  <c:v>41288</c:v>
                </c:pt>
                <c:pt idx="1246">
                  <c:v>41289</c:v>
                </c:pt>
                <c:pt idx="1247">
                  <c:v>41290</c:v>
                </c:pt>
                <c:pt idx="1248">
                  <c:v>41291</c:v>
                </c:pt>
                <c:pt idx="1249">
                  <c:v>41292</c:v>
                </c:pt>
                <c:pt idx="1250">
                  <c:v>41295</c:v>
                </c:pt>
                <c:pt idx="1251">
                  <c:v>41296</c:v>
                </c:pt>
                <c:pt idx="1252">
                  <c:v>41297</c:v>
                </c:pt>
                <c:pt idx="1253">
                  <c:v>41298</c:v>
                </c:pt>
                <c:pt idx="1254">
                  <c:v>41299</c:v>
                </c:pt>
                <c:pt idx="1255">
                  <c:v>41302</c:v>
                </c:pt>
                <c:pt idx="1256">
                  <c:v>41303</c:v>
                </c:pt>
                <c:pt idx="1257">
                  <c:v>41304</c:v>
                </c:pt>
                <c:pt idx="1258">
                  <c:v>41305</c:v>
                </c:pt>
                <c:pt idx="1259">
                  <c:v>41306</c:v>
                </c:pt>
                <c:pt idx="1260">
                  <c:v>41309</c:v>
                </c:pt>
                <c:pt idx="1261">
                  <c:v>41310</c:v>
                </c:pt>
                <c:pt idx="1262">
                  <c:v>41311</c:v>
                </c:pt>
                <c:pt idx="1263">
                  <c:v>41312</c:v>
                </c:pt>
                <c:pt idx="1264">
                  <c:v>41313</c:v>
                </c:pt>
                <c:pt idx="1265">
                  <c:v>41323</c:v>
                </c:pt>
                <c:pt idx="1266">
                  <c:v>41324</c:v>
                </c:pt>
                <c:pt idx="1267">
                  <c:v>41325</c:v>
                </c:pt>
                <c:pt idx="1268">
                  <c:v>41326</c:v>
                </c:pt>
                <c:pt idx="1269">
                  <c:v>41327</c:v>
                </c:pt>
                <c:pt idx="1270">
                  <c:v>41330</c:v>
                </c:pt>
                <c:pt idx="1271">
                  <c:v>41331</c:v>
                </c:pt>
                <c:pt idx="1272">
                  <c:v>41332</c:v>
                </c:pt>
                <c:pt idx="1273">
                  <c:v>41333</c:v>
                </c:pt>
                <c:pt idx="1274">
                  <c:v>41334</c:v>
                </c:pt>
                <c:pt idx="1275">
                  <c:v>41337</c:v>
                </c:pt>
                <c:pt idx="1276">
                  <c:v>41338</c:v>
                </c:pt>
                <c:pt idx="1277">
                  <c:v>41339</c:v>
                </c:pt>
                <c:pt idx="1278">
                  <c:v>41340</c:v>
                </c:pt>
                <c:pt idx="1279">
                  <c:v>41341</c:v>
                </c:pt>
                <c:pt idx="1280">
                  <c:v>41344</c:v>
                </c:pt>
                <c:pt idx="1281">
                  <c:v>41345</c:v>
                </c:pt>
                <c:pt idx="1282">
                  <c:v>41346</c:v>
                </c:pt>
                <c:pt idx="1283">
                  <c:v>41347</c:v>
                </c:pt>
                <c:pt idx="1284">
                  <c:v>41348</c:v>
                </c:pt>
                <c:pt idx="1285">
                  <c:v>41351</c:v>
                </c:pt>
                <c:pt idx="1286">
                  <c:v>41352</c:v>
                </c:pt>
                <c:pt idx="1287">
                  <c:v>41353</c:v>
                </c:pt>
                <c:pt idx="1288">
                  <c:v>41354</c:v>
                </c:pt>
                <c:pt idx="1289">
                  <c:v>41355</c:v>
                </c:pt>
                <c:pt idx="1290">
                  <c:v>41358</c:v>
                </c:pt>
                <c:pt idx="1291">
                  <c:v>41359</c:v>
                </c:pt>
                <c:pt idx="1292">
                  <c:v>41360</c:v>
                </c:pt>
                <c:pt idx="1293">
                  <c:v>41361</c:v>
                </c:pt>
                <c:pt idx="1294">
                  <c:v>41362</c:v>
                </c:pt>
                <c:pt idx="1295">
                  <c:v>41365</c:v>
                </c:pt>
                <c:pt idx="1296">
                  <c:v>41366</c:v>
                </c:pt>
                <c:pt idx="1297">
                  <c:v>41367</c:v>
                </c:pt>
                <c:pt idx="1298">
                  <c:v>41372</c:v>
                </c:pt>
                <c:pt idx="1299">
                  <c:v>41373</c:v>
                </c:pt>
                <c:pt idx="1300">
                  <c:v>41374</c:v>
                </c:pt>
                <c:pt idx="1301">
                  <c:v>41375</c:v>
                </c:pt>
                <c:pt idx="1302">
                  <c:v>41376</c:v>
                </c:pt>
                <c:pt idx="1303">
                  <c:v>41379</c:v>
                </c:pt>
                <c:pt idx="1304">
                  <c:v>41380</c:v>
                </c:pt>
                <c:pt idx="1305">
                  <c:v>41381</c:v>
                </c:pt>
                <c:pt idx="1306">
                  <c:v>41382</c:v>
                </c:pt>
                <c:pt idx="1307">
                  <c:v>41383</c:v>
                </c:pt>
                <c:pt idx="1308">
                  <c:v>41386</c:v>
                </c:pt>
                <c:pt idx="1309">
                  <c:v>41387</c:v>
                </c:pt>
                <c:pt idx="1310">
                  <c:v>41388</c:v>
                </c:pt>
                <c:pt idx="1311">
                  <c:v>41389</c:v>
                </c:pt>
                <c:pt idx="1312">
                  <c:v>41390</c:v>
                </c:pt>
                <c:pt idx="1313">
                  <c:v>41396</c:v>
                </c:pt>
                <c:pt idx="1314">
                  <c:v>41397</c:v>
                </c:pt>
                <c:pt idx="1315">
                  <c:v>41400</c:v>
                </c:pt>
                <c:pt idx="1316">
                  <c:v>41401</c:v>
                </c:pt>
                <c:pt idx="1317">
                  <c:v>41402</c:v>
                </c:pt>
                <c:pt idx="1318">
                  <c:v>41403</c:v>
                </c:pt>
                <c:pt idx="1319">
                  <c:v>41404</c:v>
                </c:pt>
                <c:pt idx="1320">
                  <c:v>41407</c:v>
                </c:pt>
                <c:pt idx="1321">
                  <c:v>41408</c:v>
                </c:pt>
                <c:pt idx="1322">
                  <c:v>41409</c:v>
                </c:pt>
                <c:pt idx="1323">
                  <c:v>41410</c:v>
                </c:pt>
                <c:pt idx="1324">
                  <c:v>41411</c:v>
                </c:pt>
                <c:pt idx="1325">
                  <c:v>41414</c:v>
                </c:pt>
                <c:pt idx="1326">
                  <c:v>41415</c:v>
                </c:pt>
                <c:pt idx="1327">
                  <c:v>41416</c:v>
                </c:pt>
                <c:pt idx="1328">
                  <c:v>41417</c:v>
                </c:pt>
                <c:pt idx="1329">
                  <c:v>41418</c:v>
                </c:pt>
                <c:pt idx="1330">
                  <c:v>41421</c:v>
                </c:pt>
                <c:pt idx="1331">
                  <c:v>41422</c:v>
                </c:pt>
                <c:pt idx="1332">
                  <c:v>41423</c:v>
                </c:pt>
                <c:pt idx="1333">
                  <c:v>41424</c:v>
                </c:pt>
                <c:pt idx="1334">
                  <c:v>41425</c:v>
                </c:pt>
                <c:pt idx="1335">
                  <c:v>41428</c:v>
                </c:pt>
                <c:pt idx="1336">
                  <c:v>41429</c:v>
                </c:pt>
                <c:pt idx="1337">
                  <c:v>41430</c:v>
                </c:pt>
                <c:pt idx="1338">
                  <c:v>41431</c:v>
                </c:pt>
                <c:pt idx="1339">
                  <c:v>41432</c:v>
                </c:pt>
                <c:pt idx="1340">
                  <c:v>41438</c:v>
                </c:pt>
                <c:pt idx="1341">
                  <c:v>41439</c:v>
                </c:pt>
                <c:pt idx="1342">
                  <c:v>41442</c:v>
                </c:pt>
                <c:pt idx="1343">
                  <c:v>41443</c:v>
                </c:pt>
                <c:pt idx="1344">
                  <c:v>41444</c:v>
                </c:pt>
                <c:pt idx="1345">
                  <c:v>41445</c:v>
                </c:pt>
                <c:pt idx="1346">
                  <c:v>41446</c:v>
                </c:pt>
                <c:pt idx="1347">
                  <c:v>41449</c:v>
                </c:pt>
                <c:pt idx="1348">
                  <c:v>41450</c:v>
                </c:pt>
                <c:pt idx="1349">
                  <c:v>41451</c:v>
                </c:pt>
                <c:pt idx="1350">
                  <c:v>41452</c:v>
                </c:pt>
                <c:pt idx="1351">
                  <c:v>41453</c:v>
                </c:pt>
                <c:pt idx="1352">
                  <c:v>41456</c:v>
                </c:pt>
                <c:pt idx="1353">
                  <c:v>41457</c:v>
                </c:pt>
                <c:pt idx="1354">
                  <c:v>41458</c:v>
                </c:pt>
                <c:pt idx="1355">
                  <c:v>41459</c:v>
                </c:pt>
                <c:pt idx="1356">
                  <c:v>41460</c:v>
                </c:pt>
                <c:pt idx="1357">
                  <c:v>41463</c:v>
                </c:pt>
                <c:pt idx="1358">
                  <c:v>41464</c:v>
                </c:pt>
                <c:pt idx="1359">
                  <c:v>41465</c:v>
                </c:pt>
                <c:pt idx="1360">
                  <c:v>41466</c:v>
                </c:pt>
                <c:pt idx="1361">
                  <c:v>41467</c:v>
                </c:pt>
                <c:pt idx="1362">
                  <c:v>41470</c:v>
                </c:pt>
                <c:pt idx="1363">
                  <c:v>41471</c:v>
                </c:pt>
                <c:pt idx="1364">
                  <c:v>41472</c:v>
                </c:pt>
                <c:pt idx="1365">
                  <c:v>41473</c:v>
                </c:pt>
                <c:pt idx="1366">
                  <c:v>41474</c:v>
                </c:pt>
                <c:pt idx="1367">
                  <c:v>41477</c:v>
                </c:pt>
                <c:pt idx="1368">
                  <c:v>41478</c:v>
                </c:pt>
                <c:pt idx="1369">
                  <c:v>41479</c:v>
                </c:pt>
                <c:pt idx="1370">
                  <c:v>41480</c:v>
                </c:pt>
                <c:pt idx="1371">
                  <c:v>41481</c:v>
                </c:pt>
                <c:pt idx="1372">
                  <c:v>41484</c:v>
                </c:pt>
                <c:pt idx="1373">
                  <c:v>41485</c:v>
                </c:pt>
                <c:pt idx="1374">
                  <c:v>41486</c:v>
                </c:pt>
                <c:pt idx="1375">
                  <c:v>41487</c:v>
                </c:pt>
                <c:pt idx="1376">
                  <c:v>41488</c:v>
                </c:pt>
                <c:pt idx="1377">
                  <c:v>41491</c:v>
                </c:pt>
                <c:pt idx="1378">
                  <c:v>41492</c:v>
                </c:pt>
                <c:pt idx="1379">
                  <c:v>41493</c:v>
                </c:pt>
                <c:pt idx="1380">
                  <c:v>41494</c:v>
                </c:pt>
                <c:pt idx="1381">
                  <c:v>41495</c:v>
                </c:pt>
                <c:pt idx="1382">
                  <c:v>41498</c:v>
                </c:pt>
                <c:pt idx="1383">
                  <c:v>41499</c:v>
                </c:pt>
                <c:pt idx="1384">
                  <c:v>41500</c:v>
                </c:pt>
                <c:pt idx="1385">
                  <c:v>41501</c:v>
                </c:pt>
                <c:pt idx="1386">
                  <c:v>41502</c:v>
                </c:pt>
                <c:pt idx="1387">
                  <c:v>41505</c:v>
                </c:pt>
                <c:pt idx="1388">
                  <c:v>41506</c:v>
                </c:pt>
                <c:pt idx="1389">
                  <c:v>41507</c:v>
                </c:pt>
                <c:pt idx="1390">
                  <c:v>41508</c:v>
                </c:pt>
                <c:pt idx="1391">
                  <c:v>41509</c:v>
                </c:pt>
                <c:pt idx="1392">
                  <c:v>41512</c:v>
                </c:pt>
                <c:pt idx="1393">
                  <c:v>41513</c:v>
                </c:pt>
                <c:pt idx="1394">
                  <c:v>41514</c:v>
                </c:pt>
                <c:pt idx="1395">
                  <c:v>41515</c:v>
                </c:pt>
                <c:pt idx="1396">
                  <c:v>41516</c:v>
                </c:pt>
                <c:pt idx="1397">
                  <c:v>41519</c:v>
                </c:pt>
                <c:pt idx="1398">
                  <c:v>41520</c:v>
                </c:pt>
                <c:pt idx="1399">
                  <c:v>41521</c:v>
                </c:pt>
                <c:pt idx="1400">
                  <c:v>41522</c:v>
                </c:pt>
                <c:pt idx="1401">
                  <c:v>41523</c:v>
                </c:pt>
                <c:pt idx="1402">
                  <c:v>41526</c:v>
                </c:pt>
                <c:pt idx="1403">
                  <c:v>41527</c:v>
                </c:pt>
                <c:pt idx="1404">
                  <c:v>41528</c:v>
                </c:pt>
                <c:pt idx="1405">
                  <c:v>41529</c:v>
                </c:pt>
                <c:pt idx="1406">
                  <c:v>41530</c:v>
                </c:pt>
                <c:pt idx="1407">
                  <c:v>41533</c:v>
                </c:pt>
                <c:pt idx="1408">
                  <c:v>41534</c:v>
                </c:pt>
                <c:pt idx="1409">
                  <c:v>41535</c:v>
                </c:pt>
                <c:pt idx="1410">
                  <c:v>41540</c:v>
                </c:pt>
                <c:pt idx="1411">
                  <c:v>41541</c:v>
                </c:pt>
                <c:pt idx="1412">
                  <c:v>41542</c:v>
                </c:pt>
                <c:pt idx="1413">
                  <c:v>41543</c:v>
                </c:pt>
                <c:pt idx="1414">
                  <c:v>41544</c:v>
                </c:pt>
                <c:pt idx="1415">
                  <c:v>41547</c:v>
                </c:pt>
                <c:pt idx="1416">
                  <c:v>41555</c:v>
                </c:pt>
                <c:pt idx="1417">
                  <c:v>41556</c:v>
                </c:pt>
                <c:pt idx="1418">
                  <c:v>41557</c:v>
                </c:pt>
                <c:pt idx="1419">
                  <c:v>41558</c:v>
                </c:pt>
                <c:pt idx="1420">
                  <c:v>41561</c:v>
                </c:pt>
                <c:pt idx="1421">
                  <c:v>41562</c:v>
                </c:pt>
                <c:pt idx="1422">
                  <c:v>41563</c:v>
                </c:pt>
                <c:pt idx="1423">
                  <c:v>41564</c:v>
                </c:pt>
                <c:pt idx="1424">
                  <c:v>41565</c:v>
                </c:pt>
                <c:pt idx="1425">
                  <c:v>41568</c:v>
                </c:pt>
                <c:pt idx="1426">
                  <c:v>41569</c:v>
                </c:pt>
                <c:pt idx="1427">
                  <c:v>41570</c:v>
                </c:pt>
                <c:pt idx="1428">
                  <c:v>41571</c:v>
                </c:pt>
                <c:pt idx="1429">
                  <c:v>41572</c:v>
                </c:pt>
                <c:pt idx="1430">
                  <c:v>41575</c:v>
                </c:pt>
                <c:pt idx="1431">
                  <c:v>41576</c:v>
                </c:pt>
                <c:pt idx="1432">
                  <c:v>41577</c:v>
                </c:pt>
                <c:pt idx="1433">
                  <c:v>41578</c:v>
                </c:pt>
                <c:pt idx="1434">
                  <c:v>41579</c:v>
                </c:pt>
                <c:pt idx="1435">
                  <c:v>41582</c:v>
                </c:pt>
                <c:pt idx="1436">
                  <c:v>41583</c:v>
                </c:pt>
                <c:pt idx="1437">
                  <c:v>41584</c:v>
                </c:pt>
                <c:pt idx="1438">
                  <c:v>41585</c:v>
                </c:pt>
                <c:pt idx="1439">
                  <c:v>41586</c:v>
                </c:pt>
                <c:pt idx="1440">
                  <c:v>41589</c:v>
                </c:pt>
                <c:pt idx="1441">
                  <c:v>41590</c:v>
                </c:pt>
                <c:pt idx="1442">
                  <c:v>41591</c:v>
                </c:pt>
                <c:pt idx="1443">
                  <c:v>41592</c:v>
                </c:pt>
                <c:pt idx="1444">
                  <c:v>41593</c:v>
                </c:pt>
                <c:pt idx="1445">
                  <c:v>41596</c:v>
                </c:pt>
                <c:pt idx="1446">
                  <c:v>41597</c:v>
                </c:pt>
                <c:pt idx="1447">
                  <c:v>41598</c:v>
                </c:pt>
                <c:pt idx="1448">
                  <c:v>41599</c:v>
                </c:pt>
                <c:pt idx="1449">
                  <c:v>41600</c:v>
                </c:pt>
                <c:pt idx="1450">
                  <c:v>41603</c:v>
                </c:pt>
                <c:pt idx="1451">
                  <c:v>41604</c:v>
                </c:pt>
                <c:pt idx="1452">
                  <c:v>41605</c:v>
                </c:pt>
                <c:pt idx="1453">
                  <c:v>41606</c:v>
                </c:pt>
                <c:pt idx="1454">
                  <c:v>41607</c:v>
                </c:pt>
                <c:pt idx="1455">
                  <c:v>41610</c:v>
                </c:pt>
                <c:pt idx="1456">
                  <c:v>41611</c:v>
                </c:pt>
                <c:pt idx="1457">
                  <c:v>41612</c:v>
                </c:pt>
                <c:pt idx="1458">
                  <c:v>41613</c:v>
                </c:pt>
                <c:pt idx="1459">
                  <c:v>41614</c:v>
                </c:pt>
                <c:pt idx="1460">
                  <c:v>41617</c:v>
                </c:pt>
                <c:pt idx="1461">
                  <c:v>41618</c:v>
                </c:pt>
                <c:pt idx="1462">
                  <c:v>41619</c:v>
                </c:pt>
                <c:pt idx="1463">
                  <c:v>41620</c:v>
                </c:pt>
                <c:pt idx="1464">
                  <c:v>41621</c:v>
                </c:pt>
                <c:pt idx="1465">
                  <c:v>41624</c:v>
                </c:pt>
                <c:pt idx="1466">
                  <c:v>41625</c:v>
                </c:pt>
                <c:pt idx="1467">
                  <c:v>41626</c:v>
                </c:pt>
                <c:pt idx="1468">
                  <c:v>41627</c:v>
                </c:pt>
                <c:pt idx="1469">
                  <c:v>41628</c:v>
                </c:pt>
                <c:pt idx="1470">
                  <c:v>41631</c:v>
                </c:pt>
                <c:pt idx="1471">
                  <c:v>41632</c:v>
                </c:pt>
                <c:pt idx="1472">
                  <c:v>41633</c:v>
                </c:pt>
                <c:pt idx="1473">
                  <c:v>41634</c:v>
                </c:pt>
                <c:pt idx="1474">
                  <c:v>41635</c:v>
                </c:pt>
                <c:pt idx="1475">
                  <c:v>41638</c:v>
                </c:pt>
                <c:pt idx="1476">
                  <c:v>41639</c:v>
                </c:pt>
                <c:pt idx="1477">
                  <c:v>41641</c:v>
                </c:pt>
                <c:pt idx="1478">
                  <c:v>41642</c:v>
                </c:pt>
                <c:pt idx="1479">
                  <c:v>41645</c:v>
                </c:pt>
                <c:pt idx="1480">
                  <c:v>41646</c:v>
                </c:pt>
                <c:pt idx="1481">
                  <c:v>41647</c:v>
                </c:pt>
                <c:pt idx="1482">
                  <c:v>41648</c:v>
                </c:pt>
                <c:pt idx="1483">
                  <c:v>41649</c:v>
                </c:pt>
                <c:pt idx="1484">
                  <c:v>41652</c:v>
                </c:pt>
                <c:pt idx="1485">
                  <c:v>41653</c:v>
                </c:pt>
                <c:pt idx="1486">
                  <c:v>41654</c:v>
                </c:pt>
                <c:pt idx="1487">
                  <c:v>41655</c:v>
                </c:pt>
                <c:pt idx="1488">
                  <c:v>41656</c:v>
                </c:pt>
                <c:pt idx="1489">
                  <c:v>41659</c:v>
                </c:pt>
                <c:pt idx="1490">
                  <c:v>41660</c:v>
                </c:pt>
                <c:pt idx="1491">
                  <c:v>41661</c:v>
                </c:pt>
                <c:pt idx="1492">
                  <c:v>41662</c:v>
                </c:pt>
                <c:pt idx="1493">
                  <c:v>41663</c:v>
                </c:pt>
                <c:pt idx="1494">
                  <c:v>41666</c:v>
                </c:pt>
                <c:pt idx="1495">
                  <c:v>41667</c:v>
                </c:pt>
                <c:pt idx="1496">
                  <c:v>41668</c:v>
                </c:pt>
                <c:pt idx="1497">
                  <c:v>41669</c:v>
                </c:pt>
                <c:pt idx="1498">
                  <c:v>41677</c:v>
                </c:pt>
                <c:pt idx="1499">
                  <c:v>41680</c:v>
                </c:pt>
                <c:pt idx="1500">
                  <c:v>41681</c:v>
                </c:pt>
                <c:pt idx="1501">
                  <c:v>41682</c:v>
                </c:pt>
                <c:pt idx="1502">
                  <c:v>41683</c:v>
                </c:pt>
                <c:pt idx="1503">
                  <c:v>41684</c:v>
                </c:pt>
                <c:pt idx="1504">
                  <c:v>41687</c:v>
                </c:pt>
                <c:pt idx="1505">
                  <c:v>41688</c:v>
                </c:pt>
                <c:pt idx="1506">
                  <c:v>41689</c:v>
                </c:pt>
                <c:pt idx="1507">
                  <c:v>41690</c:v>
                </c:pt>
                <c:pt idx="1508">
                  <c:v>41691</c:v>
                </c:pt>
                <c:pt idx="1509">
                  <c:v>41694</c:v>
                </c:pt>
                <c:pt idx="1510">
                  <c:v>41695</c:v>
                </c:pt>
                <c:pt idx="1511">
                  <c:v>41696</c:v>
                </c:pt>
                <c:pt idx="1512">
                  <c:v>41697</c:v>
                </c:pt>
                <c:pt idx="1513">
                  <c:v>41698</c:v>
                </c:pt>
                <c:pt idx="1514">
                  <c:v>41701</c:v>
                </c:pt>
                <c:pt idx="1515">
                  <c:v>41702</c:v>
                </c:pt>
                <c:pt idx="1516">
                  <c:v>41703</c:v>
                </c:pt>
                <c:pt idx="1517">
                  <c:v>41704</c:v>
                </c:pt>
                <c:pt idx="1518">
                  <c:v>41705</c:v>
                </c:pt>
                <c:pt idx="1519">
                  <c:v>41708</c:v>
                </c:pt>
                <c:pt idx="1520">
                  <c:v>41709</c:v>
                </c:pt>
                <c:pt idx="1521">
                  <c:v>41710</c:v>
                </c:pt>
                <c:pt idx="1522">
                  <c:v>41711</c:v>
                </c:pt>
                <c:pt idx="1523">
                  <c:v>41712</c:v>
                </c:pt>
                <c:pt idx="1524">
                  <c:v>41715</c:v>
                </c:pt>
                <c:pt idx="1525">
                  <c:v>41716</c:v>
                </c:pt>
                <c:pt idx="1526">
                  <c:v>41717</c:v>
                </c:pt>
                <c:pt idx="1527">
                  <c:v>41718</c:v>
                </c:pt>
                <c:pt idx="1528">
                  <c:v>41719</c:v>
                </c:pt>
                <c:pt idx="1529">
                  <c:v>41722</c:v>
                </c:pt>
                <c:pt idx="1530">
                  <c:v>41723</c:v>
                </c:pt>
                <c:pt idx="1531">
                  <c:v>41724</c:v>
                </c:pt>
                <c:pt idx="1532">
                  <c:v>41725</c:v>
                </c:pt>
                <c:pt idx="1533">
                  <c:v>41726</c:v>
                </c:pt>
                <c:pt idx="1534">
                  <c:v>41729</c:v>
                </c:pt>
                <c:pt idx="1535">
                  <c:v>41730</c:v>
                </c:pt>
                <c:pt idx="1536">
                  <c:v>41731</c:v>
                </c:pt>
                <c:pt idx="1537">
                  <c:v>41732</c:v>
                </c:pt>
                <c:pt idx="1538">
                  <c:v>41733</c:v>
                </c:pt>
                <c:pt idx="1539">
                  <c:v>41737</c:v>
                </c:pt>
                <c:pt idx="1540">
                  <c:v>41738</c:v>
                </c:pt>
                <c:pt idx="1541">
                  <c:v>41739</c:v>
                </c:pt>
                <c:pt idx="1542">
                  <c:v>41740</c:v>
                </c:pt>
                <c:pt idx="1543">
                  <c:v>41743</c:v>
                </c:pt>
                <c:pt idx="1544">
                  <c:v>41744</c:v>
                </c:pt>
                <c:pt idx="1545">
                  <c:v>41745</c:v>
                </c:pt>
                <c:pt idx="1546">
                  <c:v>41746</c:v>
                </c:pt>
                <c:pt idx="1547">
                  <c:v>41747</c:v>
                </c:pt>
                <c:pt idx="1548">
                  <c:v>41750</c:v>
                </c:pt>
                <c:pt idx="1549">
                  <c:v>41751</c:v>
                </c:pt>
                <c:pt idx="1550">
                  <c:v>41752</c:v>
                </c:pt>
                <c:pt idx="1551">
                  <c:v>41753</c:v>
                </c:pt>
                <c:pt idx="1552">
                  <c:v>41754</c:v>
                </c:pt>
                <c:pt idx="1553">
                  <c:v>41757</c:v>
                </c:pt>
                <c:pt idx="1554">
                  <c:v>41758</c:v>
                </c:pt>
                <c:pt idx="1555">
                  <c:v>41759</c:v>
                </c:pt>
                <c:pt idx="1556">
                  <c:v>41764</c:v>
                </c:pt>
                <c:pt idx="1557">
                  <c:v>41765</c:v>
                </c:pt>
                <c:pt idx="1558">
                  <c:v>41766</c:v>
                </c:pt>
                <c:pt idx="1559">
                  <c:v>41767</c:v>
                </c:pt>
                <c:pt idx="1560">
                  <c:v>41768</c:v>
                </c:pt>
                <c:pt idx="1561">
                  <c:v>41771</c:v>
                </c:pt>
                <c:pt idx="1562">
                  <c:v>41772</c:v>
                </c:pt>
                <c:pt idx="1563">
                  <c:v>41773</c:v>
                </c:pt>
                <c:pt idx="1564">
                  <c:v>41774</c:v>
                </c:pt>
                <c:pt idx="1565">
                  <c:v>41775</c:v>
                </c:pt>
                <c:pt idx="1566">
                  <c:v>41778</c:v>
                </c:pt>
                <c:pt idx="1567">
                  <c:v>41779</c:v>
                </c:pt>
                <c:pt idx="1568">
                  <c:v>41780</c:v>
                </c:pt>
                <c:pt idx="1569">
                  <c:v>41781</c:v>
                </c:pt>
                <c:pt idx="1570">
                  <c:v>41782</c:v>
                </c:pt>
                <c:pt idx="1571">
                  <c:v>41785</c:v>
                </c:pt>
                <c:pt idx="1572">
                  <c:v>41786</c:v>
                </c:pt>
                <c:pt idx="1573">
                  <c:v>41787</c:v>
                </c:pt>
                <c:pt idx="1574">
                  <c:v>41788</c:v>
                </c:pt>
                <c:pt idx="1575">
                  <c:v>41789</c:v>
                </c:pt>
                <c:pt idx="1576">
                  <c:v>41793</c:v>
                </c:pt>
                <c:pt idx="1577">
                  <c:v>41794</c:v>
                </c:pt>
                <c:pt idx="1578">
                  <c:v>41795</c:v>
                </c:pt>
                <c:pt idx="1579">
                  <c:v>41796</c:v>
                </c:pt>
                <c:pt idx="1580">
                  <c:v>41799</c:v>
                </c:pt>
                <c:pt idx="1581">
                  <c:v>41800</c:v>
                </c:pt>
                <c:pt idx="1582">
                  <c:v>41801</c:v>
                </c:pt>
                <c:pt idx="1583">
                  <c:v>41802</c:v>
                </c:pt>
                <c:pt idx="1584">
                  <c:v>41803</c:v>
                </c:pt>
                <c:pt idx="1585">
                  <c:v>41806</c:v>
                </c:pt>
                <c:pt idx="1586">
                  <c:v>41807</c:v>
                </c:pt>
                <c:pt idx="1587">
                  <c:v>41808</c:v>
                </c:pt>
                <c:pt idx="1588">
                  <c:v>41809</c:v>
                </c:pt>
                <c:pt idx="1589">
                  <c:v>41810</c:v>
                </c:pt>
                <c:pt idx="1590">
                  <c:v>41813</c:v>
                </c:pt>
                <c:pt idx="1591">
                  <c:v>41814</c:v>
                </c:pt>
                <c:pt idx="1592">
                  <c:v>41815</c:v>
                </c:pt>
                <c:pt idx="1593">
                  <c:v>41816</c:v>
                </c:pt>
                <c:pt idx="1594">
                  <c:v>41817</c:v>
                </c:pt>
                <c:pt idx="1595">
                  <c:v>41820</c:v>
                </c:pt>
                <c:pt idx="1596">
                  <c:v>41821</c:v>
                </c:pt>
                <c:pt idx="1597">
                  <c:v>41822</c:v>
                </c:pt>
                <c:pt idx="1598">
                  <c:v>41823</c:v>
                </c:pt>
                <c:pt idx="1599">
                  <c:v>41824</c:v>
                </c:pt>
                <c:pt idx="1600">
                  <c:v>41827</c:v>
                </c:pt>
                <c:pt idx="1601">
                  <c:v>41828</c:v>
                </c:pt>
                <c:pt idx="1602">
                  <c:v>41829</c:v>
                </c:pt>
                <c:pt idx="1603">
                  <c:v>41830</c:v>
                </c:pt>
                <c:pt idx="1604">
                  <c:v>41831</c:v>
                </c:pt>
                <c:pt idx="1605">
                  <c:v>41834</c:v>
                </c:pt>
                <c:pt idx="1606">
                  <c:v>41835</c:v>
                </c:pt>
                <c:pt idx="1607">
                  <c:v>41836</c:v>
                </c:pt>
                <c:pt idx="1608">
                  <c:v>41837</c:v>
                </c:pt>
                <c:pt idx="1609">
                  <c:v>41838</c:v>
                </c:pt>
                <c:pt idx="1610">
                  <c:v>41841</c:v>
                </c:pt>
                <c:pt idx="1611">
                  <c:v>41842</c:v>
                </c:pt>
                <c:pt idx="1612">
                  <c:v>41843</c:v>
                </c:pt>
                <c:pt idx="1613">
                  <c:v>41844</c:v>
                </c:pt>
                <c:pt idx="1614">
                  <c:v>41845</c:v>
                </c:pt>
                <c:pt idx="1615">
                  <c:v>41848</c:v>
                </c:pt>
                <c:pt idx="1616">
                  <c:v>41849</c:v>
                </c:pt>
                <c:pt idx="1617">
                  <c:v>41850</c:v>
                </c:pt>
                <c:pt idx="1618">
                  <c:v>41851</c:v>
                </c:pt>
                <c:pt idx="1619">
                  <c:v>41852</c:v>
                </c:pt>
                <c:pt idx="1620">
                  <c:v>41855</c:v>
                </c:pt>
                <c:pt idx="1621">
                  <c:v>41856</c:v>
                </c:pt>
                <c:pt idx="1622">
                  <c:v>41857</c:v>
                </c:pt>
                <c:pt idx="1623">
                  <c:v>41858</c:v>
                </c:pt>
                <c:pt idx="1624">
                  <c:v>41859</c:v>
                </c:pt>
                <c:pt idx="1625">
                  <c:v>41862</c:v>
                </c:pt>
                <c:pt idx="1626">
                  <c:v>41863</c:v>
                </c:pt>
                <c:pt idx="1627">
                  <c:v>41864</c:v>
                </c:pt>
                <c:pt idx="1628">
                  <c:v>41865</c:v>
                </c:pt>
                <c:pt idx="1629">
                  <c:v>41866</c:v>
                </c:pt>
                <c:pt idx="1630">
                  <c:v>41869</c:v>
                </c:pt>
                <c:pt idx="1631">
                  <c:v>41870</c:v>
                </c:pt>
                <c:pt idx="1632">
                  <c:v>41871</c:v>
                </c:pt>
                <c:pt idx="1633">
                  <c:v>41872</c:v>
                </c:pt>
                <c:pt idx="1634">
                  <c:v>41873</c:v>
                </c:pt>
                <c:pt idx="1635">
                  <c:v>41876</c:v>
                </c:pt>
                <c:pt idx="1636">
                  <c:v>41877</c:v>
                </c:pt>
                <c:pt idx="1637">
                  <c:v>41878</c:v>
                </c:pt>
                <c:pt idx="1638">
                  <c:v>41879</c:v>
                </c:pt>
                <c:pt idx="1639">
                  <c:v>41880</c:v>
                </c:pt>
                <c:pt idx="1640">
                  <c:v>41883</c:v>
                </c:pt>
                <c:pt idx="1641">
                  <c:v>41884</c:v>
                </c:pt>
                <c:pt idx="1642">
                  <c:v>41885</c:v>
                </c:pt>
                <c:pt idx="1643">
                  <c:v>41886</c:v>
                </c:pt>
                <c:pt idx="1644">
                  <c:v>41887</c:v>
                </c:pt>
                <c:pt idx="1645">
                  <c:v>41891</c:v>
                </c:pt>
                <c:pt idx="1646">
                  <c:v>41892</c:v>
                </c:pt>
                <c:pt idx="1647">
                  <c:v>41893</c:v>
                </c:pt>
                <c:pt idx="1648">
                  <c:v>41894</c:v>
                </c:pt>
                <c:pt idx="1649">
                  <c:v>41897</c:v>
                </c:pt>
                <c:pt idx="1650">
                  <c:v>41898</c:v>
                </c:pt>
                <c:pt idx="1651">
                  <c:v>41899</c:v>
                </c:pt>
                <c:pt idx="1652">
                  <c:v>41900</c:v>
                </c:pt>
                <c:pt idx="1653">
                  <c:v>41901</c:v>
                </c:pt>
                <c:pt idx="1654">
                  <c:v>41904</c:v>
                </c:pt>
                <c:pt idx="1655">
                  <c:v>41905</c:v>
                </c:pt>
                <c:pt idx="1656">
                  <c:v>41906</c:v>
                </c:pt>
                <c:pt idx="1657">
                  <c:v>41907</c:v>
                </c:pt>
                <c:pt idx="1658">
                  <c:v>41908</c:v>
                </c:pt>
                <c:pt idx="1659">
                  <c:v>41911</c:v>
                </c:pt>
                <c:pt idx="1660">
                  <c:v>41912</c:v>
                </c:pt>
                <c:pt idx="1661">
                  <c:v>41920</c:v>
                </c:pt>
                <c:pt idx="1662">
                  <c:v>41921</c:v>
                </c:pt>
                <c:pt idx="1663">
                  <c:v>41922</c:v>
                </c:pt>
                <c:pt idx="1664">
                  <c:v>41925</c:v>
                </c:pt>
                <c:pt idx="1665">
                  <c:v>41926</c:v>
                </c:pt>
                <c:pt idx="1666">
                  <c:v>41927</c:v>
                </c:pt>
                <c:pt idx="1667">
                  <c:v>41928</c:v>
                </c:pt>
                <c:pt idx="1668">
                  <c:v>41929</c:v>
                </c:pt>
                <c:pt idx="1669">
                  <c:v>41932</c:v>
                </c:pt>
                <c:pt idx="1670">
                  <c:v>41933</c:v>
                </c:pt>
                <c:pt idx="1671">
                  <c:v>41934</c:v>
                </c:pt>
                <c:pt idx="1672">
                  <c:v>41935</c:v>
                </c:pt>
                <c:pt idx="1673">
                  <c:v>41936</c:v>
                </c:pt>
                <c:pt idx="1674">
                  <c:v>41939</c:v>
                </c:pt>
                <c:pt idx="1675">
                  <c:v>41940</c:v>
                </c:pt>
                <c:pt idx="1676">
                  <c:v>41941</c:v>
                </c:pt>
                <c:pt idx="1677">
                  <c:v>41942</c:v>
                </c:pt>
                <c:pt idx="1678">
                  <c:v>41943</c:v>
                </c:pt>
                <c:pt idx="1679">
                  <c:v>41946</c:v>
                </c:pt>
                <c:pt idx="1680">
                  <c:v>41947</c:v>
                </c:pt>
                <c:pt idx="1681">
                  <c:v>41948</c:v>
                </c:pt>
                <c:pt idx="1682">
                  <c:v>41949</c:v>
                </c:pt>
                <c:pt idx="1683">
                  <c:v>41950</c:v>
                </c:pt>
                <c:pt idx="1684">
                  <c:v>41953</c:v>
                </c:pt>
                <c:pt idx="1685">
                  <c:v>41954</c:v>
                </c:pt>
                <c:pt idx="1686">
                  <c:v>41955</c:v>
                </c:pt>
                <c:pt idx="1687">
                  <c:v>41956</c:v>
                </c:pt>
                <c:pt idx="1688">
                  <c:v>41957</c:v>
                </c:pt>
                <c:pt idx="1689">
                  <c:v>41960</c:v>
                </c:pt>
                <c:pt idx="1690">
                  <c:v>41961</c:v>
                </c:pt>
                <c:pt idx="1691">
                  <c:v>41962</c:v>
                </c:pt>
                <c:pt idx="1692">
                  <c:v>41963</c:v>
                </c:pt>
                <c:pt idx="1693">
                  <c:v>41964</c:v>
                </c:pt>
                <c:pt idx="1694">
                  <c:v>41967</c:v>
                </c:pt>
                <c:pt idx="1695">
                  <c:v>41968</c:v>
                </c:pt>
                <c:pt idx="1696">
                  <c:v>41969</c:v>
                </c:pt>
                <c:pt idx="1697">
                  <c:v>41970</c:v>
                </c:pt>
                <c:pt idx="1698">
                  <c:v>41971</c:v>
                </c:pt>
                <c:pt idx="1699">
                  <c:v>41974</c:v>
                </c:pt>
                <c:pt idx="1700">
                  <c:v>41975</c:v>
                </c:pt>
                <c:pt idx="1701">
                  <c:v>41976</c:v>
                </c:pt>
                <c:pt idx="1702">
                  <c:v>41977</c:v>
                </c:pt>
                <c:pt idx="1703">
                  <c:v>41978</c:v>
                </c:pt>
                <c:pt idx="1704">
                  <c:v>41981</c:v>
                </c:pt>
                <c:pt idx="1705">
                  <c:v>41982</c:v>
                </c:pt>
                <c:pt idx="1706">
                  <c:v>41983</c:v>
                </c:pt>
                <c:pt idx="1707">
                  <c:v>41984</c:v>
                </c:pt>
                <c:pt idx="1708">
                  <c:v>41985</c:v>
                </c:pt>
                <c:pt idx="1709">
                  <c:v>41988</c:v>
                </c:pt>
                <c:pt idx="1710">
                  <c:v>41989</c:v>
                </c:pt>
                <c:pt idx="1711">
                  <c:v>41990</c:v>
                </c:pt>
                <c:pt idx="1712">
                  <c:v>41991</c:v>
                </c:pt>
                <c:pt idx="1713">
                  <c:v>41992</c:v>
                </c:pt>
                <c:pt idx="1714">
                  <c:v>41995</c:v>
                </c:pt>
                <c:pt idx="1715">
                  <c:v>41996</c:v>
                </c:pt>
                <c:pt idx="1716">
                  <c:v>41997</c:v>
                </c:pt>
                <c:pt idx="1717">
                  <c:v>41998</c:v>
                </c:pt>
                <c:pt idx="1718">
                  <c:v>41999</c:v>
                </c:pt>
                <c:pt idx="1719">
                  <c:v>42002</c:v>
                </c:pt>
                <c:pt idx="1720">
                  <c:v>42003</c:v>
                </c:pt>
                <c:pt idx="1721">
                  <c:v>42004</c:v>
                </c:pt>
                <c:pt idx="1722">
                  <c:v>42009</c:v>
                </c:pt>
                <c:pt idx="1723">
                  <c:v>42010</c:v>
                </c:pt>
                <c:pt idx="1724">
                  <c:v>42011</c:v>
                </c:pt>
                <c:pt idx="1725">
                  <c:v>42012</c:v>
                </c:pt>
                <c:pt idx="1726">
                  <c:v>42013</c:v>
                </c:pt>
                <c:pt idx="1727">
                  <c:v>42016</c:v>
                </c:pt>
                <c:pt idx="1728">
                  <c:v>42017</c:v>
                </c:pt>
                <c:pt idx="1729">
                  <c:v>42018</c:v>
                </c:pt>
                <c:pt idx="1730">
                  <c:v>42019</c:v>
                </c:pt>
                <c:pt idx="1731">
                  <c:v>42020</c:v>
                </c:pt>
                <c:pt idx="1732">
                  <c:v>42023</c:v>
                </c:pt>
                <c:pt idx="1733">
                  <c:v>42024</c:v>
                </c:pt>
                <c:pt idx="1734">
                  <c:v>42025</c:v>
                </c:pt>
                <c:pt idx="1735">
                  <c:v>42026</c:v>
                </c:pt>
                <c:pt idx="1736">
                  <c:v>42027</c:v>
                </c:pt>
                <c:pt idx="1737">
                  <c:v>42030</c:v>
                </c:pt>
                <c:pt idx="1738">
                  <c:v>42031</c:v>
                </c:pt>
                <c:pt idx="1739">
                  <c:v>42032</c:v>
                </c:pt>
                <c:pt idx="1740">
                  <c:v>42033</c:v>
                </c:pt>
                <c:pt idx="1741">
                  <c:v>42034</c:v>
                </c:pt>
                <c:pt idx="1742">
                  <c:v>42037</c:v>
                </c:pt>
                <c:pt idx="1743">
                  <c:v>42038</c:v>
                </c:pt>
                <c:pt idx="1744">
                  <c:v>42039</c:v>
                </c:pt>
                <c:pt idx="1745">
                  <c:v>42040</c:v>
                </c:pt>
                <c:pt idx="1746">
                  <c:v>42041</c:v>
                </c:pt>
                <c:pt idx="1747">
                  <c:v>42044</c:v>
                </c:pt>
                <c:pt idx="1748">
                  <c:v>42045</c:v>
                </c:pt>
                <c:pt idx="1749">
                  <c:v>42046</c:v>
                </c:pt>
                <c:pt idx="1750">
                  <c:v>42047</c:v>
                </c:pt>
                <c:pt idx="1751">
                  <c:v>42048</c:v>
                </c:pt>
                <c:pt idx="1752">
                  <c:v>42051</c:v>
                </c:pt>
                <c:pt idx="1753">
                  <c:v>42052</c:v>
                </c:pt>
                <c:pt idx="1754">
                  <c:v>42060</c:v>
                </c:pt>
                <c:pt idx="1755">
                  <c:v>42061</c:v>
                </c:pt>
                <c:pt idx="1756">
                  <c:v>42062</c:v>
                </c:pt>
                <c:pt idx="1757">
                  <c:v>42065</c:v>
                </c:pt>
                <c:pt idx="1758">
                  <c:v>42066</c:v>
                </c:pt>
                <c:pt idx="1759">
                  <c:v>42067</c:v>
                </c:pt>
                <c:pt idx="1760">
                  <c:v>42068</c:v>
                </c:pt>
                <c:pt idx="1761">
                  <c:v>42069</c:v>
                </c:pt>
                <c:pt idx="1762">
                  <c:v>42072</c:v>
                </c:pt>
                <c:pt idx="1763">
                  <c:v>42073</c:v>
                </c:pt>
                <c:pt idx="1764">
                  <c:v>42074</c:v>
                </c:pt>
                <c:pt idx="1765">
                  <c:v>42075</c:v>
                </c:pt>
                <c:pt idx="1766">
                  <c:v>42076</c:v>
                </c:pt>
                <c:pt idx="1767">
                  <c:v>42079</c:v>
                </c:pt>
                <c:pt idx="1768">
                  <c:v>42080</c:v>
                </c:pt>
                <c:pt idx="1769">
                  <c:v>42081</c:v>
                </c:pt>
                <c:pt idx="1770">
                  <c:v>42082</c:v>
                </c:pt>
                <c:pt idx="1771">
                  <c:v>42083</c:v>
                </c:pt>
                <c:pt idx="1772">
                  <c:v>42086</c:v>
                </c:pt>
                <c:pt idx="1773">
                  <c:v>42087</c:v>
                </c:pt>
                <c:pt idx="1774">
                  <c:v>42088</c:v>
                </c:pt>
                <c:pt idx="1775">
                  <c:v>42089</c:v>
                </c:pt>
                <c:pt idx="1776">
                  <c:v>42090</c:v>
                </c:pt>
                <c:pt idx="1777">
                  <c:v>42093</c:v>
                </c:pt>
                <c:pt idx="1778">
                  <c:v>42094</c:v>
                </c:pt>
                <c:pt idx="1779">
                  <c:v>42095</c:v>
                </c:pt>
                <c:pt idx="1780">
                  <c:v>42096</c:v>
                </c:pt>
                <c:pt idx="1781">
                  <c:v>42097</c:v>
                </c:pt>
                <c:pt idx="1782">
                  <c:v>42101</c:v>
                </c:pt>
                <c:pt idx="1783">
                  <c:v>42102</c:v>
                </c:pt>
                <c:pt idx="1784">
                  <c:v>42103</c:v>
                </c:pt>
                <c:pt idx="1785">
                  <c:v>42104</c:v>
                </c:pt>
                <c:pt idx="1786">
                  <c:v>42107</c:v>
                </c:pt>
                <c:pt idx="1787">
                  <c:v>42108</c:v>
                </c:pt>
                <c:pt idx="1788">
                  <c:v>42109</c:v>
                </c:pt>
                <c:pt idx="1789">
                  <c:v>42110</c:v>
                </c:pt>
                <c:pt idx="1790">
                  <c:v>42111</c:v>
                </c:pt>
                <c:pt idx="1791">
                  <c:v>42114</c:v>
                </c:pt>
                <c:pt idx="1792">
                  <c:v>42115</c:v>
                </c:pt>
                <c:pt idx="1793">
                  <c:v>42116</c:v>
                </c:pt>
                <c:pt idx="1794">
                  <c:v>42117</c:v>
                </c:pt>
                <c:pt idx="1795">
                  <c:v>42118</c:v>
                </c:pt>
                <c:pt idx="1796">
                  <c:v>42121</c:v>
                </c:pt>
                <c:pt idx="1797">
                  <c:v>42122</c:v>
                </c:pt>
                <c:pt idx="1798">
                  <c:v>42123</c:v>
                </c:pt>
                <c:pt idx="1799">
                  <c:v>42124</c:v>
                </c:pt>
                <c:pt idx="1800">
                  <c:v>42128</c:v>
                </c:pt>
                <c:pt idx="1801">
                  <c:v>42129</c:v>
                </c:pt>
                <c:pt idx="1802">
                  <c:v>42130</c:v>
                </c:pt>
                <c:pt idx="1803">
                  <c:v>42131</c:v>
                </c:pt>
                <c:pt idx="1804">
                  <c:v>42132</c:v>
                </c:pt>
                <c:pt idx="1805">
                  <c:v>42135</c:v>
                </c:pt>
                <c:pt idx="1806">
                  <c:v>42136</c:v>
                </c:pt>
                <c:pt idx="1807">
                  <c:v>42137</c:v>
                </c:pt>
                <c:pt idx="1808">
                  <c:v>42138</c:v>
                </c:pt>
                <c:pt idx="1809">
                  <c:v>42139</c:v>
                </c:pt>
                <c:pt idx="1810">
                  <c:v>42142</c:v>
                </c:pt>
                <c:pt idx="1811">
                  <c:v>42143</c:v>
                </c:pt>
                <c:pt idx="1812">
                  <c:v>42144</c:v>
                </c:pt>
                <c:pt idx="1813">
                  <c:v>42145</c:v>
                </c:pt>
                <c:pt idx="1814">
                  <c:v>42146</c:v>
                </c:pt>
                <c:pt idx="1815">
                  <c:v>42149</c:v>
                </c:pt>
                <c:pt idx="1816">
                  <c:v>42150</c:v>
                </c:pt>
                <c:pt idx="1817">
                  <c:v>42151</c:v>
                </c:pt>
                <c:pt idx="1818">
                  <c:v>42152</c:v>
                </c:pt>
                <c:pt idx="1819">
                  <c:v>42153</c:v>
                </c:pt>
                <c:pt idx="1820">
                  <c:v>42156</c:v>
                </c:pt>
                <c:pt idx="1821">
                  <c:v>42157</c:v>
                </c:pt>
                <c:pt idx="1822">
                  <c:v>42158</c:v>
                </c:pt>
                <c:pt idx="1823">
                  <c:v>42159</c:v>
                </c:pt>
                <c:pt idx="1824">
                  <c:v>42160</c:v>
                </c:pt>
                <c:pt idx="1825">
                  <c:v>42163</c:v>
                </c:pt>
                <c:pt idx="1826">
                  <c:v>42164</c:v>
                </c:pt>
                <c:pt idx="1827">
                  <c:v>42165</c:v>
                </c:pt>
                <c:pt idx="1828">
                  <c:v>42166</c:v>
                </c:pt>
                <c:pt idx="1829">
                  <c:v>42167</c:v>
                </c:pt>
                <c:pt idx="1830">
                  <c:v>42170</c:v>
                </c:pt>
                <c:pt idx="1831">
                  <c:v>42171</c:v>
                </c:pt>
                <c:pt idx="1832">
                  <c:v>42172</c:v>
                </c:pt>
                <c:pt idx="1833">
                  <c:v>42173</c:v>
                </c:pt>
                <c:pt idx="1834">
                  <c:v>42174</c:v>
                </c:pt>
                <c:pt idx="1835">
                  <c:v>42178</c:v>
                </c:pt>
                <c:pt idx="1836">
                  <c:v>42179</c:v>
                </c:pt>
                <c:pt idx="1837">
                  <c:v>42180</c:v>
                </c:pt>
                <c:pt idx="1838">
                  <c:v>42181</c:v>
                </c:pt>
                <c:pt idx="1839">
                  <c:v>42184</c:v>
                </c:pt>
                <c:pt idx="1840">
                  <c:v>42185</c:v>
                </c:pt>
                <c:pt idx="1841">
                  <c:v>42186</c:v>
                </c:pt>
                <c:pt idx="1842">
                  <c:v>42187</c:v>
                </c:pt>
                <c:pt idx="1843">
                  <c:v>42188</c:v>
                </c:pt>
                <c:pt idx="1844">
                  <c:v>42191</c:v>
                </c:pt>
                <c:pt idx="1845">
                  <c:v>42192</c:v>
                </c:pt>
                <c:pt idx="1846">
                  <c:v>42193</c:v>
                </c:pt>
                <c:pt idx="1847">
                  <c:v>42194</c:v>
                </c:pt>
                <c:pt idx="1848">
                  <c:v>42195</c:v>
                </c:pt>
                <c:pt idx="1849">
                  <c:v>42198</c:v>
                </c:pt>
                <c:pt idx="1850">
                  <c:v>42199</c:v>
                </c:pt>
                <c:pt idx="1851">
                  <c:v>42200</c:v>
                </c:pt>
                <c:pt idx="1852">
                  <c:v>42201</c:v>
                </c:pt>
                <c:pt idx="1853">
                  <c:v>42202</c:v>
                </c:pt>
                <c:pt idx="1854">
                  <c:v>42205</c:v>
                </c:pt>
                <c:pt idx="1855">
                  <c:v>42206</c:v>
                </c:pt>
                <c:pt idx="1856">
                  <c:v>42207</c:v>
                </c:pt>
                <c:pt idx="1857">
                  <c:v>42208</c:v>
                </c:pt>
                <c:pt idx="1858">
                  <c:v>42209</c:v>
                </c:pt>
                <c:pt idx="1859">
                  <c:v>42212</c:v>
                </c:pt>
                <c:pt idx="1860">
                  <c:v>42213</c:v>
                </c:pt>
                <c:pt idx="1861">
                  <c:v>42214</c:v>
                </c:pt>
                <c:pt idx="1862">
                  <c:v>42215</c:v>
                </c:pt>
                <c:pt idx="1863">
                  <c:v>42216</c:v>
                </c:pt>
                <c:pt idx="1864">
                  <c:v>42219</c:v>
                </c:pt>
                <c:pt idx="1865">
                  <c:v>42220</c:v>
                </c:pt>
                <c:pt idx="1866">
                  <c:v>42221</c:v>
                </c:pt>
                <c:pt idx="1867">
                  <c:v>42222</c:v>
                </c:pt>
                <c:pt idx="1868">
                  <c:v>42223</c:v>
                </c:pt>
                <c:pt idx="1869">
                  <c:v>42226</c:v>
                </c:pt>
                <c:pt idx="1870">
                  <c:v>42227</c:v>
                </c:pt>
                <c:pt idx="1871">
                  <c:v>42228</c:v>
                </c:pt>
                <c:pt idx="1872">
                  <c:v>42229</c:v>
                </c:pt>
                <c:pt idx="1873">
                  <c:v>42230</c:v>
                </c:pt>
                <c:pt idx="1874">
                  <c:v>42233</c:v>
                </c:pt>
                <c:pt idx="1875">
                  <c:v>42234</c:v>
                </c:pt>
                <c:pt idx="1876">
                  <c:v>42235</c:v>
                </c:pt>
                <c:pt idx="1877">
                  <c:v>42236</c:v>
                </c:pt>
                <c:pt idx="1878">
                  <c:v>42237</c:v>
                </c:pt>
                <c:pt idx="1879">
                  <c:v>42240</c:v>
                </c:pt>
                <c:pt idx="1880">
                  <c:v>42241</c:v>
                </c:pt>
                <c:pt idx="1881">
                  <c:v>42242</c:v>
                </c:pt>
                <c:pt idx="1882">
                  <c:v>42243</c:v>
                </c:pt>
                <c:pt idx="1883">
                  <c:v>42244</c:v>
                </c:pt>
                <c:pt idx="1884">
                  <c:v>42247</c:v>
                </c:pt>
                <c:pt idx="1885">
                  <c:v>42248</c:v>
                </c:pt>
                <c:pt idx="1886">
                  <c:v>42249</c:v>
                </c:pt>
                <c:pt idx="1887">
                  <c:v>42254</c:v>
                </c:pt>
                <c:pt idx="1888">
                  <c:v>42255</c:v>
                </c:pt>
                <c:pt idx="1889">
                  <c:v>42256</c:v>
                </c:pt>
                <c:pt idx="1890">
                  <c:v>42257</c:v>
                </c:pt>
                <c:pt idx="1891">
                  <c:v>42258</c:v>
                </c:pt>
                <c:pt idx="1892">
                  <c:v>42261</c:v>
                </c:pt>
                <c:pt idx="1893">
                  <c:v>42262</c:v>
                </c:pt>
                <c:pt idx="1894">
                  <c:v>42263</c:v>
                </c:pt>
                <c:pt idx="1895">
                  <c:v>42264</c:v>
                </c:pt>
                <c:pt idx="1896">
                  <c:v>42265</c:v>
                </c:pt>
                <c:pt idx="1897">
                  <c:v>42268</c:v>
                </c:pt>
                <c:pt idx="1898">
                  <c:v>42269</c:v>
                </c:pt>
                <c:pt idx="1899">
                  <c:v>42270</c:v>
                </c:pt>
                <c:pt idx="1900">
                  <c:v>42271</c:v>
                </c:pt>
                <c:pt idx="1901">
                  <c:v>42272</c:v>
                </c:pt>
                <c:pt idx="1902">
                  <c:v>42275</c:v>
                </c:pt>
                <c:pt idx="1903">
                  <c:v>42276</c:v>
                </c:pt>
                <c:pt idx="1904">
                  <c:v>42277</c:v>
                </c:pt>
                <c:pt idx="1905">
                  <c:v>42285</c:v>
                </c:pt>
                <c:pt idx="1906">
                  <c:v>42286</c:v>
                </c:pt>
                <c:pt idx="1907">
                  <c:v>42289</c:v>
                </c:pt>
                <c:pt idx="1908">
                  <c:v>42290</c:v>
                </c:pt>
                <c:pt idx="1909">
                  <c:v>42291</c:v>
                </c:pt>
                <c:pt idx="1910">
                  <c:v>42292</c:v>
                </c:pt>
                <c:pt idx="1911">
                  <c:v>42293</c:v>
                </c:pt>
                <c:pt idx="1912">
                  <c:v>42296</c:v>
                </c:pt>
                <c:pt idx="1913">
                  <c:v>42297</c:v>
                </c:pt>
                <c:pt idx="1914">
                  <c:v>42298</c:v>
                </c:pt>
                <c:pt idx="1915">
                  <c:v>42299</c:v>
                </c:pt>
                <c:pt idx="1916">
                  <c:v>42300</c:v>
                </c:pt>
                <c:pt idx="1917">
                  <c:v>42303</c:v>
                </c:pt>
                <c:pt idx="1918">
                  <c:v>42304</c:v>
                </c:pt>
                <c:pt idx="1919">
                  <c:v>42305</c:v>
                </c:pt>
                <c:pt idx="1920">
                  <c:v>42306</c:v>
                </c:pt>
                <c:pt idx="1921">
                  <c:v>42307</c:v>
                </c:pt>
                <c:pt idx="1922">
                  <c:v>42310</c:v>
                </c:pt>
                <c:pt idx="1923">
                  <c:v>42311</c:v>
                </c:pt>
                <c:pt idx="1924">
                  <c:v>42312</c:v>
                </c:pt>
                <c:pt idx="1925">
                  <c:v>42313</c:v>
                </c:pt>
                <c:pt idx="1926">
                  <c:v>42314</c:v>
                </c:pt>
                <c:pt idx="1927">
                  <c:v>42317</c:v>
                </c:pt>
                <c:pt idx="1928">
                  <c:v>42318</c:v>
                </c:pt>
                <c:pt idx="1929">
                  <c:v>42319</c:v>
                </c:pt>
                <c:pt idx="1930">
                  <c:v>42320</c:v>
                </c:pt>
                <c:pt idx="1931">
                  <c:v>42321</c:v>
                </c:pt>
                <c:pt idx="1932">
                  <c:v>42324</c:v>
                </c:pt>
                <c:pt idx="1933">
                  <c:v>42325</c:v>
                </c:pt>
                <c:pt idx="1934">
                  <c:v>42326</c:v>
                </c:pt>
                <c:pt idx="1935">
                  <c:v>42327</c:v>
                </c:pt>
                <c:pt idx="1936">
                  <c:v>42328</c:v>
                </c:pt>
                <c:pt idx="1937">
                  <c:v>42331</c:v>
                </c:pt>
                <c:pt idx="1938">
                  <c:v>42332</c:v>
                </c:pt>
                <c:pt idx="1939">
                  <c:v>42333</c:v>
                </c:pt>
                <c:pt idx="1940">
                  <c:v>42334</c:v>
                </c:pt>
                <c:pt idx="1941">
                  <c:v>42335</c:v>
                </c:pt>
                <c:pt idx="1942">
                  <c:v>42338</c:v>
                </c:pt>
                <c:pt idx="1943">
                  <c:v>42339</c:v>
                </c:pt>
                <c:pt idx="1944">
                  <c:v>42340</c:v>
                </c:pt>
                <c:pt idx="1945">
                  <c:v>42341</c:v>
                </c:pt>
                <c:pt idx="1946">
                  <c:v>42342</c:v>
                </c:pt>
                <c:pt idx="1947">
                  <c:v>42345</c:v>
                </c:pt>
                <c:pt idx="1948">
                  <c:v>42346</c:v>
                </c:pt>
                <c:pt idx="1949">
                  <c:v>42347</c:v>
                </c:pt>
                <c:pt idx="1950">
                  <c:v>42348</c:v>
                </c:pt>
                <c:pt idx="1951">
                  <c:v>42349</c:v>
                </c:pt>
                <c:pt idx="1952">
                  <c:v>42352</c:v>
                </c:pt>
                <c:pt idx="1953">
                  <c:v>42353</c:v>
                </c:pt>
                <c:pt idx="1954">
                  <c:v>42354</c:v>
                </c:pt>
                <c:pt idx="1955">
                  <c:v>42355</c:v>
                </c:pt>
                <c:pt idx="1956">
                  <c:v>42356</c:v>
                </c:pt>
                <c:pt idx="1957">
                  <c:v>42359</c:v>
                </c:pt>
                <c:pt idx="1958">
                  <c:v>42360</c:v>
                </c:pt>
                <c:pt idx="1959">
                  <c:v>42361</c:v>
                </c:pt>
                <c:pt idx="1960">
                  <c:v>42362</c:v>
                </c:pt>
                <c:pt idx="1961">
                  <c:v>42363</c:v>
                </c:pt>
                <c:pt idx="1962">
                  <c:v>42366</c:v>
                </c:pt>
                <c:pt idx="1963">
                  <c:v>42367</c:v>
                </c:pt>
                <c:pt idx="1964">
                  <c:v>42368</c:v>
                </c:pt>
                <c:pt idx="1965">
                  <c:v>42369</c:v>
                </c:pt>
                <c:pt idx="1966">
                  <c:v>42373</c:v>
                </c:pt>
                <c:pt idx="1967">
                  <c:v>42374</c:v>
                </c:pt>
                <c:pt idx="1968">
                  <c:v>42375</c:v>
                </c:pt>
                <c:pt idx="1969">
                  <c:v>42376</c:v>
                </c:pt>
                <c:pt idx="1970">
                  <c:v>42377</c:v>
                </c:pt>
                <c:pt idx="1971">
                  <c:v>42380</c:v>
                </c:pt>
                <c:pt idx="1972">
                  <c:v>42381</c:v>
                </c:pt>
                <c:pt idx="1973">
                  <c:v>42382</c:v>
                </c:pt>
                <c:pt idx="1974">
                  <c:v>42383</c:v>
                </c:pt>
                <c:pt idx="1975">
                  <c:v>42384</c:v>
                </c:pt>
                <c:pt idx="1976">
                  <c:v>42387</c:v>
                </c:pt>
                <c:pt idx="1977">
                  <c:v>42388</c:v>
                </c:pt>
                <c:pt idx="1978">
                  <c:v>42389</c:v>
                </c:pt>
                <c:pt idx="1979">
                  <c:v>42390</c:v>
                </c:pt>
                <c:pt idx="1980">
                  <c:v>42391</c:v>
                </c:pt>
                <c:pt idx="1981">
                  <c:v>42394</c:v>
                </c:pt>
                <c:pt idx="1982">
                  <c:v>42395</c:v>
                </c:pt>
                <c:pt idx="1983">
                  <c:v>42396</c:v>
                </c:pt>
                <c:pt idx="1984">
                  <c:v>42397</c:v>
                </c:pt>
                <c:pt idx="1985">
                  <c:v>42398</c:v>
                </c:pt>
                <c:pt idx="1986">
                  <c:v>42401</c:v>
                </c:pt>
                <c:pt idx="1987">
                  <c:v>42402</c:v>
                </c:pt>
                <c:pt idx="1988">
                  <c:v>42403</c:v>
                </c:pt>
                <c:pt idx="1989">
                  <c:v>42404</c:v>
                </c:pt>
                <c:pt idx="1990">
                  <c:v>42405</c:v>
                </c:pt>
                <c:pt idx="1991">
                  <c:v>42415</c:v>
                </c:pt>
                <c:pt idx="1992">
                  <c:v>42416</c:v>
                </c:pt>
                <c:pt idx="1993">
                  <c:v>42417</c:v>
                </c:pt>
                <c:pt idx="1994">
                  <c:v>42418</c:v>
                </c:pt>
                <c:pt idx="1995">
                  <c:v>42419</c:v>
                </c:pt>
                <c:pt idx="1996">
                  <c:v>42422</c:v>
                </c:pt>
                <c:pt idx="1997">
                  <c:v>42423</c:v>
                </c:pt>
                <c:pt idx="1998">
                  <c:v>42424</c:v>
                </c:pt>
                <c:pt idx="1999">
                  <c:v>42425</c:v>
                </c:pt>
                <c:pt idx="2000">
                  <c:v>42426</c:v>
                </c:pt>
                <c:pt idx="2001">
                  <c:v>42429</c:v>
                </c:pt>
                <c:pt idx="2002">
                  <c:v>42430</c:v>
                </c:pt>
                <c:pt idx="2003">
                  <c:v>42431</c:v>
                </c:pt>
                <c:pt idx="2004">
                  <c:v>42432</c:v>
                </c:pt>
                <c:pt idx="2005">
                  <c:v>42433</c:v>
                </c:pt>
                <c:pt idx="2006">
                  <c:v>42436</c:v>
                </c:pt>
                <c:pt idx="2007">
                  <c:v>42437</c:v>
                </c:pt>
                <c:pt idx="2008">
                  <c:v>42438</c:v>
                </c:pt>
                <c:pt idx="2009">
                  <c:v>42439</c:v>
                </c:pt>
                <c:pt idx="2010">
                  <c:v>42440</c:v>
                </c:pt>
                <c:pt idx="2011">
                  <c:v>42443</c:v>
                </c:pt>
                <c:pt idx="2012">
                  <c:v>42444</c:v>
                </c:pt>
                <c:pt idx="2013">
                  <c:v>42445</c:v>
                </c:pt>
                <c:pt idx="2014">
                  <c:v>42446</c:v>
                </c:pt>
                <c:pt idx="2015">
                  <c:v>42447</c:v>
                </c:pt>
                <c:pt idx="2016">
                  <c:v>42450</c:v>
                </c:pt>
                <c:pt idx="2017">
                  <c:v>42451</c:v>
                </c:pt>
                <c:pt idx="2018">
                  <c:v>42452</c:v>
                </c:pt>
                <c:pt idx="2019">
                  <c:v>42453</c:v>
                </c:pt>
                <c:pt idx="2020">
                  <c:v>42454</c:v>
                </c:pt>
                <c:pt idx="2021">
                  <c:v>42457</c:v>
                </c:pt>
                <c:pt idx="2022">
                  <c:v>42458</c:v>
                </c:pt>
                <c:pt idx="2023">
                  <c:v>42459</c:v>
                </c:pt>
                <c:pt idx="2024">
                  <c:v>42460</c:v>
                </c:pt>
                <c:pt idx="2025">
                  <c:v>42461</c:v>
                </c:pt>
                <c:pt idx="2026">
                  <c:v>42465</c:v>
                </c:pt>
                <c:pt idx="2027">
                  <c:v>42466</c:v>
                </c:pt>
                <c:pt idx="2028">
                  <c:v>42467</c:v>
                </c:pt>
                <c:pt idx="2029">
                  <c:v>42468</c:v>
                </c:pt>
                <c:pt idx="2030">
                  <c:v>42471</c:v>
                </c:pt>
                <c:pt idx="2031">
                  <c:v>42472</c:v>
                </c:pt>
                <c:pt idx="2032">
                  <c:v>42473</c:v>
                </c:pt>
                <c:pt idx="2033">
                  <c:v>42474</c:v>
                </c:pt>
                <c:pt idx="2034">
                  <c:v>42475</c:v>
                </c:pt>
                <c:pt idx="2035">
                  <c:v>42478</c:v>
                </c:pt>
                <c:pt idx="2036">
                  <c:v>42479</c:v>
                </c:pt>
                <c:pt idx="2037">
                  <c:v>42480</c:v>
                </c:pt>
                <c:pt idx="2038">
                  <c:v>42481</c:v>
                </c:pt>
                <c:pt idx="2039">
                  <c:v>42482</c:v>
                </c:pt>
                <c:pt idx="2040">
                  <c:v>42485</c:v>
                </c:pt>
                <c:pt idx="2041">
                  <c:v>42486</c:v>
                </c:pt>
                <c:pt idx="2042">
                  <c:v>42487</c:v>
                </c:pt>
                <c:pt idx="2043">
                  <c:v>42488</c:v>
                </c:pt>
                <c:pt idx="2044">
                  <c:v>42489</c:v>
                </c:pt>
                <c:pt idx="2045">
                  <c:v>42493</c:v>
                </c:pt>
                <c:pt idx="2046">
                  <c:v>42494</c:v>
                </c:pt>
                <c:pt idx="2047">
                  <c:v>42495</c:v>
                </c:pt>
                <c:pt idx="2048">
                  <c:v>42496</c:v>
                </c:pt>
                <c:pt idx="2049">
                  <c:v>42499</c:v>
                </c:pt>
                <c:pt idx="2050">
                  <c:v>42500</c:v>
                </c:pt>
                <c:pt idx="2051">
                  <c:v>42501</c:v>
                </c:pt>
                <c:pt idx="2052">
                  <c:v>42502</c:v>
                </c:pt>
                <c:pt idx="2053">
                  <c:v>42503</c:v>
                </c:pt>
                <c:pt idx="2054">
                  <c:v>42506</c:v>
                </c:pt>
                <c:pt idx="2055">
                  <c:v>42507</c:v>
                </c:pt>
                <c:pt idx="2056">
                  <c:v>42508</c:v>
                </c:pt>
                <c:pt idx="2057">
                  <c:v>42509</c:v>
                </c:pt>
                <c:pt idx="2058">
                  <c:v>42510</c:v>
                </c:pt>
                <c:pt idx="2059">
                  <c:v>42513</c:v>
                </c:pt>
                <c:pt idx="2060">
                  <c:v>42514</c:v>
                </c:pt>
                <c:pt idx="2061">
                  <c:v>42515</c:v>
                </c:pt>
                <c:pt idx="2062">
                  <c:v>42516</c:v>
                </c:pt>
                <c:pt idx="2063">
                  <c:v>42517</c:v>
                </c:pt>
                <c:pt idx="2064">
                  <c:v>42520</c:v>
                </c:pt>
                <c:pt idx="2065">
                  <c:v>42521</c:v>
                </c:pt>
                <c:pt idx="2066">
                  <c:v>42522</c:v>
                </c:pt>
                <c:pt idx="2067">
                  <c:v>42523</c:v>
                </c:pt>
                <c:pt idx="2068">
                  <c:v>42524</c:v>
                </c:pt>
                <c:pt idx="2069">
                  <c:v>42527</c:v>
                </c:pt>
                <c:pt idx="2070">
                  <c:v>42528</c:v>
                </c:pt>
                <c:pt idx="2071">
                  <c:v>42529</c:v>
                </c:pt>
                <c:pt idx="2072">
                  <c:v>42534</c:v>
                </c:pt>
                <c:pt idx="2073">
                  <c:v>42535</c:v>
                </c:pt>
                <c:pt idx="2074">
                  <c:v>42536</c:v>
                </c:pt>
                <c:pt idx="2075">
                  <c:v>42537</c:v>
                </c:pt>
                <c:pt idx="2076">
                  <c:v>42538</c:v>
                </c:pt>
                <c:pt idx="2077">
                  <c:v>42541</c:v>
                </c:pt>
                <c:pt idx="2078">
                  <c:v>42542</c:v>
                </c:pt>
                <c:pt idx="2079">
                  <c:v>42543</c:v>
                </c:pt>
                <c:pt idx="2080">
                  <c:v>42544</c:v>
                </c:pt>
                <c:pt idx="2081">
                  <c:v>42545</c:v>
                </c:pt>
                <c:pt idx="2082">
                  <c:v>42548</c:v>
                </c:pt>
                <c:pt idx="2083">
                  <c:v>42549</c:v>
                </c:pt>
                <c:pt idx="2084">
                  <c:v>42550</c:v>
                </c:pt>
                <c:pt idx="2085">
                  <c:v>42551</c:v>
                </c:pt>
                <c:pt idx="2086">
                  <c:v>42552</c:v>
                </c:pt>
                <c:pt idx="2087">
                  <c:v>42555</c:v>
                </c:pt>
                <c:pt idx="2088">
                  <c:v>42556</c:v>
                </c:pt>
                <c:pt idx="2089">
                  <c:v>42557</c:v>
                </c:pt>
                <c:pt idx="2090">
                  <c:v>42558</c:v>
                </c:pt>
                <c:pt idx="2091">
                  <c:v>42559</c:v>
                </c:pt>
                <c:pt idx="2092">
                  <c:v>42562</c:v>
                </c:pt>
                <c:pt idx="2093">
                  <c:v>42563</c:v>
                </c:pt>
                <c:pt idx="2094">
                  <c:v>42564</c:v>
                </c:pt>
                <c:pt idx="2095">
                  <c:v>42565</c:v>
                </c:pt>
                <c:pt idx="2096">
                  <c:v>42566</c:v>
                </c:pt>
                <c:pt idx="2097">
                  <c:v>42569</c:v>
                </c:pt>
                <c:pt idx="2098">
                  <c:v>42570</c:v>
                </c:pt>
                <c:pt idx="2099">
                  <c:v>42571</c:v>
                </c:pt>
                <c:pt idx="2100">
                  <c:v>42572</c:v>
                </c:pt>
                <c:pt idx="2101">
                  <c:v>42573</c:v>
                </c:pt>
                <c:pt idx="2102">
                  <c:v>42576</c:v>
                </c:pt>
                <c:pt idx="2103">
                  <c:v>42577</c:v>
                </c:pt>
                <c:pt idx="2104">
                  <c:v>42578</c:v>
                </c:pt>
                <c:pt idx="2105">
                  <c:v>42579</c:v>
                </c:pt>
                <c:pt idx="2106">
                  <c:v>42580</c:v>
                </c:pt>
                <c:pt idx="2107">
                  <c:v>42583</c:v>
                </c:pt>
                <c:pt idx="2108">
                  <c:v>42584</c:v>
                </c:pt>
                <c:pt idx="2109">
                  <c:v>42585</c:v>
                </c:pt>
                <c:pt idx="2110">
                  <c:v>42586</c:v>
                </c:pt>
                <c:pt idx="2111">
                  <c:v>42587</c:v>
                </c:pt>
                <c:pt idx="2112">
                  <c:v>42590</c:v>
                </c:pt>
                <c:pt idx="2113">
                  <c:v>42591</c:v>
                </c:pt>
                <c:pt idx="2114">
                  <c:v>42592</c:v>
                </c:pt>
                <c:pt idx="2115">
                  <c:v>42593</c:v>
                </c:pt>
                <c:pt idx="2116">
                  <c:v>42594</c:v>
                </c:pt>
                <c:pt idx="2117">
                  <c:v>42597</c:v>
                </c:pt>
                <c:pt idx="2118">
                  <c:v>42598</c:v>
                </c:pt>
                <c:pt idx="2119">
                  <c:v>42599</c:v>
                </c:pt>
                <c:pt idx="2120">
                  <c:v>42600</c:v>
                </c:pt>
                <c:pt idx="2121">
                  <c:v>42601</c:v>
                </c:pt>
                <c:pt idx="2122">
                  <c:v>42604</c:v>
                </c:pt>
                <c:pt idx="2123">
                  <c:v>42605</c:v>
                </c:pt>
                <c:pt idx="2124">
                  <c:v>42606</c:v>
                </c:pt>
                <c:pt idx="2125">
                  <c:v>42607</c:v>
                </c:pt>
                <c:pt idx="2126">
                  <c:v>42608</c:v>
                </c:pt>
                <c:pt idx="2127">
                  <c:v>42611</c:v>
                </c:pt>
                <c:pt idx="2128">
                  <c:v>42612</c:v>
                </c:pt>
                <c:pt idx="2129">
                  <c:v>42613</c:v>
                </c:pt>
                <c:pt idx="2130">
                  <c:v>42614</c:v>
                </c:pt>
                <c:pt idx="2131">
                  <c:v>42615</c:v>
                </c:pt>
                <c:pt idx="2132">
                  <c:v>42618</c:v>
                </c:pt>
                <c:pt idx="2133">
                  <c:v>42619</c:v>
                </c:pt>
                <c:pt idx="2134">
                  <c:v>42620</c:v>
                </c:pt>
                <c:pt idx="2135">
                  <c:v>42621</c:v>
                </c:pt>
                <c:pt idx="2136">
                  <c:v>42622</c:v>
                </c:pt>
                <c:pt idx="2137">
                  <c:v>42625</c:v>
                </c:pt>
                <c:pt idx="2138">
                  <c:v>42626</c:v>
                </c:pt>
                <c:pt idx="2139">
                  <c:v>42627</c:v>
                </c:pt>
                <c:pt idx="2140">
                  <c:v>42632</c:v>
                </c:pt>
                <c:pt idx="2141">
                  <c:v>42633</c:v>
                </c:pt>
                <c:pt idx="2142">
                  <c:v>42634</c:v>
                </c:pt>
                <c:pt idx="2143">
                  <c:v>42635</c:v>
                </c:pt>
                <c:pt idx="2144">
                  <c:v>42636</c:v>
                </c:pt>
                <c:pt idx="2145">
                  <c:v>42639</c:v>
                </c:pt>
                <c:pt idx="2146">
                  <c:v>42640</c:v>
                </c:pt>
                <c:pt idx="2147">
                  <c:v>42641</c:v>
                </c:pt>
                <c:pt idx="2148">
                  <c:v>42642</c:v>
                </c:pt>
                <c:pt idx="2149">
                  <c:v>42643</c:v>
                </c:pt>
                <c:pt idx="2150">
                  <c:v>42653</c:v>
                </c:pt>
                <c:pt idx="2151">
                  <c:v>42654</c:v>
                </c:pt>
                <c:pt idx="2152">
                  <c:v>42655</c:v>
                </c:pt>
                <c:pt idx="2153">
                  <c:v>42656</c:v>
                </c:pt>
                <c:pt idx="2154">
                  <c:v>42657</c:v>
                </c:pt>
                <c:pt idx="2155">
                  <c:v>42660</c:v>
                </c:pt>
                <c:pt idx="2156">
                  <c:v>42661</c:v>
                </c:pt>
                <c:pt idx="2157">
                  <c:v>42662</c:v>
                </c:pt>
                <c:pt idx="2158">
                  <c:v>42663</c:v>
                </c:pt>
                <c:pt idx="2159">
                  <c:v>42664</c:v>
                </c:pt>
                <c:pt idx="2160">
                  <c:v>42667</c:v>
                </c:pt>
                <c:pt idx="2161">
                  <c:v>42668</c:v>
                </c:pt>
                <c:pt idx="2162">
                  <c:v>42669</c:v>
                </c:pt>
                <c:pt idx="2163">
                  <c:v>42670</c:v>
                </c:pt>
                <c:pt idx="2164">
                  <c:v>42671</c:v>
                </c:pt>
                <c:pt idx="2165">
                  <c:v>42674</c:v>
                </c:pt>
                <c:pt idx="2166">
                  <c:v>42675</c:v>
                </c:pt>
                <c:pt idx="2167">
                  <c:v>42676</c:v>
                </c:pt>
                <c:pt idx="2168">
                  <c:v>42677</c:v>
                </c:pt>
                <c:pt idx="2169">
                  <c:v>42678</c:v>
                </c:pt>
                <c:pt idx="2170">
                  <c:v>42681</c:v>
                </c:pt>
                <c:pt idx="2171">
                  <c:v>42682</c:v>
                </c:pt>
                <c:pt idx="2172">
                  <c:v>42683</c:v>
                </c:pt>
                <c:pt idx="2173">
                  <c:v>42684</c:v>
                </c:pt>
                <c:pt idx="2174">
                  <c:v>42685</c:v>
                </c:pt>
                <c:pt idx="2175">
                  <c:v>42688</c:v>
                </c:pt>
                <c:pt idx="2176">
                  <c:v>42689</c:v>
                </c:pt>
                <c:pt idx="2177">
                  <c:v>42690</c:v>
                </c:pt>
                <c:pt idx="2178">
                  <c:v>42691</c:v>
                </c:pt>
                <c:pt idx="2179">
                  <c:v>42692</c:v>
                </c:pt>
                <c:pt idx="2180">
                  <c:v>42695</c:v>
                </c:pt>
                <c:pt idx="2181">
                  <c:v>42696</c:v>
                </c:pt>
                <c:pt idx="2182">
                  <c:v>42697</c:v>
                </c:pt>
                <c:pt idx="2183">
                  <c:v>42698</c:v>
                </c:pt>
                <c:pt idx="2184">
                  <c:v>42699</c:v>
                </c:pt>
                <c:pt idx="2185">
                  <c:v>42702</c:v>
                </c:pt>
                <c:pt idx="2186">
                  <c:v>42703</c:v>
                </c:pt>
                <c:pt idx="2187">
                  <c:v>42704</c:v>
                </c:pt>
                <c:pt idx="2188">
                  <c:v>42705</c:v>
                </c:pt>
                <c:pt idx="2189">
                  <c:v>42706</c:v>
                </c:pt>
                <c:pt idx="2190">
                  <c:v>42709</c:v>
                </c:pt>
                <c:pt idx="2191">
                  <c:v>42710</c:v>
                </c:pt>
                <c:pt idx="2192">
                  <c:v>42711</c:v>
                </c:pt>
                <c:pt idx="2193">
                  <c:v>42712</c:v>
                </c:pt>
                <c:pt idx="2194">
                  <c:v>42713</c:v>
                </c:pt>
                <c:pt idx="2195">
                  <c:v>42716</c:v>
                </c:pt>
                <c:pt idx="2196">
                  <c:v>42717</c:v>
                </c:pt>
                <c:pt idx="2197">
                  <c:v>42718</c:v>
                </c:pt>
                <c:pt idx="2198">
                  <c:v>42719</c:v>
                </c:pt>
                <c:pt idx="2199">
                  <c:v>42720</c:v>
                </c:pt>
                <c:pt idx="2200">
                  <c:v>42723</c:v>
                </c:pt>
                <c:pt idx="2201">
                  <c:v>42724</c:v>
                </c:pt>
                <c:pt idx="2202">
                  <c:v>42725</c:v>
                </c:pt>
                <c:pt idx="2203">
                  <c:v>42726</c:v>
                </c:pt>
                <c:pt idx="2204">
                  <c:v>42727</c:v>
                </c:pt>
                <c:pt idx="2205">
                  <c:v>42730</c:v>
                </c:pt>
                <c:pt idx="2206">
                  <c:v>42731</c:v>
                </c:pt>
                <c:pt idx="2207">
                  <c:v>42732</c:v>
                </c:pt>
                <c:pt idx="2208">
                  <c:v>42733</c:v>
                </c:pt>
                <c:pt idx="2209">
                  <c:v>42734</c:v>
                </c:pt>
                <c:pt idx="2210">
                  <c:v>42738</c:v>
                </c:pt>
                <c:pt idx="2211">
                  <c:v>42739</c:v>
                </c:pt>
                <c:pt idx="2212">
                  <c:v>42740</c:v>
                </c:pt>
                <c:pt idx="2213">
                  <c:v>42741</c:v>
                </c:pt>
                <c:pt idx="2214">
                  <c:v>42744</c:v>
                </c:pt>
                <c:pt idx="2215">
                  <c:v>42745</c:v>
                </c:pt>
                <c:pt idx="2216">
                  <c:v>42746</c:v>
                </c:pt>
                <c:pt idx="2217">
                  <c:v>42747</c:v>
                </c:pt>
                <c:pt idx="2218">
                  <c:v>42748</c:v>
                </c:pt>
                <c:pt idx="2219">
                  <c:v>42751</c:v>
                </c:pt>
                <c:pt idx="2220">
                  <c:v>42752</c:v>
                </c:pt>
                <c:pt idx="2221">
                  <c:v>42753</c:v>
                </c:pt>
                <c:pt idx="2222">
                  <c:v>42754</c:v>
                </c:pt>
                <c:pt idx="2223">
                  <c:v>42755</c:v>
                </c:pt>
                <c:pt idx="2224">
                  <c:v>42758</c:v>
                </c:pt>
                <c:pt idx="2225">
                  <c:v>42759</c:v>
                </c:pt>
                <c:pt idx="2226">
                  <c:v>42760</c:v>
                </c:pt>
                <c:pt idx="2227">
                  <c:v>42761</c:v>
                </c:pt>
                <c:pt idx="2228">
                  <c:v>42769</c:v>
                </c:pt>
                <c:pt idx="2229">
                  <c:v>42772</c:v>
                </c:pt>
                <c:pt idx="2230">
                  <c:v>42773</c:v>
                </c:pt>
                <c:pt idx="2231">
                  <c:v>42774</c:v>
                </c:pt>
                <c:pt idx="2232">
                  <c:v>42775</c:v>
                </c:pt>
                <c:pt idx="2233">
                  <c:v>42776</c:v>
                </c:pt>
                <c:pt idx="2234">
                  <c:v>42779</c:v>
                </c:pt>
                <c:pt idx="2235">
                  <c:v>42780</c:v>
                </c:pt>
                <c:pt idx="2236">
                  <c:v>42781</c:v>
                </c:pt>
                <c:pt idx="2237">
                  <c:v>42782</c:v>
                </c:pt>
                <c:pt idx="2238">
                  <c:v>42783</c:v>
                </c:pt>
                <c:pt idx="2239">
                  <c:v>42786</c:v>
                </c:pt>
                <c:pt idx="2240">
                  <c:v>42787</c:v>
                </c:pt>
                <c:pt idx="2241">
                  <c:v>42788</c:v>
                </c:pt>
                <c:pt idx="2242">
                  <c:v>42789</c:v>
                </c:pt>
                <c:pt idx="2243">
                  <c:v>42790</c:v>
                </c:pt>
                <c:pt idx="2244">
                  <c:v>42793</c:v>
                </c:pt>
                <c:pt idx="2245">
                  <c:v>42794</c:v>
                </c:pt>
                <c:pt idx="2246">
                  <c:v>42795</c:v>
                </c:pt>
                <c:pt idx="2247">
                  <c:v>42796</c:v>
                </c:pt>
                <c:pt idx="2248">
                  <c:v>42797</c:v>
                </c:pt>
                <c:pt idx="2249">
                  <c:v>42800</c:v>
                </c:pt>
                <c:pt idx="2250">
                  <c:v>42801</c:v>
                </c:pt>
                <c:pt idx="2251">
                  <c:v>42802</c:v>
                </c:pt>
                <c:pt idx="2252">
                  <c:v>42803</c:v>
                </c:pt>
                <c:pt idx="2253">
                  <c:v>42804</c:v>
                </c:pt>
                <c:pt idx="2254">
                  <c:v>42807</c:v>
                </c:pt>
                <c:pt idx="2255">
                  <c:v>42808</c:v>
                </c:pt>
                <c:pt idx="2256">
                  <c:v>42809</c:v>
                </c:pt>
                <c:pt idx="2257">
                  <c:v>42810</c:v>
                </c:pt>
                <c:pt idx="2258">
                  <c:v>42811</c:v>
                </c:pt>
                <c:pt idx="2259">
                  <c:v>42814</c:v>
                </c:pt>
                <c:pt idx="2260">
                  <c:v>42815</c:v>
                </c:pt>
                <c:pt idx="2261">
                  <c:v>42816</c:v>
                </c:pt>
                <c:pt idx="2262">
                  <c:v>42817</c:v>
                </c:pt>
                <c:pt idx="2263">
                  <c:v>42818</c:v>
                </c:pt>
                <c:pt idx="2264">
                  <c:v>42821</c:v>
                </c:pt>
                <c:pt idx="2265">
                  <c:v>42822</c:v>
                </c:pt>
                <c:pt idx="2266">
                  <c:v>42823</c:v>
                </c:pt>
                <c:pt idx="2267">
                  <c:v>42824</c:v>
                </c:pt>
                <c:pt idx="2268">
                  <c:v>42825</c:v>
                </c:pt>
                <c:pt idx="2269">
                  <c:v>42830</c:v>
                </c:pt>
                <c:pt idx="2270">
                  <c:v>42831</c:v>
                </c:pt>
                <c:pt idx="2271">
                  <c:v>42832</c:v>
                </c:pt>
                <c:pt idx="2272">
                  <c:v>42835</c:v>
                </c:pt>
                <c:pt idx="2273">
                  <c:v>42836</c:v>
                </c:pt>
                <c:pt idx="2274">
                  <c:v>42837</c:v>
                </c:pt>
                <c:pt idx="2275">
                  <c:v>42838</c:v>
                </c:pt>
                <c:pt idx="2276">
                  <c:v>42839</c:v>
                </c:pt>
                <c:pt idx="2277">
                  <c:v>42842</c:v>
                </c:pt>
                <c:pt idx="2278">
                  <c:v>42843</c:v>
                </c:pt>
                <c:pt idx="2279">
                  <c:v>42844</c:v>
                </c:pt>
                <c:pt idx="2280">
                  <c:v>42845</c:v>
                </c:pt>
                <c:pt idx="2281">
                  <c:v>42846</c:v>
                </c:pt>
                <c:pt idx="2282">
                  <c:v>42849</c:v>
                </c:pt>
                <c:pt idx="2283">
                  <c:v>42850</c:v>
                </c:pt>
                <c:pt idx="2284">
                  <c:v>42851</c:v>
                </c:pt>
                <c:pt idx="2285">
                  <c:v>42852</c:v>
                </c:pt>
                <c:pt idx="2286">
                  <c:v>42853</c:v>
                </c:pt>
                <c:pt idx="2287">
                  <c:v>42857</c:v>
                </c:pt>
                <c:pt idx="2288">
                  <c:v>42858</c:v>
                </c:pt>
                <c:pt idx="2289">
                  <c:v>42859</c:v>
                </c:pt>
                <c:pt idx="2290">
                  <c:v>42860</c:v>
                </c:pt>
                <c:pt idx="2291">
                  <c:v>42863</c:v>
                </c:pt>
                <c:pt idx="2292">
                  <c:v>42864</c:v>
                </c:pt>
                <c:pt idx="2293">
                  <c:v>42865</c:v>
                </c:pt>
                <c:pt idx="2294">
                  <c:v>42866</c:v>
                </c:pt>
                <c:pt idx="2295">
                  <c:v>42867</c:v>
                </c:pt>
                <c:pt idx="2296">
                  <c:v>42870</c:v>
                </c:pt>
                <c:pt idx="2297">
                  <c:v>42871</c:v>
                </c:pt>
                <c:pt idx="2298">
                  <c:v>42872</c:v>
                </c:pt>
                <c:pt idx="2299">
                  <c:v>42873</c:v>
                </c:pt>
                <c:pt idx="2300">
                  <c:v>42874</c:v>
                </c:pt>
                <c:pt idx="2301">
                  <c:v>42877</c:v>
                </c:pt>
                <c:pt idx="2302">
                  <c:v>42878</c:v>
                </c:pt>
                <c:pt idx="2303">
                  <c:v>42879</c:v>
                </c:pt>
                <c:pt idx="2304">
                  <c:v>42880</c:v>
                </c:pt>
                <c:pt idx="2305">
                  <c:v>42881</c:v>
                </c:pt>
                <c:pt idx="2306">
                  <c:v>42886</c:v>
                </c:pt>
                <c:pt idx="2307">
                  <c:v>42887</c:v>
                </c:pt>
                <c:pt idx="2308">
                  <c:v>42888</c:v>
                </c:pt>
                <c:pt idx="2309">
                  <c:v>42891</c:v>
                </c:pt>
                <c:pt idx="2310">
                  <c:v>42892</c:v>
                </c:pt>
                <c:pt idx="2311">
                  <c:v>42893</c:v>
                </c:pt>
                <c:pt idx="2312">
                  <c:v>42894</c:v>
                </c:pt>
                <c:pt idx="2313">
                  <c:v>42895</c:v>
                </c:pt>
                <c:pt idx="2314">
                  <c:v>42898</c:v>
                </c:pt>
                <c:pt idx="2315">
                  <c:v>42899</c:v>
                </c:pt>
                <c:pt idx="2316">
                  <c:v>42900</c:v>
                </c:pt>
                <c:pt idx="2317">
                  <c:v>42901</c:v>
                </c:pt>
                <c:pt idx="2318">
                  <c:v>42902</c:v>
                </c:pt>
                <c:pt idx="2319">
                  <c:v>42905</c:v>
                </c:pt>
                <c:pt idx="2320">
                  <c:v>42906</c:v>
                </c:pt>
                <c:pt idx="2321">
                  <c:v>42907</c:v>
                </c:pt>
                <c:pt idx="2322">
                  <c:v>42908</c:v>
                </c:pt>
                <c:pt idx="2323">
                  <c:v>42909</c:v>
                </c:pt>
                <c:pt idx="2324">
                  <c:v>42912</c:v>
                </c:pt>
                <c:pt idx="2325">
                  <c:v>42913</c:v>
                </c:pt>
                <c:pt idx="2326">
                  <c:v>42914</c:v>
                </c:pt>
                <c:pt idx="2327">
                  <c:v>42915</c:v>
                </c:pt>
                <c:pt idx="2328">
                  <c:v>42916</c:v>
                </c:pt>
                <c:pt idx="2329">
                  <c:v>42919</c:v>
                </c:pt>
                <c:pt idx="2330">
                  <c:v>42920</c:v>
                </c:pt>
                <c:pt idx="2331">
                  <c:v>42921</c:v>
                </c:pt>
                <c:pt idx="2332">
                  <c:v>42922</c:v>
                </c:pt>
                <c:pt idx="2333">
                  <c:v>42923</c:v>
                </c:pt>
                <c:pt idx="2334">
                  <c:v>42926</c:v>
                </c:pt>
                <c:pt idx="2335">
                  <c:v>42927</c:v>
                </c:pt>
                <c:pt idx="2336">
                  <c:v>42928</c:v>
                </c:pt>
                <c:pt idx="2337">
                  <c:v>42929</c:v>
                </c:pt>
                <c:pt idx="2338">
                  <c:v>42930</c:v>
                </c:pt>
                <c:pt idx="2339">
                  <c:v>42933</c:v>
                </c:pt>
                <c:pt idx="2340">
                  <c:v>42934</c:v>
                </c:pt>
                <c:pt idx="2341">
                  <c:v>42935</c:v>
                </c:pt>
                <c:pt idx="2342">
                  <c:v>42936</c:v>
                </c:pt>
                <c:pt idx="2343">
                  <c:v>42937</c:v>
                </c:pt>
                <c:pt idx="2344">
                  <c:v>42940</c:v>
                </c:pt>
                <c:pt idx="2345">
                  <c:v>42941</c:v>
                </c:pt>
                <c:pt idx="2346">
                  <c:v>42942</c:v>
                </c:pt>
                <c:pt idx="2347">
                  <c:v>42943</c:v>
                </c:pt>
                <c:pt idx="2348">
                  <c:v>42944</c:v>
                </c:pt>
                <c:pt idx="2349">
                  <c:v>42947</c:v>
                </c:pt>
                <c:pt idx="2350">
                  <c:v>42948</c:v>
                </c:pt>
                <c:pt idx="2351">
                  <c:v>42949</c:v>
                </c:pt>
                <c:pt idx="2352">
                  <c:v>42950</c:v>
                </c:pt>
                <c:pt idx="2353">
                  <c:v>42951</c:v>
                </c:pt>
                <c:pt idx="2354">
                  <c:v>42954</c:v>
                </c:pt>
                <c:pt idx="2355">
                  <c:v>42955</c:v>
                </c:pt>
                <c:pt idx="2356">
                  <c:v>42956</c:v>
                </c:pt>
                <c:pt idx="2357">
                  <c:v>42957</c:v>
                </c:pt>
                <c:pt idx="2358">
                  <c:v>42958</c:v>
                </c:pt>
                <c:pt idx="2359">
                  <c:v>42961</c:v>
                </c:pt>
                <c:pt idx="2360">
                  <c:v>42962</c:v>
                </c:pt>
                <c:pt idx="2361">
                  <c:v>42963</c:v>
                </c:pt>
                <c:pt idx="2362">
                  <c:v>42964</c:v>
                </c:pt>
                <c:pt idx="2363">
                  <c:v>42965</c:v>
                </c:pt>
                <c:pt idx="2364">
                  <c:v>42968</c:v>
                </c:pt>
                <c:pt idx="2365">
                  <c:v>42969</c:v>
                </c:pt>
                <c:pt idx="2366">
                  <c:v>42970</c:v>
                </c:pt>
                <c:pt idx="2367">
                  <c:v>42971</c:v>
                </c:pt>
                <c:pt idx="2368">
                  <c:v>42972</c:v>
                </c:pt>
                <c:pt idx="2369">
                  <c:v>42975</c:v>
                </c:pt>
                <c:pt idx="2370">
                  <c:v>42976</c:v>
                </c:pt>
                <c:pt idx="2371">
                  <c:v>42977</c:v>
                </c:pt>
                <c:pt idx="2372">
                  <c:v>42978</c:v>
                </c:pt>
                <c:pt idx="2373">
                  <c:v>42979</c:v>
                </c:pt>
                <c:pt idx="2374">
                  <c:v>42982</c:v>
                </c:pt>
                <c:pt idx="2375">
                  <c:v>42983</c:v>
                </c:pt>
                <c:pt idx="2376">
                  <c:v>42984</c:v>
                </c:pt>
                <c:pt idx="2377">
                  <c:v>42985</c:v>
                </c:pt>
                <c:pt idx="2378">
                  <c:v>42986</c:v>
                </c:pt>
                <c:pt idx="2379">
                  <c:v>42989</c:v>
                </c:pt>
                <c:pt idx="2380">
                  <c:v>42990</c:v>
                </c:pt>
                <c:pt idx="2381">
                  <c:v>42991</c:v>
                </c:pt>
                <c:pt idx="2382">
                  <c:v>42992</c:v>
                </c:pt>
                <c:pt idx="2383">
                  <c:v>42993</c:v>
                </c:pt>
                <c:pt idx="2384">
                  <c:v>42996</c:v>
                </c:pt>
                <c:pt idx="2385">
                  <c:v>42997</c:v>
                </c:pt>
                <c:pt idx="2386">
                  <c:v>42998</c:v>
                </c:pt>
                <c:pt idx="2387">
                  <c:v>42999</c:v>
                </c:pt>
                <c:pt idx="2388">
                  <c:v>43000</c:v>
                </c:pt>
                <c:pt idx="2389">
                  <c:v>43003</c:v>
                </c:pt>
                <c:pt idx="2390">
                  <c:v>43004</c:v>
                </c:pt>
                <c:pt idx="2391">
                  <c:v>43005</c:v>
                </c:pt>
                <c:pt idx="2392">
                  <c:v>43006</c:v>
                </c:pt>
                <c:pt idx="2393">
                  <c:v>43007</c:v>
                </c:pt>
                <c:pt idx="2394">
                  <c:v>43017</c:v>
                </c:pt>
                <c:pt idx="2395">
                  <c:v>43018</c:v>
                </c:pt>
                <c:pt idx="2396">
                  <c:v>43019</c:v>
                </c:pt>
                <c:pt idx="2397">
                  <c:v>43020</c:v>
                </c:pt>
                <c:pt idx="2398">
                  <c:v>43021</c:v>
                </c:pt>
                <c:pt idx="2399">
                  <c:v>43024</c:v>
                </c:pt>
                <c:pt idx="2400">
                  <c:v>43025</c:v>
                </c:pt>
                <c:pt idx="2401">
                  <c:v>43026</c:v>
                </c:pt>
                <c:pt idx="2402">
                  <c:v>43027</c:v>
                </c:pt>
                <c:pt idx="2403">
                  <c:v>43028</c:v>
                </c:pt>
                <c:pt idx="2404">
                  <c:v>43031</c:v>
                </c:pt>
                <c:pt idx="2405">
                  <c:v>43032</c:v>
                </c:pt>
                <c:pt idx="2406">
                  <c:v>43033</c:v>
                </c:pt>
                <c:pt idx="2407">
                  <c:v>43034</c:v>
                </c:pt>
                <c:pt idx="2408">
                  <c:v>43035</c:v>
                </c:pt>
                <c:pt idx="2409">
                  <c:v>43038</c:v>
                </c:pt>
                <c:pt idx="2410">
                  <c:v>43039</c:v>
                </c:pt>
                <c:pt idx="2411">
                  <c:v>43040</c:v>
                </c:pt>
                <c:pt idx="2412">
                  <c:v>43041</c:v>
                </c:pt>
                <c:pt idx="2413">
                  <c:v>43042</c:v>
                </c:pt>
                <c:pt idx="2414">
                  <c:v>43045</c:v>
                </c:pt>
                <c:pt idx="2415">
                  <c:v>43046</c:v>
                </c:pt>
                <c:pt idx="2416">
                  <c:v>43047</c:v>
                </c:pt>
                <c:pt idx="2417">
                  <c:v>43048</c:v>
                </c:pt>
                <c:pt idx="2418">
                  <c:v>43049</c:v>
                </c:pt>
                <c:pt idx="2419">
                  <c:v>43052</c:v>
                </c:pt>
                <c:pt idx="2420">
                  <c:v>43053</c:v>
                </c:pt>
                <c:pt idx="2421">
                  <c:v>43054</c:v>
                </c:pt>
                <c:pt idx="2422">
                  <c:v>43055</c:v>
                </c:pt>
                <c:pt idx="2423">
                  <c:v>43056</c:v>
                </c:pt>
                <c:pt idx="2424">
                  <c:v>43059</c:v>
                </c:pt>
                <c:pt idx="2425">
                  <c:v>43060</c:v>
                </c:pt>
                <c:pt idx="2426">
                  <c:v>43061</c:v>
                </c:pt>
                <c:pt idx="2427">
                  <c:v>43062</c:v>
                </c:pt>
                <c:pt idx="2428">
                  <c:v>43063</c:v>
                </c:pt>
                <c:pt idx="2429">
                  <c:v>43066</c:v>
                </c:pt>
                <c:pt idx="2430">
                  <c:v>43067</c:v>
                </c:pt>
                <c:pt idx="2431">
                  <c:v>43068</c:v>
                </c:pt>
                <c:pt idx="2432">
                  <c:v>43069</c:v>
                </c:pt>
                <c:pt idx="2433">
                  <c:v>43070</c:v>
                </c:pt>
                <c:pt idx="2434">
                  <c:v>43073</c:v>
                </c:pt>
                <c:pt idx="2435">
                  <c:v>43074</c:v>
                </c:pt>
                <c:pt idx="2436">
                  <c:v>43075</c:v>
                </c:pt>
                <c:pt idx="2437">
                  <c:v>43076</c:v>
                </c:pt>
                <c:pt idx="2438">
                  <c:v>43077</c:v>
                </c:pt>
                <c:pt idx="2439">
                  <c:v>43080</c:v>
                </c:pt>
                <c:pt idx="2440">
                  <c:v>43081</c:v>
                </c:pt>
                <c:pt idx="2441">
                  <c:v>43082</c:v>
                </c:pt>
                <c:pt idx="2442">
                  <c:v>43083</c:v>
                </c:pt>
                <c:pt idx="2443">
                  <c:v>43084</c:v>
                </c:pt>
                <c:pt idx="2444">
                  <c:v>43087</c:v>
                </c:pt>
                <c:pt idx="2445">
                  <c:v>43088</c:v>
                </c:pt>
                <c:pt idx="2446">
                  <c:v>43089</c:v>
                </c:pt>
                <c:pt idx="2447">
                  <c:v>43090</c:v>
                </c:pt>
                <c:pt idx="2448">
                  <c:v>43091</c:v>
                </c:pt>
                <c:pt idx="2449">
                  <c:v>43094</c:v>
                </c:pt>
                <c:pt idx="2450">
                  <c:v>43095</c:v>
                </c:pt>
                <c:pt idx="2451">
                  <c:v>43096</c:v>
                </c:pt>
                <c:pt idx="2452">
                  <c:v>43097</c:v>
                </c:pt>
                <c:pt idx="2453">
                  <c:v>43098</c:v>
                </c:pt>
                <c:pt idx="2454">
                  <c:v>43102</c:v>
                </c:pt>
                <c:pt idx="2455">
                  <c:v>43103</c:v>
                </c:pt>
                <c:pt idx="2456">
                  <c:v>43104</c:v>
                </c:pt>
                <c:pt idx="2457">
                  <c:v>43105</c:v>
                </c:pt>
                <c:pt idx="2458">
                  <c:v>43108</c:v>
                </c:pt>
                <c:pt idx="2459">
                  <c:v>43109</c:v>
                </c:pt>
                <c:pt idx="2460">
                  <c:v>43110</c:v>
                </c:pt>
                <c:pt idx="2461">
                  <c:v>43111</c:v>
                </c:pt>
                <c:pt idx="2462">
                  <c:v>43112</c:v>
                </c:pt>
                <c:pt idx="2463">
                  <c:v>43115</c:v>
                </c:pt>
                <c:pt idx="2464">
                  <c:v>43116</c:v>
                </c:pt>
                <c:pt idx="2465">
                  <c:v>43117</c:v>
                </c:pt>
                <c:pt idx="2466">
                  <c:v>43118</c:v>
                </c:pt>
                <c:pt idx="2467">
                  <c:v>43119</c:v>
                </c:pt>
                <c:pt idx="2468">
                  <c:v>43122</c:v>
                </c:pt>
                <c:pt idx="2469">
                  <c:v>43123</c:v>
                </c:pt>
                <c:pt idx="2470">
                  <c:v>43124</c:v>
                </c:pt>
                <c:pt idx="2471">
                  <c:v>43125</c:v>
                </c:pt>
                <c:pt idx="2472">
                  <c:v>43126</c:v>
                </c:pt>
                <c:pt idx="2473">
                  <c:v>43129</c:v>
                </c:pt>
                <c:pt idx="2474">
                  <c:v>43130</c:v>
                </c:pt>
                <c:pt idx="2475">
                  <c:v>43131</c:v>
                </c:pt>
                <c:pt idx="2476">
                  <c:v>43132</c:v>
                </c:pt>
                <c:pt idx="2477">
                  <c:v>43133</c:v>
                </c:pt>
                <c:pt idx="2478">
                  <c:v>43136</c:v>
                </c:pt>
                <c:pt idx="2479">
                  <c:v>43137</c:v>
                </c:pt>
                <c:pt idx="2480">
                  <c:v>43138</c:v>
                </c:pt>
                <c:pt idx="2481">
                  <c:v>43139</c:v>
                </c:pt>
                <c:pt idx="2482">
                  <c:v>43140</c:v>
                </c:pt>
                <c:pt idx="2483">
                  <c:v>43143</c:v>
                </c:pt>
                <c:pt idx="2484">
                  <c:v>43144</c:v>
                </c:pt>
                <c:pt idx="2485">
                  <c:v>43145</c:v>
                </c:pt>
                <c:pt idx="2486">
                  <c:v>43153</c:v>
                </c:pt>
                <c:pt idx="2487">
                  <c:v>43154</c:v>
                </c:pt>
                <c:pt idx="2488">
                  <c:v>43157</c:v>
                </c:pt>
                <c:pt idx="2489">
                  <c:v>43158</c:v>
                </c:pt>
                <c:pt idx="2490">
                  <c:v>43159</c:v>
                </c:pt>
                <c:pt idx="2491">
                  <c:v>43160</c:v>
                </c:pt>
                <c:pt idx="2492">
                  <c:v>43161</c:v>
                </c:pt>
                <c:pt idx="2493">
                  <c:v>43164</c:v>
                </c:pt>
                <c:pt idx="2494">
                  <c:v>43165</c:v>
                </c:pt>
                <c:pt idx="2495">
                  <c:v>43166</c:v>
                </c:pt>
                <c:pt idx="2496">
                  <c:v>43167</c:v>
                </c:pt>
                <c:pt idx="2497">
                  <c:v>43168</c:v>
                </c:pt>
                <c:pt idx="2498">
                  <c:v>43171</c:v>
                </c:pt>
                <c:pt idx="2499">
                  <c:v>43172</c:v>
                </c:pt>
                <c:pt idx="2500">
                  <c:v>43173</c:v>
                </c:pt>
                <c:pt idx="2501">
                  <c:v>43174</c:v>
                </c:pt>
                <c:pt idx="2502">
                  <c:v>43175</c:v>
                </c:pt>
                <c:pt idx="2503">
                  <c:v>43178</c:v>
                </c:pt>
                <c:pt idx="2504">
                  <c:v>43179</c:v>
                </c:pt>
                <c:pt idx="2505">
                  <c:v>43180</c:v>
                </c:pt>
                <c:pt idx="2506">
                  <c:v>43181</c:v>
                </c:pt>
                <c:pt idx="2507">
                  <c:v>43182</c:v>
                </c:pt>
                <c:pt idx="2508">
                  <c:v>43185</c:v>
                </c:pt>
                <c:pt idx="2509">
                  <c:v>43186</c:v>
                </c:pt>
                <c:pt idx="2510">
                  <c:v>43187</c:v>
                </c:pt>
                <c:pt idx="2511">
                  <c:v>43188</c:v>
                </c:pt>
                <c:pt idx="2512">
                  <c:v>43189</c:v>
                </c:pt>
                <c:pt idx="2513">
                  <c:v>43192</c:v>
                </c:pt>
                <c:pt idx="2514">
                  <c:v>43193</c:v>
                </c:pt>
                <c:pt idx="2515">
                  <c:v>43194</c:v>
                </c:pt>
                <c:pt idx="2516">
                  <c:v>43199</c:v>
                </c:pt>
                <c:pt idx="2517">
                  <c:v>43200</c:v>
                </c:pt>
                <c:pt idx="2518">
                  <c:v>43201</c:v>
                </c:pt>
                <c:pt idx="2519">
                  <c:v>43202</c:v>
                </c:pt>
                <c:pt idx="2520">
                  <c:v>43203</c:v>
                </c:pt>
                <c:pt idx="2521">
                  <c:v>43206</c:v>
                </c:pt>
                <c:pt idx="2522">
                  <c:v>43207</c:v>
                </c:pt>
                <c:pt idx="2523">
                  <c:v>43208</c:v>
                </c:pt>
                <c:pt idx="2524">
                  <c:v>43209</c:v>
                </c:pt>
                <c:pt idx="2525">
                  <c:v>43210</c:v>
                </c:pt>
                <c:pt idx="2526">
                  <c:v>43213</c:v>
                </c:pt>
                <c:pt idx="2527">
                  <c:v>43214</c:v>
                </c:pt>
                <c:pt idx="2528">
                  <c:v>43215</c:v>
                </c:pt>
                <c:pt idx="2529">
                  <c:v>43216</c:v>
                </c:pt>
                <c:pt idx="2530">
                  <c:v>43217</c:v>
                </c:pt>
                <c:pt idx="2531">
                  <c:v>43222</c:v>
                </c:pt>
                <c:pt idx="2532">
                  <c:v>43223</c:v>
                </c:pt>
                <c:pt idx="2533">
                  <c:v>43224</c:v>
                </c:pt>
                <c:pt idx="2534">
                  <c:v>43227</c:v>
                </c:pt>
                <c:pt idx="2535">
                  <c:v>43228</c:v>
                </c:pt>
                <c:pt idx="2536">
                  <c:v>43229</c:v>
                </c:pt>
                <c:pt idx="2537">
                  <c:v>43230</c:v>
                </c:pt>
                <c:pt idx="2538">
                  <c:v>43231</c:v>
                </c:pt>
                <c:pt idx="2539">
                  <c:v>43234</c:v>
                </c:pt>
                <c:pt idx="2540">
                  <c:v>43235</c:v>
                </c:pt>
                <c:pt idx="2541">
                  <c:v>43236</c:v>
                </c:pt>
                <c:pt idx="2542">
                  <c:v>43237</c:v>
                </c:pt>
                <c:pt idx="2543">
                  <c:v>43238</c:v>
                </c:pt>
                <c:pt idx="2544">
                  <c:v>43241</c:v>
                </c:pt>
                <c:pt idx="2545">
                  <c:v>43242</c:v>
                </c:pt>
                <c:pt idx="2546">
                  <c:v>43243</c:v>
                </c:pt>
                <c:pt idx="2547">
                  <c:v>43244</c:v>
                </c:pt>
                <c:pt idx="2548">
                  <c:v>43245</c:v>
                </c:pt>
                <c:pt idx="2549">
                  <c:v>43248</c:v>
                </c:pt>
                <c:pt idx="2550">
                  <c:v>43249</c:v>
                </c:pt>
                <c:pt idx="2551">
                  <c:v>43250</c:v>
                </c:pt>
                <c:pt idx="2552">
                  <c:v>43251</c:v>
                </c:pt>
                <c:pt idx="2553">
                  <c:v>43252</c:v>
                </c:pt>
                <c:pt idx="2554">
                  <c:v>43255</c:v>
                </c:pt>
                <c:pt idx="2555">
                  <c:v>43256</c:v>
                </c:pt>
                <c:pt idx="2556">
                  <c:v>43257</c:v>
                </c:pt>
                <c:pt idx="2557">
                  <c:v>43258</c:v>
                </c:pt>
                <c:pt idx="2558">
                  <c:v>43259</c:v>
                </c:pt>
                <c:pt idx="2559">
                  <c:v>43262</c:v>
                </c:pt>
                <c:pt idx="2560">
                  <c:v>43263</c:v>
                </c:pt>
                <c:pt idx="2561">
                  <c:v>43264</c:v>
                </c:pt>
                <c:pt idx="2562">
                  <c:v>43265</c:v>
                </c:pt>
                <c:pt idx="2563">
                  <c:v>43266</c:v>
                </c:pt>
                <c:pt idx="2564">
                  <c:v>43270</c:v>
                </c:pt>
                <c:pt idx="2565">
                  <c:v>43271</c:v>
                </c:pt>
                <c:pt idx="2566">
                  <c:v>43272</c:v>
                </c:pt>
                <c:pt idx="2567">
                  <c:v>43273</c:v>
                </c:pt>
                <c:pt idx="2568">
                  <c:v>43276</c:v>
                </c:pt>
                <c:pt idx="2569">
                  <c:v>43277</c:v>
                </c:pt>
                <c:pt idx="2570">
                  <c:v>43278</c:v>
                </c:pt>
                <c:pt idx="2571">
                  <c:v>43279</c:v>
                </c:pt>
                <c:pt idx="2572">
                  <c:v>43280</c:v>
                </c:pt>
                <c:pt idx="2573">
                  <c:v>43283</c:v>
                </c:pt>
                <c:pt idx="2574">
                  <c:v>43284</c:v>
                </c:pt>
                <c:pt idx="2575">
                  <c:v>43285</c:v>
                </c:pt>
                <c:pt idx="2576">
                  <c:v>43286</c:v>
                </c:pt>
                <c:pt idx="2577">
                  <c:v>43287</c:v>
                </c:pt>
                <c:pt idx="2578">
                  <c:v>43290</c:v>
                </c:pt>
                <c:pt idx="2579">
                  <c:v>43291</c:v>
                </c:pt>
                <c:pt idx="2580">
                  <c:v>43292</c:v>
                </c:pt>
                <c:pt idx="2581">
                  <c:v>43293</c:v>
                </c:pt>
                <c:pt idx="2582">
                  <c:v>43294</c:v>
                </c:pt>
                <c:pt idx="2583">
                  <c:v>43297</c:v>
                </c:pt>
                <c:pt idx="2584">
                  <c:v>43298</c:v>
                </c:pt>
                <c:pt idx="2585">
                  <c:v>43299</c:v>
                </c:pt>
                <c:pt idx="2586">
                  <c:v>43300</c:v>
                </c:pt>
                <c:pt idx="2587">
                  <c:v>43301</c:v>
                </c:pt>
                <c:pt idx="2588">
                  <c:v>43304</c:v>
                </c:pt>
                <c:pt idx="2589">
                  <c:v>43305</c:v>
                </c:pt>
                <c:pt idx="2590">
                  <c:v>43306</c:v>
                </c:pt>
                <c:pt idx="2591">
                  <c:v>43307</c:v>
                </c:pt>
                <c:pt idx="2592">
                  <c:v>43308</c:v>
                </c:pt>
                <c:pt idx="2593">
                  <c:v>43311</c:v>
                </c:pt>
                <c:pt idx="2594">
                  <c:v>43312</c:v>
                </c:pt>
                <c:pt idx="2595">
                  <c:v>43313</c:v>
                </c:pt>
                <c:pt idx="2596">
                  <c:v>43314</c:v>
                </c:pt>
                <c:pt idx="2597">
                  <c:v>43315</c:v>
                </c:pt>
                <c:pt idx="2598">
                  <c:v>43318</c:v>
                </c:pt>
                <c:pt idx="2599">
                  <c:v>43319</c:v>
                </c:pt>
                <c:pt idx="2600">
                  <c:v>43320</c:v>
                </c:pt>
                <c:pt idx="2601">
                  <c:v>43321</c:v>
                </c:pt>
                <c:pt idx="2602">
                  <c:v>43322</c:v>
                </c:pt>
                <c:pt idx="2603">
                  <c:v>43325</c:v>
                </c:pt>
                <c:pt idx="2604">
                  <c:v>43326</c:v>
                </c:pt>
                <c:pt idx="2605">
                  <c:v>43327</c:v>
                </c:pt>
                <c:pt idx="2606">
                  <c:v>43328</c:v>
                </c:pt>
                <c:pt idx="2607">
                  <c:v>43329</c:v>
                </c:pt>
                <c:pt idx="2608">
                  <c:v>43332</c:v>
                </c:pt>
                <c:pt idx="2609">
                  <c:v>43333</c:v>
                </c:pt>
                <c:pt idx="2610">
                  <c:v>43334</c:v>
                </c:pt>
                <c:pt idx="2611">
                  <c:v>43335</c:v>
                </c:pt>
                <c:pt idx="2612">
                  <c:v>43336</c:v>
                </c:pt>
                <c:pt idx="2613">
                  <c:v>43339</c:v>
                </c:pt>
                <c:pt idx="2614">
                  <c:v>43340</c:v>
                </c:pt>
                <c:pt idx="2615">
                  <c:v>43341</c:v>
                </c:pt>
                <c:pt idx="2616">
                  <c:v>43342</c:v>
                </c:pt>
                <c:pt idx="2617">
                  <c:v>43343</c:v>
                </c:pt>
                <c:pt idx="2618">
                  <c:v>43346</c:v>
                </c:pt>
                <c:pt idx="2619">
                  <c:v>43347</c:v>
                </c:pt>
                <c:pt idx="2620">
                  <c:v>43348</c:v>
                </c:pt>
                <c:pt idx="2621">
                  <c:v>43349</c:v>
                </c:pt>
                <c:pt idx="2622">
                  <c:v>43350</c:v>
                </c:pt>
                <c:pt idx="2623">
                  <c:v>43353</c:v>
                </c:pt>
                <c:pt idx="2624">
                  <c:v>43354</c:v>
                </c:pt>
                <c:pt idx="2625">
                  <c:v>43355</c:v>
                </c:pt>
                <c:pt idx="2626">
                  <c:v>43356</c:v>
                </c:pt>
                <c:pt idx="2627">
                  <c:v>43357</c:v>
                </c:pt>
                <c:pt idx="2628">
                  <c:v>43360</c:v>
                </c:pt>
                <c:pt idx="2629">
                  <c:v>43361</c:v>
                </c:pt>
                <c:pt idx="2630">
                  <c:v>43362</c:v>
                </c:pt>
                <c:pt idx="2631">
                  <c:v>43363</c:v>
                </c:pt>
                <c:pt idx="2632">
                  <c:v>43364</c:v>
                </c:pt>
                <c:pt idx="2633">
                  <c:v>43368</c:v>
                </c:pt>
                <c:pt idx="2634">
                  <c:v>43369</c:v>
                </c:pt>
                <c:pt idx="2635">
                  <c:v>43370</c:v>
                </c:pt>
                <c:pt idx="2636">
                  <c:v>43371</c:v>
                </c:pt>
                <c:pt idx="2637">
                  <c:v>43381</c:v>
                </c:pt>
                <c:pt idx="2638">
                  <c:v>43382</c:v>
                </c:pt>
                <c:pt idx="2639">
                  <c:v>43383</c:v>
                </c:pt>
                <c:pt idx="2640">
                  <c:v>43384</c:v>
                </c:pt>
                <c:pt idx="2641">
                  <c:v>43385</c:v>
                </c:pt>
                <c:pt idx="2642">
                  <c:v>43388</c:v>
                </c:pt>
                <c:pt idx="2643">
                  <c:v>43389</c:v>
                </c:pt>
                <c:pt idx="2644">
                  <c:v>43390</c:v>
                </c:pt>
                <c:pt idx="2645">
                  <c:v>43391</c:v>
                </c:pt>
                <c:pt idx="2646">
                  <c:v>43392</c:v>
                </c:pt>
                <c:pt idx="2647">
                  <c:v>43395</c:v>
                </c:pt>
                <c:pt idx="2648">
                  <c:v>43396</c:v>
                </c:pt>
                <c:pt idx="2649">
                  <c:v>43397</c:v>
                </c:pt>
                <c:pt idx="2650">
                  <c:v>43398</c:v>
                </c:pt>
                <c:pt idx="2651">
                  <c:v>43399</c:v>
                </c:pt>
                <c:pt idx="2652">
                  <c:v>43402</c:v>
                </c:pt>
                <c:pt idx="2653">
                  <c:v>43403</c:v>
                </c:pt>
                <c:pt idx="2654">
                  <c:v>43404</c:v>
                </c:pt>
                <c:pt idx="2655">
                  <c:v>43405</c:v>
                </c:pt>
                <c:pt idx="2656">
                  <c:v>43406</c:v>
                </c:pt>
                <c:pt idx="2657">
                  <c:v>43409</c:v>
                </c:pt>
                <c:pt idx="2658">
                  <c:v>43410</c:v>
                </c:pt>
                <c:pt idx="2659">
                  <c:v>43411</c:v>
                </c:pt>
                <c:pt idx="2660">
                  <c:v>43412</c:v>
                </c:pt>
                <c:pt idx="2661">
                  <c:v>43413</c:v>
                </c:pt>
                <c:pt idx="2662">
                  <c:v>43416</c:v>
                </c:pt>
                <c:pt idx="2663">
                  <c:v>43417</c:v>
                </c:pt>
                <c:pt idx="2664">
                  <c:v>43418</c:v>
                </c:pt>
                <c:pt idx="2665">
                  <c:v>43419</c:v>
                </c:pt>
                <c:pt idx="2666">
                  <c:v>43420</c:v>
                </c:pt>
                <c:pt idx="2667">
                  <c:v>43423</c:v>
                </c:pt>
                <c:pt idx="2668">
                  <c:v>43424</c:v>
                </c:pt>
                <c:pt idx="2669">
                  <c:v>43425</c:v>
                </c:pt>
                <c:pt idx="2670">
                  <c:v>43426</c:v>
                </c:pt>
                <c:pt idx="2671">
                  <c:v>43427</c:v>
                </c:pt>
                <c:pt idx="2672">
                  <c:v>43430</c:v>
                </c:pt>
                <c:pt idx="2673">
                  <c:v>43431</c:v>
                </c:pt>
                <c:pt idx="2674">
                  <c:v>43432</c:v>
                </c:pt>
                <c:pt idx="2675">
                  <c:v>43433</c:v>
                </c:pt>
                <c:pt idx="2676">
                  <c:v>43434</c:v>
                </c:pt>
                <c:pt idx="2677">
                  <c:v>43437</c:v>
                </c:pt>
                <c:pt idx="2678">
                  <c:v>43438</c:v>
                </c:pt>
                <c:pt idx="2679">
                  <c:v>43439</c:v>
                </c:pt>
                <c:pt idx="2680">
                  <c:v>43440</c:v>
                </c:pt>
                <c:pt idx="2681">
                  <c:v>43441</c:v>
                </c:pt>
                <c:pt idx="2682">
                  <c:v>43444</c:v>
                </c:pt>
                <c:pt idx="2683">
                  <c:v>43445</c:v>
                </c:pt>
                <c:pt idx="2684">
                  <c:v>43446</c:v>
                </c:pt>
                <c:pt idx="2685">
                  <c:v>43447</c:v>
                </c:pt>
                <c:pt idx="2686">
                  <c:v>43448</c:v>
                </c:pt>
                <c:pt idx="2687">
                  <c:v>43451</c:v>
                </c:pt>
                <c:pt idx="2688">
                  <c:v>43452</c:v>
                </c:pt>
                <c:pt idx="2689">
                  <c:v>43453</c:v>
                </c:pt>
                <c:pt idx="2690">
                  <c:v>43454</c:v>
                </c:pt>
                <c:pt idx="2691">
                  <c:v>43455</c:v>
                </c:pt>
                <c:pt idx="2692">
                  <c:v>43458</c:v>
                </c:pt>
                <c:pt idx="2693">
                  <c:v>43459</c:v>
                </c:pt>
                <c:pt idx="2694">
                  <c:v>43460</c:v>
                </c:pt>
                <c:pt idx="2695">
                  <c:v>43461</c:v>
                </c:pt>
                <c:pt idx="2696">
                  <c:v>43462</c:v>
                </c:pt>
                <c:pt idx="2697">
                  <c:v>43467</c:v>
                </c:pt>
                <c:pt idx="2698">
                  <c:v>43468</c:v>
                </c:pt>
                <c:pt idx="2699">
                  <c:v>43469</c:v>
                </c:pt>
                <c:pt idx="2700">
                  <c:v>43472</c:v>
                </c:pt>
                <c:pt idx="2701">
                  <c:v>43473</c:v>
                </c:pt>
                <c:pt idx="2702">
                  <c:v>43474</c:v>
                </c:pt>
                <c:pt idx="2703">
                  <c:v>43475</c:v>
                </c:pt>
                <c:pt idx="2704">
                  <c:v>43476</c:v>
                </c:pt>
                <c:pt idx="2705">
                  <c:v>43479</c:v>
                </c:pt>
                <c:pt idx="2706">
                  <c:v>43480</c:v>
                </c:pt>
                <c:pt idx="2707">
                  <c:v>43481</c:v>
                </c:pt>
                <c:pt idx="2708">
                  <c:v>43482</c:v>
                </c:pt>
                <c:pt idx="2709">
                  <c:v>43483</c:v>
                </c:pt>
                <c:pt idx="2710">
                  <c:v>43486</c:v>
                </c:pt>
                <c:pt idx="2711">
                  <c:v>43487</c:v>
                </c:pt>
                <c:pt idx="2712">
                  <c:v>43488</c:v>
                </c:pt>
                <c:pt idx="2713">
                  <c:v>43489</c:v>
                </c:pt>
                <c:pt idx="2714">
                  <c:v>43490</c:v>
                </c:pt>
                <c:pt idx="2715">
                  <c:v>43493</c:v>
                </c:pt>
                <c:pt idx="2716">
                  <c:v>43494</c:v>
                </c:pt>
                <c:pt idx="2717">
                  <c:v>43495</c:v>
                </c:pt>
                <c:pt idx="2718">
                  <c:v>43496</c:v>
                </c:pt>
                <c:pt idx="2719">
                  <c:v>43497</c:v>
                </c:pt>
                <c:pt idx="2720">
                  <c:v>43507</c:v>
                </c:pt>
                <c:pt idx="2721">
                  <c:v>43508</c:v>
                </c:pt>
                <c:pt idx="2722">
                  <c:v>43509</c:v>
                </c:pt>
                <c:pt idx="2723">
                  <c:v>43510</c:v>
                </c:pt>
                <c:pt idx="2724">
                  <c:v>43511</c:v>
                </c:pt>
                <c:pt idx="2725">
                  <c:v>43514</c:v>
                </c:pt>
                <c:pt idx="2726">
                  <c:v>43515</c:v>
                </c:pt>
                <c:pt idx="2727">
                  <c:v>43516</c:v>
                </c:pt>
                <c:pt idx="2728">
                  <c:v>43517</c:v>
                </c:pt>
                <c:pt idx="2729">
                  <c:v>43518</c:v>
                </c:pt>
                <c:pt idx="2730">
                  <c:v>43521</c:v>
                </c:pt>
                <c:pt idx="2731">
                  <c:v>43522</c:v>
                </c:pt>
                <c:pt idx="2732">
                  <c:v>43523</c:v>
                </c:pt>
                <c:pt idx="2733">
                  <c:v>43524</c:v>
                </c:pt>
                <c:pt idx="2734">
                  <c:v>43525</c:v>
                </c:pt>
                <c:pt idx="2735">
                  <c:v>43528</c:v>
                </c:pt>
                <c:pt idx="2736">
                  <c:v>43529</c:v>
                </c:pt>
                <c:pt idx="2737">
                  <c:v>43530</c:v>
                </c:pt>
                <c:pt idx="2738">
                  <c:v>43531</c:v>
                </c:pt>
                <c:pt idx="2739">
                  <c:v>43532</c:v>
                </c:pt>
                <c:pt idx="2740">
                  <c:v>43535</c:v>
                </c:pt>
                <c:pt idx="2741">
                  <c:v>43536</c:v>
                </c:pt>
                <c:pt idx="2742">
                  <c:v>43537</c:v>
                </c:pt>
                <c:pt idx="2743">
                  <c:v>43538</c:v>
                </c:pt>
                <c:pt idx="2744">
                  <c:v>43539</c:v>
                </c:pt>
                <c:pt idx="2745">
                  <c:v>43542</c:v>
                </c:pt>
                <c:pt idx="2746">
                  <c:v>43543</c:v>
                </c:pt>
                <c:pt idx="2747">
                  <c:v>43544</c:v>
                </c:pt>
                <c:pt idx="2748">
                  <c:v>43545</c:v>
                </c:pt>
                <c:pt idx="2749">
                  <c:v>43546</c:v>
                </c:pt>
                <c:pt idx="2750">
                  <c:v>43549</c:v>
                </c:pt>
                <c:pt idx="2751">
                  <c:v>43550</c:v>
                </c:pt>
                <c:pt idx="2752">
                  <c:v>43551</c:v>
                </c:pt>
                <c:pt idx="2753">
                  <c:v>43552</c:v>
                </c:pt>
                <c:pt idx="2754">
                  <c:v>43553</c:v>
                </c:pt>
                <c:pt idx="2755">
                  <c:v>43556</c:v>
                </c:pt>
                <c:pt idx="2756">
                  <c:v>43557</c:v>
                </c:pt>
                <c:pt idx="2757">
                  <c:v>43558</c:v>
                </c:pt>
                <c:pt idx="2758">
                  <c:v>43559</c:v>
                </c:pt>
                <c:pt idx="2759">
                  <c:v>43563</c:v>
                </c:pt>
                <c:pt idx="2760">
                  <c:v>43564</c:v>
                </c:pt>
                <c:pt idx="2761">
                  <c:v>43565</c:v>
                </c:pt>
                <c:pt idx="2762">
                  <c:v>43566</c:v>
                </c:pt>
                <c:pt idx="2763">
                  <c:v>43567</c:v>
                </c:pt>
                <c:pt idx="2764">
                  <c:v>43570</c:v>
                </c:pt>
                <c:pt idx="2765">
                  <c:v>43571</c:v>
                </c:pt>
                <c:pt idx="2766">
                  <c:v>43572</c:v>
                </c:pt>
                <c:pt idx="2767">
                  <c:v>43573</c:v>
                </c:pt>
                <c:pt idx="2768">
                  <c:v>43574</c:v>
                </c:pt>
                <c:pt idx="2769">
                  <c:v>43577</c:v>
                </c:pt>
                <c:pt idx="2770">
                  <c:v>43578</c:v>
                </c:pt>
                <c:pt idx="2771">
                  <c:v>43579</c:v>
                </c:pt>
                <c:pt idx="2772">
                  <c:v>43580</c:v>
                </c:pt>
                <c:pt idx="2773">
                  <c:v>43581</c:v>
                </c:pt>
                <c:pt idx="2774">
                  <c:v>43584</c:v>
                </c:pt>
                <c:pt idx="2775">
                  <c:v>43585</c:v>
                </c:pt>
                <c:pt idx="2776">
                  <c:v>43591</c:v>
                </c:pt>
                <c:pt idx="2777">
                  <c:v>43592</c:v>
                </c:pt>
                <c:pt idx="2778">
                  <c:v>43593</c:v>
                </c:pt>
                <c:pt idx="2779">
                  <c:v>43594</c:v>
                </c:pt>
                <c:pt idx="2780">
                  <c:v>43595</c:v>
                </c:pt>
                <c:pt idx="2781">
                  <c:v>43598</c:v>
                </c:pt>
                <c:pt idx="2782">
                  <c:v>43599</c:v>
                </c:pt>
                <c:pt idx="2783">
                  <c:v>43600</c:v>
                </c:pt>
                <c:pt idx="2784">
                  <c:v>43601</c:v>
                </c:pt>
                <c:pt idx="2785">
                  <c:v>43602</c:v>
                </c:pt>
                <c:pt idx="2786">
                  <c:v>43605</c:v>
                </c:pt>
                <c:pt idx="2787">
                  <c:v>43606</c:v>
                </c:pt>
                <c:pt idx="2788">
                  <c:v>43607</c:v>
                </c:pt>
                <c:pt idx="2789">
                  <c:v>43608</c:v>
                </c:pt>
                <c:pt idx="2790">
                  <c:v>43609</c:v>
                </c:pt>
                <c:pt idx="2791">
                  <c:v>43612</c:v>
                </c:pt>
                <c:pt idx="2792">
                  <c:v>43613</c:v>
                </c:pt>
                <c:pt idx="2793">
                  <c:v>43614</c:v>
                </c:pt>
                <c:pt idx="2794">
                  <c:v>43615</c:v>
                </c:pt>
                <c:pt idx="2795">
                  <c:v>43616</c:v>
                </c:pt>
                <c:pt idx="2796">
                  <c:v>43619</c:v>
                </c:pt>
                <c:pt idx="2797">
                  <c:v>43620</c:v>
                </c:pt>
                <c:pt idx="2798">
                  <c:v>43621</c:v>
                </c:pt>
                <c:pt idx="2799">
                  <c:v>43622</c:v>
                </c:pt>
                <c:pt idx="2800">
                  <c:v>43626</c:v>
                </c:pt>
                <c:pt idx="2801">
                  <c:v>43627</c:v>
                </c:pt>
                <c:pt idx="2802">
                  <c:v>43628</c:v>
                </c:pt>
                <c:pt idx="2803">
                  <c:v>43629</c:v>
                </c:pt>
                <c:pt idx="2804">
                  <c:v>43630</c:v>
                </c:pt>
                <c:pt idx="2805">
                  <c:v>43633</c:v>
                </c:pt>
                <c:pt idx="2806">
                  <c:v>43634</c:v>
                </c:pt>
                <c:pt idx="2807">
                  <c:v>43635</c:v>
                </c:pt>
                <c:pt idx="2808">
                  <c:v>43636</c:v>
                </c:pt>
                <c:pt idx="2809">
                  <c:v>43637</c:v>
                </c:pt>
                <c:pt idx="2810">
                  <c:v>43640</c:v>
                </c:pt>
                <c:pt idx="2811">
                  <c:v>43641</c:v>
                </c:pt>
                <c:pt idx="2812">
                  <c:v>43642</c:v>
                </c:pt>
                <c:pt idx="2813">
                  <c:v>43643</c:v>
                </c:pt>
                <c:pt idx="2814">
                  <c:v>43644</c:v>
                </c:pt>
                <c:pt idx="2815">
                  <c:v>43647</c:v>
                </c:pt>
                <c:pt idx="2816">
                  <c:v>43648</c:v>
                </c:pt>
                <c:pt idx="2817">
                  <c:v>43649</c:v>
                </c:pt>
                <c:pt idx="2818">
                  <c:v>43650</c:v>
                </c:pt>
                <c:pt idx="2819">
                  <c:v>43651</c:v>
                </c:pt>
                <c:pt idx="2820">
                  <c:v>43654</c:v>
                </c:pt>
                <c:pt idx="2821">
                  <c:v>43655</c:v>
                </c:pt>
                <c:pt idx="2822">
                  <c:v>43656</c:v>
                </c:pt>
                <c:pt idx="2823">
                  <c:v>43657</c:v>
                </c:pt>
                <c:pt idx="2824">
                  <c:v>43658</c:v>
                </c:pt>
                <c:pt idx="2825">
                  <c:v>43661</c:v>
                </c:pt>
                <c:pt idx="2826">
                  <c:v>43662</c:v>
                </c:pt>
                <c:pt idx="2827">
                  <c:v>43663</c:v>
                </c:pt>
                <c:pt idx="2828">
                  <c:v>43664</c:v>
                </c:pt>
                <c:pt idx="2829">
                  <c:v>43665</c:v>
                </c:pt>
                <c:pt idx="2830">
                  <c:v>43668</c:v>
                </c:pt>
                <c:pt idx="2831">
                  <c:v>43669</c:v>
                </c:pt>
                <c:pt idx="2832">
                  <c:v>43670</c:v>
                </c:pt>
                <c:pt idx="2833">
                  <c:v>43671</c:v>
                </c:pt>
                <c:pt idx="2834">
                  <c:v>43672</c:v>
                </c:pt>
                <c:pt idx="2835">
                  <c:v>43675</c:v>
                </c:pt>
                <c:pt idx="2836">
                  <c:v>43676</c:v>
                </c:pt>
                <c:pt idx="2837">
                  <c:v>43677</c:v>
                </c:pt>
                <c:pt idx="2838">
                  <c:v>43678</c:v>
                </c:pt>
                <c:pt idx="2839">
                  <c:v>43679</c:v>
                </c:pt>
                <c:pt idx="2840">
                  <c:v>43682</c:v>
                </c:pt>
                <c:pt idx="2841">
                  <c:v>43683</c:v>
                </c:pt>
                <c:pt idx="2842">
                  <c:v>43684</c:v>
                </c:pt>
                <c:pt idx="2843">
                  <c:v>43685</c:v>
                </c:pt>
                <c:pt idx="2844">
                  <c:v>43686</c:v>
                </c:pt>
                <c:pt idx="2845">
                  <c:v>43689</c:v>
                </c:pt>
                <c:pt idx="2846">
                  <c:v>43690</c:v>
                </c:pt>
                <c:pt idx="2847">
                  <c:v>43691</c:v>
                </c:pt>
                <c:pt idx="2848">
                  <c:v>43692</c:v>
                </c:pt>
                <c:pt idx="2849">
                  <c:v>43693</c:v>
                </c:pt>
                <c:pt idx="2850">
                  <c:v>43696</c:v>
                </c:pt>
                <c:pt idx="2851">
                  <c:v>43697</c:v>
                </c:pt>
                <c:pt idx="2852">
                  <c:v>43698</c:v>
                </c:pt>
                <c:pt idx="2853">
                  <c:v>43699</c:v>
                </c:pt>
                <c:pt idx="2854">
                  <c:v>43700</c:v>
                </c:pt>
                <c:pt idx="2855">
                  <c:v>43703</c:v>
                </c:pt>
                <c:pt idx="2856">
                  <c:v>43704</c:v>
                </c:pt>
                <c:pt idx="2857">
                  <c:v>43705</c:v>
                </c:pt>
                <c:pt idx="2858">
                  <c:v>43706</c:v>
                </c:pt>
                <c:pt idx="2859">
                  <c:v>43707</c:v>
                </c:pt>
                <c:pt idx="2860">
                  <c:v>43710</c:v>
                </c:pt>
                <c:pt idx="2861">
                  <c:v>43711</c:v>
                </c:pt>
                <c:pt idx="2862">
                  <c:v>43712</c:v>
                </c:pt>
                <c:pt idx="2863">
                  <c:v>43713</c:v>
                </c:pt>
                <c:pt idx="2864">
                  <c:v>43714</c:v>
                </c:pt>
                <c:pt idx="2865">
                  <c:v>43717</c:v>
                </c:pt>
                <c:pt idx="2866">
                  <c:v>43718</c:v>
                </c:pt>
                <c:pt idx="2867">
                  <c:v>43719</c:v>
                </c:pt>
                <c:pt idx="2868">
                  <c:v>43720</c:v>
                </c:pt>
                <c:pt idx="2869">
                  <c:v>43724</c:v>
                </c:pt>
                <c:pt idx="2870">
                  <c:v>43725</c:v>
                </c:pt>
                <c:pt idx="2871">
                  <c:v>43726</c:v>
                </c:pt>
                <c:pt idx="2872">
                  <c:v>43727</c:v>
                </c:pt>
                <c:pt idx="2873">
                  <c:v>43728</c:v>
                </c:pt>
                <c:pt idx="2874">
                  <c:v>43731</c:v>
                </c:pt>
                <c:pt idx="2875">
                  <c:v>43732</c:v>
                </c:pt>
                <c:pt idx="2876">
                  <c:v>43733</c:v>
                </c:pt>
                <c:pt idx="2877">
                  <c:v>43734</c:v>
                </c:pt>
                <c:pt idx="2878">
                  <c:v>43735</c:v>
                </c:pt>
                <c:pt idx="2879">
                  <c:v>43738</c:v>
                </c:pt>
                <c:pt idx="2880">
                  <c:v>43746</c:v>
                </c:pt>
                <c:pt idx="2881">
                  <c:v>43747</c:v>
                </c:pt>
                <c:pt idx="2882">
                  <c:v>43748</c:v>
                </c:pt>
                <c:pt idx="2883">
                  <c:v>43749</c:v>
                </c:pt>
                <c:pt idx="2884">
                  <c:v>43752</c:v>
                </c:pt>
                <c:pt idx="2885">
                  <c:v>43753</c:v>
                </c:pt>
                <c:pt idx="2886">
                  <c:v>43754</c:v>
                </c:pt>
                <c:pt idx="2887">
                  <c:v>43755</c:v>
                </c:pt>
                <c:pt idx="2888">
                  <c:v>43756</c:v>
                </c:pt>
                <c:pt idx="2889">
                  <c:v>43759</c:v>
                </c:pt>
                <c:pt idx="2890">
                  <c:v>43760</c:v>
                </c:pt>
                <c:pt idx="2891">
                  <c:v>43761</c:v>
                </c:pt>
                <c:pt idx="2892">
                  <c:v>43762</c:v>
                </c:pt>
                <c:pt idx="2893">
                  <c:v>43763</c:v>
                </c:pt>
                <c:pt idx="2894">
                  <c:v>43766</c:v>
                </c:pt>
                <c:pt idx="2895">
                  <c:v>43767</c:v>
                </c:pt>
                <c:pt idx="2896">
                  <c:v>43768</c:v>
                </c:pt>
                <c:pt idx="2897">
                  <c:v>43769</c:v>
                </c:pt>
                <c:pt idx="2898">
                  <c:v>43770</c:v>
                </c:pt>
                <c:pt idx="2899">
                  <c:v>43773</c:v>
                </c:pt>
                <c:pt idx="2900">
                  <c:v>43774</c:v>
                </c:pt>
                <c:pt idx="2901">
                  <c:v>43775</c:v>
                </c:pt>
                <c:pt idx="2902">
                  <c:v>43776</c:v>
                </c:pt>
                <c:pt idx="2903">
                  <c:v>43777</c:v>
                </c:pt>
                <c:pt idx="2904">
                  <c:v>43780</c:v>
                </c:pt>
                <c:pt idx="2905">
                  <c:v>43781</c:v>
                </c:pt>
                <c:pt idx="2906">
                  <c:v>43782</c:v>
                </c:pt>
                <c:pt idx="2907">
                  <c:v>43783</c:v>
                </c:pt>
                <c:pt idx="2908">
                  <c:v>43784</c:v>
                </c:pt>
                <c:pt idx="2909">
                  <c:v>43787</c:v>
                </c:pt>
                <c:pt idx="2910">
                  <c:v>43788</c:v>
                </c:pt>
                <c:pt idx="2911">
                  <c:v>43789</c:v>
                </c:pt>
                <c:pt idx="2912">
                  <c:v>43790</c:v>
                </c:pt>
                <c:pt idx="2913">
                  <c:v>43791</c:v>
                </c:pt>
                <c:pt idx="2914">
                  <c:v>43794</c:v>
                </c:pt>
                <c:pt idx="2915">
                  <c:v>43795</c:v>
                </c:pt>
                <c:pt idx="2916">
                  <c:v>43796</c:v>
                </c:pt>
                <c:pt idx="2917">
                  <c:v>43797</c:v>
                </c:pt>
                <c:pt idx="2918">
                  <c:v>43798</c:v>
                </c:pt>
                <c:pt idx="2919">
                  <c:v>43801</c:v>
                </c:pt>
                <c:pt idx="2920">
                  <c:v>43802</c:v>
                </c:pt>
                <c:pt idx="2921">
                  <c:v>43803</c:v>
                </c:pt>
                <c:pt idx="2922">
                  <c:v>43804</c:v>
                </c:pt>
                <c:pt idx="2923">
                  <c:v>43805</c:v>
                </c:pt>
                <c:pt idx="2924">
                  <c:v>43808</c:v>
                </c:pt>
                <c:pt idx="2925">
                  <c:v>43809</c:v>
                </c:pt>
                <c:pt idx="2926">
                  <c:v>43810</c:v>
                </c:pt>
                <c:pt idx="2927">
                  <c:v>43811</c:v>
                </c:pt>
                <c:pt idx="2928">
                  <c:v>43812</c:v>
                </c:pt>
                <c:pt idx="2929">
                  <c:v>43815</c:v>
                </c:pt>
                <c:pt idx="2930">
                  <c:v>43816</c:v>
                </c:pt>
                <c:pt idx="2931">
                  <c:v>43817</c:v>
                </c:pt>
                <c:pt idx="2932">
                  <c:v>43818</c:v>
                </c:pt>
                <c:pt idx="2933">
                  <c:v>43819</c:v>
                </c:pt>
                <c:pt idx="2934">
                  <c:v>43822</c:v>
                </c:pt>
                <c:pt idx="2935">
                  <c:v>43823</c:v>
                </c:pt>
                <c:pt idx="2936">
                  <c:v>43824</c:v>
                </c:pt>
                <c:pt idx="2937">
                  <c:v>43825</c:v>
                </c:pt>
                <c:pt idx="2938">
                  <c:v>43826</c:v>
                </c:pt>
                <c:pt idx="2939">
                  <c:v>43829</c:v>
                </c:pt>
                <c:pt idx="2940">
                  <c:v>43830</c:v>
                </c:pt>
                <c:pt idx="2941">
                  <c:v>43832</c:v>
                </c:pt>
                <c:pt idx="2942">
                  <c:v>43833</c:v>
                </c:pt>
                <c:pt idx="2943">
                  <c:v>43836</c:v>
                </c:pt>
                <c:pt idx="2944">
                  <c:v>43837</c:v>
                </c:pt>
                <c:pt idx="2945">
                  <c:v>43838</c:v>
                </c:pt>
                <c:pt idx="2946">
                  <c:v>43839</c:v>
                </c:pt>
                <c:pt idx="2947">
                  <c:v>43840</c:v>
                </c:pt>
                <c:pt idx="2948">
                  <c:v>43843</c:v>
                </c:pt>
                <c:pt idx="2949">
                  <c:v>43844</c:v>
                </c:pt>
                <c:pt idx="2950">
                  <c:v>43845</c:v>
                </c:pt>
                <c:pt idx="2951">
                  <c:v>43846</c:v>
                </c:pt>
                <c:pt idx="2952">
                  <c:v>43847</c:v>
                </c:pt>
                <c:pt idx="2953">
                  <c:v>43850</c:v>
                </c:pt>
                <c:pt idx="2954">
                  <c:v>43851</c:v>
                </c:pt>
                <c:pt idx="2955">
                  <c:v>43852</c:v>
                </c:pt>
                <c:pt idx="2956">
                  <c:v>43853</c:v>
                </c:pt>
                <c:pt idx="2957">
                  <c:v>43864</c:v>
                </c:pt>
                <c:pt idx="2958">
                  <c:v>43865</c:v>
                </c:pt>
                <c:pt idx="2959">
                  <c:v>43866</c:v>
                </c:pt>
                <c:pt idx="2960">
                  <c:v>43867</c:v>
                </c:pt>
                <c:pt idx="2961">
                  <c:v>43868</c:v>
                </c:pt>
                <c:pt idx="2962">
                  <c:v>43871</c:v>
                </c:pt>
                <c:pt idx="2963">
                  <c:v>43872</c:v>
                </c:pt>
                <c:pt idx="2964">
                  <c:v>43873</c:v>
                </c:pt>
                <c:pt idx="2965">
                  <c:v>43874</c:v>
                </c:pt>
                <c:pt idx="2966">
                  <c:v>43875</c:v>
                </c:pt>
                <c:pt idx="2967">
                  <c:v>43878</c:v>
                </c:pt>
                <c:pt idx="2968">
                  <c:v>43879</c:v>
                </c:pt>
                <c:pt idx="2969">
                  <c:v>43880</c:v>
                </c:pt>
                <c:pt idx="2970">
                  <c:v>43881</c:v>
                </c:pt>
                <c:pt idx="2971">
                  <c:v>43882</c:v>
                </c:pt>
                <c:pt idx="2972">
                  <c:v>43885</c:v>
                </c:pt>
                <c:pt idx="2973">
                  <c:v>43886</c:v>
                </c:pt>
                <c:pt idx="2974">
                  <c:v>43887</c:v>
                </c:pt>
                <c:pt idx="2975">
                  <c:v>43888</c:v>
                </c:pt>
                <c:pt idx="2976">
                  <c:v>43889</c:v>
                </c:pt>
                <c:pt idx="2977">
                  <c:v>43892</c:v>
                </c:pt>
                <c:pt idx="2978">
                  <c:v>43893</c:v>
                </c:pt>
                <c:pt idx="2979">
                  <c:v>43894</c:v>
                </c:pt>
                <c:pt idx="2980">
                  <c:v>43895</c:v>
                </c:pt>
                <c:pt idx="2981">
                  <c:v>43896</c:v>
                </c:pt>
                <c:pt idx="2982">
                  <c:v>43899</c:v>
                </c:pt>
                <c:pt idx="2983">
                  <c:v>43900</c:v>
                </c:pt>
                <c:pt idx="2984">
                  <c:v>43901</c:v>
                </c:pt>
                <c:pt idx="2985">
                  <c:v>43902</c:v>
                </c:pt>
                <c:pt idx="2986">
                  <c:v>43903</c:v>
                </c:pt>
                <c:pt idx="2987">
                  <c:v>43906</c:v>
                </c:pt>
                <c:pt idx="2988">
                  <c:v>43907</c:v>
                </c:pt>
                <c:pt idx="2989">
                  <c:v>43908</c:v>
                </c:pt>
                <c:pt idx="2990">
                  <c:v>43909</c:v>
                </c:pt>
                <c:pt idx="2991">
                  <c:v>43910</c:v>
                </c:pt>
                <c:pt idx="2992">
                  <c:v>43913</c:v>
                </c:pt>
                <c:pt idx="2993">
                  <c:v>43914</c:v>
                </c:pt>
                <c:pt idx="2994">
                  <c:v>43915</c:v>
                </c:pt>
                <c:pt idx="2995">
                  <c:v>43916</c:v>
                </c:pt>
                <c:pt idx="2996">
                  <c:v>43917</c:v>
                </c:pt>
                <c:pt idx="2997">
                  <c:v>43920</c:v>
                </c:pt>
                <c:pt idx="2998">
                  <c:v>43921</c:v>
                </c:pt>
                <c:pt idx="2999">
                  <c:v>43922</c:v>
                </c:pt>
                <c:pt idx="3000">
                  <c:v>43923</c:v>
                </c:pt>
                <c:pt idx="3001">
                  <c:v>43924</c:v>
                </c:pt>
                <c:pt idx="3002">
                  <c:v>43928</c:v>
                </c:pt>
                <c:pt idx="3003">
                  <c:v>43929</c:v>
                </c:pt>
                <c:pt idx="3004">
                  <c:v>43930</c:v>
                </c:pt>
                <c:pt idx="3005">
                  <c:v>43931</c:v>
                </c:pt>
                <c:pt idx="3006">
                  <c:v>43934</c:v>
                </c:pt>
                <c:pt idx="3007">
                  <c:v>43935</c:v>
                </c:pt>
                <c:pt idx="3008">
                  <c:v>43936</c:v>
                </c:pt>
                <c:pt idx="3009">
                  <c:v>43937</c:v>
                </c:pt>
                <c:pt idx="3010">
                  <c:v>43938</c:v>
                </c:pt>
                <c:pt idx="3011">
                  <c:v>43941</c:v>
                </c:pt>
                <c:pt idx="3012">
                  <c:v>43942</c:v>
                </c:pt>
                <c:pt idx="3013">
                  <c:v>43943</c:v>
                </c:pt>
                <c:pt idx="3014">
                  <c:v>43944</c:v>
                </c:pt>
                <c:pt idx="3015">
                  <c:v>43945</c:v>
                </c:pt>
                <c:pt idx="3016">
                  <c:v>43948</c:v>
                </c:pt>
                <c:pt idx="3017">
                  <c:v>43949</c:v>
                </c:pt>
                <c:pt idx="3018">
                  <c:v>43950</c:v>
                </c:pt>
                <c:pt idx="3019">
                  <c:v>43951</c:v>
                </c:pt>
                <c:pt idx="3020">
                  <c:v>43957</c:v>
                </c:pt>
                <c:pt idx="3021">
                  <c:v>43958</c:v>
                </c:pt>
                <c:pt idx="3022">
                  <c:v>43959</c:v>
                </c:pt>
                <c:pt idx="3023">
                  <c:v>43962</c:v>
                </c:pt>
                <c:pt idx="3024">
                  <c:v>43963</c:v>
                </c:pt>
                <c:pt idx="3025">
                  <c:v>43964</c:v>
                </c:pt>
                <c:pt idx="3026">
                  <c:v>43965</c:v>
                </c:pt>
                <c:pt idx="3027">
                  <c:v>43966</c:v>
                </c:pt>
                <c:pt idx="3028">
                  <c:v>43969</c:v>
                </c:pt>
                <c:pt idx="3029">
                  <c:v>43970</c:v>
                </c:pt>
                <c:pt idx="3030">
                  <c:v>43971</c:v>
                </c:pt>
                <c:pt idx="3031">
                  <c:v>43972</c:v>
                </c:pt>
                <c:pt idx="3032">
                  <c:v>43973</c:v>
                </c:pt>
                <c:pt idx="3033">
                  <c:v>43976</c:v>
                </c:pt>
                <c:pt idx="3034">
                  <c:v>43977</c:v>
                </c:pt>
                <c:pt idx="3035">
                  <c:v>43978</c:v>
                </c:pt>
                <c:pt idx="3036">
                  <c:v>43979</c:v>
                </c:pt>
                <c:pt idx="3037">
                  <c:v>43980</c:v>
                </c:pt>
                <c:pt idx="3038">
                  <c:v>43983</c:v>
                </c:pt>
                <c:pt idx="3039">
                  <c:v>43984</c:v>
                </c:pt>
                <c:pt idx="3040">
                  <c:v>43985</c:v>
                </c:pt>
                <c:pt idx="3041">
                  <c:v>43986</c:v>
                </c:pt>
                <c:pt idx="3042">
                  <c:v>43987</c:v>
                </c:pt>
                <c:pt idx="3043">
                  <c:v>43990</c:v>
                </c:pt>
                <c:pt idx="3044">
                  <c:v>43991</c:v>
                </c:pt>
                <c:pt idx="3045">
                  <c:v>43992</c:v>
                </c:pt>
                <c:pt idx="3046">
                  <c:v>43993</c:v>
                </c:pt>
                <c:pt idx="3047">
                  <c:v>43994</c:v>
                </c:pt>
                <c:pt idx="3048">
                  <c:v>43997</c:v>
                </c:pt>
                <c:pt idx="3049">
                  <c:v>43998</c:v>
                </c:pt>
                <c:pt idx="3050">
                  <c:v>43999</c:v>
                </c:pt>
                <c:pt idx="3051">
                  <c:v>44000</c:v>
                </c:pt>
                <c:pt idx="3052">
                  <c:v>44001</c:v>
                </c:pt>
                <c:pt idx="3053">
                  <c:v>44004</c:v>
                </c:pt>
                <c:pt idx="3054">
                  <c:v>44005</c:v>
                </c:pt>
                <c:pt idx="3055">
                  <c:v>44006</c:v>
                </c:pt>
                <c:pt idx="3056">
                  <c:v>44011</c:v>
                </c:pt>
                <c:pt idx="3057">
                  <c:v>44012</c:v>
                </c:pt>
                <c:pt idx="3058">
                  <c:v>44013</c:v>
                </c:pt>
                <c:pt idx="3059">
                  <c:v>44014</c:v>
                </c:pt>
                <c:pt idx="3060">
                  <c:v>44015</c:v>
                </c:pt>
                <c:pt idx="3061">
                  <c:v>44018</c:v>
                </c:pt>
                <c:pt idx="3062">
                  <c:v>44019</c:v>
                </c:pt>
                <c:pt idx="3063">
                  <c:v>44020</c:v>
                </c:pt>
                <c:pt idx="3064">
                  <c:v>44021</c:v>
                </c:pt>
                <c:pt idx="3065">
                  <c:v>44022</c:v>
                </c:pt>
                <c:pt idx="3066">
                  <c:v>44025</c:v>
                </c:pt>
                <c:pt idx="3067">
                  <c:v>44026</c:v>
                </c:pt>
              </c:numCache>
            </c:numRef>
          </c:cat>
          <c:val>
            <c:numRef>
              <c:f>Wind!$F$3:$F$3070</c:f>
              <c:numCache>
                <c:formatCode>0.0000</c:formatCode>
                <c:ptCount val="3068"/>
                <c:pt idx="0">
                  <c:v>4772.674</c:v>
                </c:pt>
                <c:pt idx="1">
                  <c:v>4829.2139999999999</c:v>
                </c:pt>
                <c:pt idx="2">
                  <c:v>4965.9470000000001</c:v>
                </c:pt>
                <c:pt idx="3">
                  <c:v>4971.0550000000003</c:v>
                </c:pt>
                <c:pt idx="4">
                  <c:v>5041.3500000000004</c:v>
                </c:pt>
                <c:pt idx="5">
                  <c:v>5133.5619999999999</c:v>
                </c:pt>
                <c:pt idx="6">
                  <c:v>5140</c:v>
                </c:pt>
                <c:pt idx="7">
                  <c:v>5077.3900000000003</c:v>
                </c:pt>
                <c:pt idx="8">
                  <c:v>4884.2979999999998</c:v>
                </c:pt>
                <c:pt idx="9">
                  <c:v>4977.652</c:v>
                </c:pt>
                <c:pt idx="10">
                  <c:v>4857.2889999999998</c:v>
                </c:pt>
                <c:pt idx="11">
                  <c:v>4829.9089999999997</c:v>
                </c:pt>
                <c:pt idx="12">
                  <c:v>4946.2849999999999</c:v>
                </c:pt>
                <c:pt idx="13">
                  <c:v>5037.1949999999997</c:v>
                </c:pt>
                <c:pt idx="14">
                  <c:v>5101.8519999999999</c:v>
                </c:pt>
                <c:pt idx="15">
                  <c:v>5207.134</c:v>
                </c:pt>
                <c:pt idx="16">
                  <c:v>5216.8130000000001</c:v>
                </c:pt>
                <c:pt idx="17">
                  <c:v>5265.0259999999998</c:v>
                </c:pt>
                <c:pt idx="18">
                  <c:v>5367.53</c:v>
                </c:pt>
                <c:pt idx="19">
                  <c:v>5338.2749999999996</c:v>
                </c:pt>
                <c:pt idx="20">
                  <c:v>5385.1030000000001</c:v>
                </c:pt>
                <c:pt idx="21">
                  <c:v>5422.0339999999997</c:v>
                </c:pt>
                <c:pt idx="22">
                  <c:v>5483.65</c:v>
                </c:pt>
                <c:pt idx="23">
                  <c:v>5556.5929999999998</c:v>
                </c:pt>
                <c:pt idx="24">
                  <c:v>5528.0540000000001</c:v>
                </c:pt>
                <c:pt idx="25">
                  <c:v>5613.7579999999998</c:v>
                </c:pt>
                <c:pt idx="26">
                  <c:v>5672.1540000000005</c:v>
                </c:pt>
                <c:pt idx="27">
                  <c:v>5699.1469999999999</c:v>
                </c:pt>
                <c:pt idx="28">
                  <c:v>5731.7569999999996</c:v>
                </c:pt>
                <c:pt idx="29">
                  <c:v>5696.45</c:v>
                </c:pt>
                <c:pt idx="30">
                  <c:v>5505.7169999999996</c:v>
                </c:pt>
                <c:pt idx="31">
                  <c:v>5365.6239999999998</c:v>
                </c:pt>
                <c:pt idx="32">
                  <c:v>5414.4679999999998</c:v>
                </c:pt>
                <c:pt idx="33">
                  <c:v>5145.7340000000004</c:v>
                </c:pt>
                <c:pt idx="34">
                  <c:v>4753.8680000000004</c:v>
                </c:pt>
                <c:pt idx="35">
                  <c:v>4975.1109999999999</c:v>
                </c:pt>
                <c:pt idx="36">
                  <c:v>5027.2129999999997</c:v>
                </c:pt>
                <c:pt idx="37">
                  <c:v>5077.4290000000001</c:v>
                </c:pt>
                <c:pt idx="38">
                  <c:v>4731.8829999999998</c:v>
                </c:pt>
                <c:pt idx="39">
                  <c:v>4762.0829999999996</c:v>
                </c:pt>
                <c:pt idx="40">
                  <c:v>4710.652</c:v>
                </c:pt>
                <c:pt idx="41">
                  <c:v>4620.4009999999998</c:v>
                </c:pt>
                <c:pt idx="42">
                  <c:v>4571.9449999999997</c:v>
                </c:pt>
                <c:pt idx="43">
                  <c:v>4950.1239999999998</c:v>
                </c:pt>
                <c:pt idx="44">
                  <c:v>4921.8289999999997</c:v>
                </c:pt>
                <c:pt idx="45">
                  <c:v>4816.0839999999998</c:v>
                </c:pt>
                <c:pt idx="46">
                  <c:v>4880.2520000000004</c:v>
                </c:pt>
                <c:pt idx="47">
                  <c:v>4813.3109999999997</c:v>
                </c:pt>
                <c:pt idx="48">
                  <c:v>4910.9920000000002</c:v>
                </c:pt>
                <c:pt idx="49">
                  <c:v>5020.7529999999997</c:v>
                </c:pt>
                <c:pt idx="50">
                  <c:v>4908.7169999999996</c:v>
                </c:pt>
                <c:pt idx="51">
                  <c:v>4876.03</c:v>
                </c:pt>
                <c:pt idx="52">
                  <c:v>4702.241</c:v>
                </c:pt>
                <c:pt idx="53">
                  <c:v>4519.7830000000004</c:v>
                </c:pt>
                <c:pt idx="54">
                  <c:v>4515.5330000000004</c:v>
                </c:pt>
                <c:pt idx="55">
                  <c:v>4639.768</c:v>
                </c:pt>
                <c:pt idx="56">
                  <c:v>4622.0559999999996</c:v>
                </c:pt>
                <c:pt idx="57">
                  <c:v>4674.55</c:v>
                </c:pt>
                <c:pt idx="58">
                  <c:v>4790.7439999999997</c:v>
                </c:pt>
                <c:pt idx="59">
                  <c:v>4671.1480000000001</c:v>
                </c:pt>
                <c:pt idx="60">
                  <c:v>4628.7240000000002</c:v>
                </c:pt>
                <c:pt idx="61">
                  <c:v>4685.03</c:v>
                </c:pt>
                <c:pt idx="62">
                  <c:v>4621.6850000000004</c:v>
                </c:pt>
                <c:pt idx="63">
                  <c:v>4431.5889999999999</c:v>
                </c:pt>
                <c:pt idx="64">
                  <c:v>4441.1840000000002</c:v>
                </c:pt>
                <c:pt idx="65">
                  <c:v>4309.6480000000001</c:v>
                </c:pt>
                <c:pt idx="66">
                  <c:v>4198.96</c:v>
                </c:pt>
                <c:pt idx="67">
                  <c:v>4157.8710000000001</c:v>
                </c:pt>
                <c:pt idx="68">
                  <c:v>3965.279</c:v>
                </c:pt>
                <c:pt idx="69">
                  <c:v>3763.9479999999999</c:v>
                </c:pt>
                <c:pt idx="70">
                  <c:v>3888.8609999999999</c:v>
                </c:pt>
                <c:pt idx="71">
                  <c:v>4001.8319999999999</c:v>
                </c:pt>
                <c:pt idx="72">
                  <c:v>4037.83</c:v>
                </c:pt>
                <c:pt idx="73">
                  <c:v>3857.0909999999999</c:v>
                </c:pt>
                <c:pt idx="74">
                  <c:v>3905.7739999999999</c:v>
                </c:pt>
                <c:pt idx="75">
                  <c:v>3914.37</c:v>
                </c:pt>
                <c:pt idx="76">
                  <c:v>3748.92</c:v>
                </c:pt>
                <c:pt idx="77">
                  <c:v>3918.1559999999999</c:v>
                </c:pt>
                <c:pt idx="78">
                  <c:v>3790.53</c:v>
                </c:pt>
                <c:pt idx="79">
                  <c:v>3582.855</c:v>
                </c:pt>
                <c:pt idx="80">
                  <c:v>3547.9769999999999</c:v>
                </c:pt>
                <c:pt idx="81">
                  <c:v>3650.6979999999999</c:v>
                </c:pt>
                <c:pt idx="82">
                  <c:v>3845.8220000000001</c:v>
                </c:pt>
                <c:pt idx="83">
                  <c:v>3891.0590000000002</c:v>
                </c:pt>
                <c:pt idx="84">
                  <c:v>3688.125</c:v>
                </c:pt>
                <c:pt idx="85">
                  <c:v>3754.7150000000001</c:v>
                </c:pt>
                <c:pt idx="86">
                  <c:v>3783.7280000000001</c:v>
                </c:pt>
                <c:pt idx="87">
                  <c:v>3536.3270000000002</c:v>
                </c:pt>
                <c:pt idx="88">
                  <c:v>3583.299</c:v>
                </c:pt>
                <c:pt idx="89">
                  <c:v>3494.0160000000001</c:v>
                </c:pt>
                <c:pt idx="90">
                  <c:v>3386.63</c:v>
                </c:pt>
                <c:pt idx="91">
                  <c:v>3272.4989999999998</c:v>
                </c:pt>
                <c:pt idx="92">
                  <c:v>3267.5540000000001</c:v>
                </c:pt>
                <c:pt idx="93">
                  <c:v>3296.277</c:v>
                </c:pt>
                <c:pt idx="94">
                  <c:v>3453.7269999999999</c:v>
                </c:pt>
                <c:pt idx="95">
                  <c:v>3774.5039999999999</c:v>
                </c:pt>
                <c:pt idx="96">
                  <c:v>3803.07</c:v>
                </c:pt>
                <c:pt idx="97">
                  <c:v>3729.154</c:v>
                </c:pt>
                <c:pt idx="98">
                  <c:v>3776.9430000000002</c:v>
                </c:pt>
                <c:pt idx="99">
                  <c:v>3959.1190000000001</c:v>
                </c:pt>
                <c:pt idx="100">
                  <c:v>4055.779</c:v>
                </c:pt>
                <c:pt idx="101">
                  <c:v>4010.8879999999999</c:v>
                </c:pt>
                <c:pt idx="102">
                  <c:v>3821.319</c:v>
                </c:pt>
                <c:pt idx="103">
                  <c:v>3925.0410000000002</c:v>
                </c:pt>
                <c:pt idx="104">
                  <c:v>3878.924</c:v>
                </c:pt>
                <c:pt idx="105">
                  <c:v>3904.92</c:v>
                </c:pt>
                <c:pt idx="106">
                  <c:v>3851.6869999999999</c:v>
                </c:pt>
                <c:pt idx="107">
                  <c:v>3975.7820000000002</c:v>
                </c:pt>
                <c:pt idx="108">
                  <c:v>3948.0880000000002</c:v>
                </c:pt>
                <c:pt idx="109">
                  <c:v>3936.1210000000001</c:v>
                </c:pt>
                <c:pt idx="110">
                  <c:v>3914.0720000000001</c:v>
                </c:pt>
                <c:pt idx="111">
                  <c:v>3710.8180000000002</c:v>
                </c:pt>
                <c:pt idx="112">
                  <c:v>3783.049</c:v>
                </c:pt>
                <c:pt idx="113">
                  <c:v>3711.444</c:v>
                </c:pt>
                <c:pt idx="114">
                  <c:v>3675.1469999999999</c:v>
                </c:pt>
                <c:pt idx="115">
                  <c:v>3559.2170000000001</c:v>
                </c:pt>
                <c:pt idx="116">
                  <c:v>3576.1970000000001</c:v>
                </c:pt>
                <c:pt idx="117">
                  <c:v>3676.23</c:v>
                </c:pt>
                <c:pt idx="118">
                  <c:v>3580.8679999999999</c:v>
                </c:pt>
                <c:pt idx="119">
                  <c:v>3611.33</c:v>
                </c:pt>
                <c:pt idx="120">
                  <c:v>3625.826</c:v>
                </c:pt>
                <c:pt idx="121">
                  <c:v>3614.1109999999999</c:v>
                </c:pt>
                <c:pt idx="122">
                  <c:v>3546.9160000000002</c:v>
                </c:pt>
                <c:pt idx="123">
                  <c:v>3512.1379999999999</c:v>
                </c:pt>
                <c:pt idx="124">
                  <c:v>3489.502</c:v>
                </c:pt>
                <c:pt idx="125">
                  <c:v>3206.5619999999999</c:v>
                </c:pt>
                <c:pt idx="126">
                  <c:v>3140.299</c:v>
                </c:pt>
                <c:pt idx="127">
                  <c:v>3084.6329999999998</c:v>
                </c:pt>
                <c:pt idx="128">
                  <c:v>2979.1170000000002</c:v>
                </c:pt>
                <c:pt idx="129">
                  <c:v>2952.2420000000002</c:v>
                </c:pt>
                <c:pt idx="130">
                  <c:v>2842.6759999999999</c:v>
                </c:pt>
                <c:pt idx="131">
                  <c:v>2991.2730000000001</c:v>
                </c:pt>
                <c:pt idx="132">
                  <c:v>2773.076</c:v>
                </c:pt>
                <c:pt idx="133">
                  <c:v>2849.6680000000001</c:v>
                </c:pt>
                <c:pt idx="134">
                  <c:v>2789.9409999999998</c:v>
                </c:pt>
                <c:pt idx="135">
                  <c:v>2851.915</c:v>
                </c:pt>
                <c:pt idx="136">
                  <c:v>2969.5369999999998</c:v>
                </c:pt>
                <c:pt idx="137">
                  <c:v>2980.9070000000002</c:v>
                </c:pt>
                <c:pt idx="138">
                  <c:v>2816.0210000000002</c:v>
                </c:pt>
                <c:pt idx="139">
                  <c:v>2791.819</c:v>
                </c:pt>
                <c:pt idx="140">
                  <c:v>2698.3470000000002</c:v>
                </c:pt>
                <c:pt idx="141">
                  <c:v>2699.5970000000002</c:v>
                </c:pt>
                <c:pt idx="142">
                  <c:v>2760.6120000000001</c:v>
                </c:pt>
                <c:pt idx="143">
                  <c:v>2741.8519999999999</c:v>
                </c:pt>
                <c:pt idx="144">
                  <c:v>2882.7629999999999</c:v>
                </c:pt>
                <c:pt idx="145">
                  <c:v>2901.8409999999999</c:v>
                </c:pt>
                <c:pt idx="146">
                  <c:v>3015.1260000000002</c:v>
                </c:pt>
                <c:pt idx="147">
                  <c:v>2973.7280000000001</c:v>
                </c:pt>
                <c:pt idx="148">
                  <c:v>2953.498</c:v>
                </c:pt>
                <c:pt idx="149">
                  <c:v>2975.8739999999998</c:v>
                </c:pt>
                <c:pt idx="150">
                  <c:v>2852.9789999999998</c:v>
                </c:pt>
                <c:pt idx="151">
                  <c:v>2745.596</c:v>
                </c:pt>
                <c:pt idx="152">
                  <c:v>2718.0680000000002</c:v>
                </c:pt>
                <c:pt idx="153">
                  <c:v>2815.462</c:v>
                </c:pt>
                <c:pt idx="154">
                  <c:v>2911.0509999999999</c:v>
                </c:pt>
                <c:pt idx="155">
                  <c:v>2904.7429999999999</c:v>
                </c:pt>
                <c:pt idx="156">
                  <c:v>2883.32</c:v>
                </c:pt>
                <c:pt idx="157">
                  <c:v>2977.3620000000001</c:v>
                </c:pt>
                <c:pt idx="158">
                  <c:v>2939.2020000000002</c:v>
                </c:pt>
                <c:pt idx="159">
                  <c:v>2960.8510000000001</c:v>
                </c:pt>
                <c:pt idx="160">
                  <c:v>2905.63</c:v>
                </c:pt>
                <c:pt idx="161">
                  <c:v>2884.384</c:v>
                </c:pt>
                <c:pt idx="162">
                  <c:v>2805.21</c:v>
                </c:pt>
                <c:pt idx="163">
                  <c:v>2840.788</c:v>
                </c:pt>
                <c:pt idx="164">
                  <c:v>2773.15</c:v>
                </c:pt>
                <c:pt idx="165">
                  <c:v>2703.0790000000002</c:v>
                </c:pt>
                <c:pt idx="166">
                  <c:v>2721.6930000000002</c:v>
                </c:pt>
                <c:pt idx="167">
                  <c:v>2720.442</c:v>
                </c:pt>
                <c:pt idx="168">
                  <c:v>2591.462</c:v>
                </c:pt>
                <c:pt idx="169">
                  <c:v>2456.8110000000001</c:v>
                </c:pt>
                <c:pt idx="170">
                  <c:v>2444.1550000000002</c:v>
                </c:pt>
                <c:pt idx="171">
                  <c:v>2444.672</c:v>
                </c:pt>
                <c:pt idx="172">
                  <c:v>2443.5120000000002</c:v>
                </c:pt>
                <c:pt idx="173">
                  <c:v>2447.6149999999998</c:v>
                </c:pt>
                <c:pt idx="174">
                  <c:v>2313.402</c:v>
                </c:pt>
                <c:pt idx="175">
                  <c:v>2348.4720000000002</c:v>
                </c:pt>
                <c:pt idx="176">
                  <c:v>2532.94</c:v>
                </c:pt>
                <c:pt idx="177">
                  <c:v>2443.9789999999998</c:v>
                </c:pt>
                <c:pt idx="178">
                  <c:v>2404.9279999999999</c:v>
                </c:pt>
                <c:pt idx="179">
                  <c:v>2400.5479999999998</c:v>
                </c:pt>
                <c:pt idx="180">
                  <c:v>2331.5320000000002</c:v>
                </c:pt>
                <c:pt idx="181">
                  <c:v>2325.2919999999999</c:v>
                </c:pt>
                <c:pt idx="182">
                  <c:v>2335.8649999999998</c:v>
                </c:pt>
                <c:pt idx="183">
                  <c:v>2391.64</c:v>
                </c:pt>
                <c:pt idx="184">
                  <c:v>2309.1709999999998</c:v>
                </c:pt>
                <c:pt idx="185">
                  <c:v>2285.4110000000001</c:v>
                </c:pt>
                <c:pt idx="186">
                  <c:v>2245.9639999999999</c:v>
                </c:pt>
                <c:pt idx="187">
                  <c:v>2251.1460000000002</c:v>
                </c:pt>
                <c:pt idx="188">
                  <c:v>2183.4319999999998</c:v>
                </c:pt>
                <c:pt idx="189">
                  <c:v>2126.518</c:v>
                </c:pt>
                <c:pt idx="190">
                  <c:v>2139.145</c:v>
                </c:pt>
                <c:pt idx="191">
                  <c:v>2143.1759999999999</c:v>
                </c:pt>
                <c:pt idx="192">
                  <c:v>2072.1260000000002</c:v>
                </c:pt>
                <c:pt idx="193">
                  <c:v>2077.846</c:v>
                </c:pt>
                <c:pt idx="194">
                  <c:v>2000.6510000000001</c:v>
                </c:pt>
                <c:pt idx="195">
                  <c:v>1929.135</c:v>
                </c:pt>
                <c:pt idx="196">
                  <c:v>1895.99</c:v>
                </c:pt>
                <c:pt idx="197">
                  <c:v>2073.1129999999998</c:v>
                </c:pt>
                <c:pt idx="198">
                  <c:v>2207.614</c:v>
                </c:pt>
                <c:pt idx="199">
                  <c:v>2123.4780000000001</c:v>
                </c:pt>
                <c:pt idx="200">
                  <c:v>2138.8530000000001</c:v>
                </c:pt>
                <c:pt idx="201">
                  <c:v>2223.5320000000002</c:v>
                </c:pt>
                <c:pt idx="202">
                  <c:v>2243.6570000000002</c:v>
                </c:pt>
                <c:pt idx="203">
                  <c:v>2128.6959999999999</c:v>
                </c:pt>
                <c:pt idx="204">
                  <c:v>2102.4479999999999</c:v>
                </c:pt>
                <c:pt idx="205">
                  <c:v>2022.8810000000001</c:v>
                </c:pt>
                <c:pt idx="206">
                  <c:v>1995.297</c:v>
                </c:pt>
                <c:pt idx="207">
                  <c:v>1906.96</c:v>
                </c:pt>
                <c:pt idx="208">
                  <c:v>1985.4860000000001</c:v>
                </c:pt>
                <c:pt idx="209">
                  <c:v>1934.6189999999999</c:v>
                </c:pt>
                <c:pt idx="210">
                  <c:v>1914.356</c:v>
                </c:pt>
                <c:pt idx="211">
                  <c:v>1820.903</c:v>
                </c:pt>
                <c:pt idx="212">
                  <c:v>1833.2619999999999</c:v>
                </c:pt>
                <c:pt idx="213">
                  <c:v>1896.7329999999999</c:v>
                </c:pt>
                <c:pt idx="214">
                  <c:v>1881.4059999999999</c:v>
                </c:pt>
                <c:pt idx="215">
                  <c:v>1833.3230000000001</c:v>
                </c:pt>
                <c:pt idx="216">
                  <c:v>1834.78</c:v>
                </c:pt>
                <c:pt idx="217">
                  <c:v>1781.598</c:v>
                </c:pt>
                <c:pt idx="218">
                  <c:v>1654.671</c:v>
                </c:pt>
                <c:pt idx="219">
                  <c:v>1705.82</c:v>
                </c:pt>
                <c:pt idx="220">
                  <c:v>1658.223</c:v>
                </c:pt>
                <c:pt idx="221">
                  <c:v>1697.6559999999999</c:v>
                </c:pt>
                <c:pt idx="222">
                  <c:v>1663.66</c:v>
                </c:pt>
                <c:pt idx="223">
                  <c:v>1653.5419999999999</c:v>
                </c:pt>
                <c:pt idx="224">
                  <c:v>1627.759</c:v>
                </c:pt>
                <c:pt idx="225">
                  <c:v>1691.42</c:v>
                </c:pt>
                <c:pt idx="226">
                  <c:v>1649.7760000000001</c:v>
                </c:pt>
                <c:pt idx="227">
                  <c:v>1677.827</c:v>
                </c:pt>
                <c:pt idx="228">
                  <c:v>1801.665</c:v>
                </c:pt>
                <c:pt idx="229">
                  <c:v>1781.3610000000001</c:v>
                </c:pt>
                <c:pt idx="230">
                  <c:v>1801.8230000000001</c:v>
                </c:pt>
                <c:pt idx="231">
                  <c:v>1874.0820000000001</c:v>
                </c:pt>
                <c:pt idx="232">
                  <c:v>1943.654</c:v>
                </c:pt>
                <c:pt idx="233">
                  <c:v>1987.2249999999999</c:v>
                </c:pt>
                <c:pt idx="234">
                  <c:v>1839.819</c:v>
                </c:pt>
                <c:pt idx="235">
                  <c:v>1953.163</c:v>
                </c:pt>
                <c:pt idx="236">
                  <c:v>1932.4280000000001</c:v>
                </c:pt>
                <c:pt idx="237">
                  <c:v>1920.7349999999999</c:v>
                </c:pt>
                <c:pt idx="238">
                  <c:v>1837.6420000000001</c:v>
                </c:pt>
                <c:pt idx="239">
                  <c:v>1834.2940000000001</c:v>
                </c:pt>
                <c:pt idx="240">
                  <c:v>1843.4949999999999</c:v>
                </c:pt>
                <c:pt idx="241">
                  <c:v>1870.473</c:v>
                </c:pt>
                <c:pt idx="242">
                  <c:v>1829.924</c:v>
                </c:pt>
                <c:pt idx="243">
                  <c:v>1864.2049999999999</c:v>
                </c:pt>
                <c:pt idx="244">
                  <c:v>1868.6310000000001</c:v>
                </c:pt>
                <c:pt idx="245">
                  <c:v>1952.6679999999999</c:v>
                </c:pt>
                <c:pt idx="246">
                  <c:v>1982.9280000000001</c:v>
                </c:pt>
                <c:pt idx="247">
                  <c:v>2013.175</c:v>
                </c:pt>
                <c:pt idx="248">
                  <c:v>2095.0360000000001</c:v>
                </c:pt>
                <c:pt idx="249">
                  <c:v>2040.847</c:v>
                </c:pt>
                <c:pt idx="250">
                  <c:v>2096.393</c:v>
                </c:pt>
                <c:pt idx="251">
                  <c:v>2046.337</c:v>
                </c:pt>
                <c:pt idx="252">
                  <c:v>1960.38</c:v>
                </c:pt>
                <c:pt idx="253">
                  <c:v>1975.0340000000001</c:v>
                </c:pt>
                <c:pt idx="254">
                  <c:v>1994.45</c:v>
                </c:pt>
                <c:pt idx="255">
                  <c:v>2001.42</c:v>
                </c:pt>
                <c:pt idx="256">
                  <c:v>2045.1020000000001</c:v>
                </c:pt>
                <c:pt idx="257">
                  <c:v>2052.114</c:v>
                </c:pt>
                <c:pt idx="258">
                  <c:v>2017.549</c:v>
                </c:pt>
                <c:pt idx="259">
                  <c:v>1918.9549999999999</c:v>
                </c:pt>
                <c:pt idx="260">
                  <c:v>1887.075</c:v>
                </c:pt>
                <c:pt idx="261">
                  <c:v>1870.7650000000001</c:v>
                </c:pt>
                <c:pt idx="262">
                  <c:v>1862.096</c:v>
                </c:pt>
                <c:pt idx="263">
                  <c:v>1854.7570000000001</c:v>
                </c:pt>
                <c:pt idx="264">
                  <c:v>1833.4349999999999</c:v>
                </c:pt>
                <c:pt idx="265">
                  <c:v>1817.722</c:v>
                </c:pt>
                <c:pt idx="266">
                  <c:v>1882.9590000000001</c:v>
                </c:pt>
                <c:pt idx="267">
                  <c:v>1942.7950000000001</c:v>
                </c:pt>
                <c:pt idx="268">
                  <c:v>1931.1780000000001</c:v>
                </c:pt>
                <c:pt idx="269">
                  <c:v>1887.991</c:v>
                </c:pt>
                <c:pt idx="270">
                  <c:v>1918.365</c:v>
                </c:pt>
                <c:pt idx="271">
                  <c:v>1920.6869999999999</c:v>
                </c:pt>
                <c:pt idx="272">
                  <c:v>1876.1849999999999</c:v>
                </c:pt>
                <c:pt idx="273">
                  <c:v>1955.2439999999999</c:v>
                </c:pt>
                <c:pt idx="274">
                  <c:v>1954.874</c:v>
                </c:pt>
                <c:pt idx="275">
                  <c:v>1990.2139999999999</c:v>
                </c:pt>
                <c:pt idx="276">
                  <c:v>2012.4649999999999</c:v>
                </c:pt>
                <c:pt idx="277">
                  <c:v>2025.19</c:v>
                </c:pt>
                <c:pt idx="278">
                  <c:v>2021.71</c:v>
                </c:pt>
                <c:pt idx="279">
                  <c:v>2044.5509999999999</c:v>
                </c:pt>
                <c:pt idx="280">
                  <c:v>2032.682</c:v>
                </c:pt>
                <c:pt idx="281">
                  <c:v>2057.0630000000001</c:v>
                </c:pt>
                <c:pt idx="282">
                  <c:v>2108.91</c:v>
                </c:pt>
                <c:pt idx="283">
                  <c:v>2166.4140000000002</c:v>
                </c:pt>
                <c:pt idx="284">
                  <c:v>2150.971</c:v>
                </c:pt>
                <c:pt idx="285">
                  <c:v>2237.2800000000002</c:v>
                </c:pt>
                <c:pt idx="286">
                  <c:v>2296.672</c:v>
                </c:pt>
                <c:pt idx="287">
                  <c:v>2326.7550000000001</c:v>
                </c:pt>
                <c:pt idx="288">
                  <c:v>2331.1379999999999</c:v>
                </c:pt>
                <c:pt idx="289">
                  <c:v>2318.3429999999998</c:v>
                </c:pt>
                <c:pt idx="290">
                  <c:v>2399.0650000000001</c:v>
                </c:pt>
                <c:pt idx="291">
                  <c:v>2462.2449999999999</c:v>
                </c:pt>
                <c:pt idx="292">
                  <c:v>2385.2930000000001</c:v>
                </c:pt>
                <c:pt idx="293">
                  <c:v>2275.8429999999998</c:v>
                </c:pt>
                <c:pt idx="294">
                  <c:v>2298.4119999999998</c:v>
                </c:pt>
                <c:pt idx="295">
                  <c:v>2344.3200000000002</c:v>
                </c:pt>
                <c:pt idx="296">
                  <c:v>2410.4810000000002</c:v>
                </c:pt>
                <c:pt idx="297">
                  <c:v>2301.8490000000002</c:v>
                </c:pt>
                <c:pt idx="298">
                  <c:v>2304.2510000000002</c:v>
                </c:pt>
                <c:pt idx="299">
                  <c:v>2190.1849999999999</c:v>
                </c:pt>
                <c:pt idx="300">
                  <c:v>2140.489</c:v>
                </c:pt>
                <c:pt idx="301">
                  <c:v>2164.6660000000002</c:v>
                </c:pt>
                <c:pt idx="302">
                  <c:v>2142.154</c:v>
                </c:pt>
                <c:pt idx="303">
                  <c:v>2285.1489999999999</c:v>
                </c:pt>
                <c:pt idx="304">
                  <c:v>2304.9189999999999</c:v>
                </c:pt>
                <c:pt idx="305">
                  <c:v>2286.576</c:v>
                </c:pt>
                <c:pt idx="306">
                  <c:v>2202.527</c:v>
                </c:pt>
                <c:pt idx="307">
                  <c:v>2240.7820000000002</c:v>
                </c:pt>
                <c:pt idx="308">
                  <c:v>2220.38</c:v>
                </c:pt>
                <c:pt idx="309">
                  <c:v>2215.6999999999998</c:v>
                </c:pt>
                <c:pt idx="310">
                  <c:v>2205.422</c:v>
                </c:pt>
                <c:pt idx="311">
                  <c:v>2241.614</c:v>
                </c:pt>
                <c:pt idx="312">
                  <c:v>2322.4029999999998</c:v>
                </c:pt>
                <c:pt idx="313">
                  <c:v>2332.652</c:v>
                </c:pt>
                <c:pt idx="314">
                  <c:v>2382.5639999999999</c:v>
                </c:pt>
                <c:pt idx="315">
                  <c:v>2379.8380000000002</c:v>
                </c:pt>
                <c:pt idx="316">
                  <c:v>2439.395</c:v>
                </c:pt>
                <c:pt idx="317">
                  <c:v>2451.7829999999999</c:v>
                </c:pt>
                <c:pt idx="318">
                  <c:v>2401.3270000000002</c:v>
                </c:pt>
                <c:pt idx="319">
                  <c:v>2479.7890000000002</c:v>
                </c:pt>
                <c:pt idx="320">
                  <c:v>2498.931</c:v>
                </c:pt>
                <c:pt idx="321">
                  <c:v>2484.4870000000001</c:v>
                </c:pt>
                <c:pt idx="322">
                  <c:v>2507.7890000000002</c:v>
                </c:pt>
                <c:pt idx="323">
                  <c:v>2548.2220000000002</c:v>
                </c:pt>
                <c:pt idx="324">
                  <c:v>2576.4</c:v>
                </c:pt>
                <c:pt idx="325">
                  <c:v>2570.5030000000002</c:v>
                </c:pt>
                <c:pt idx="326">
                  <c:v>2576.9499999999998</c:v>
                </c:pt>
                <c:pt idx="327">
                  <c:v>2479.348</c:v>
                </c:pt>
                <c:pt idx="328">
                  <c:v>2517.6689999999999</c:v>
                </c:pt>
                <c:pt idx="329">
                  <c:v>2595.5300000000002</c:v>
                </c:pt>
                <c:pt idx="330">
                  <c:v>2656.518</c:v>
                </c:pt>
                <c:pt idx="331">
                  <c:v>2676.8719999999998</c:v>
                </c:pt>
                <c:pt idx="332">
                  <c:v>2686.99</c:v>
                </c:pt>
                <c:pt idx="333">
                  <c:v>2687.1060000000002</c:v>
                </c:pt>
                <c:pt idx="334">
                  <c:v>2650.6909999999998</c:v>
                </c:pt>
                <c:pt idx="335">
                  <c:v>2707.6669999999999</c:v>
                </c:pt>
                <c:pt idx="336">
                  <c:v>2675.442</c:v>
                </c:pt>
                <c:pt idx="337">
                  <c:v>2576.2809999999999</c:v>
                </c:pt>
                <c:pt idx="338">
                  <c:v>2593.5639999999999</c:v>
                </c:pt>
                <c:pt idx="339">
                  <c:v>2572.8879999999999</c:v>
                </c:pt>
                <c:pt idx="340">
                  <c:v>2513.2919999999999</c:v>
                </c:pt>
                <c:pt idx="341">
                  <c:v>2518.5309999999999</c:v>
                </c:pt>
                <c:pt idx="342">
                  <c:v>2605.37</c:v>
                </c:pt>
                <c:pt idx="343">
                  <c:v>2622.9259999999999</c:v>
                </c:pt>
                <c:pt idx="344">
                  <c:v>2714.3009999999999</c:v>
                </c:pt>
                <c:pt idx="345">
                  <c:v>2727.0140000000001</c:v>
                </c:pt>
                <c:pt idx="346">
                  <c:v>2764.9789999999998</c:v>
                </c:pt>
                <c:pt idx="347">
                  <c:v>2767.076</c:v>
                </c:pt>
                <c:pt idx="348">
                  <c:v>2789.2190000000001</c:v>
                </c:pt>
                <c:pt idx="349">
                  <c:v>2725.3159999999998</c:v>
                </c:pt>
                <c:pt idx="350">
                  <c:v>2788.5619999999999</c:v>
                </c:pt>
                <c:pt idx="351">
                  <c:v>2814.0050000000001</c:v>
                </c:pt>
                <c:pt idx="352">
                  <c:v>2792.5970000000002</c:v>
                </c:pt>
                <c:pt idx="353">
                  <c:v>2796.116</c:v>
                </c:pt>
                <c:pt idx="354">
                  <c:v>2810.5729999999999</c:v>
                </c:pt>
                <c:pt idx="355">
                  <c:v>2840.0839999999998</c:v>
                </c:pt>
                <c:pt idx="356">
                  <c:v>2812.8649999999998</c:v>
                </c:pt>
                <c:pt idx="357">
                  <c:v>2750.01</c:v>
                </c:pt>
                <c:pt idx="358">
                  <c:v>2740.6770000000001</c:v>
                </c:pt>
                <c:pt idx="359">
                  <c:v>2752.7159999999999</c:v>
                </c:pt>
                <c:pt idx="360">
                  <c:v>2719.7640000000001</c:v>
                </c:pt>
                <c:pt idx="361">
                  <c:v>2759.712</c:v>
                </c:pt>
                <c:pt idx="362">
                  <c:v>2858.3420000000001</c:v>
                </c:pt>
                <c:pt idx="363">
                  <c:v>2865.0990000000002</c:v>
                </c:pt>
                <c:pt idx="364">
                  <c:v>2939.3870000000002</c:v>
                </c:pt>
                <c:pt idx="365">
                  <c:v>2953.7510000000002</c:v>
                </c:pt>
                <c:pt idx="366">
                  <c:v>2939.306</c:v>
                </c:pt>
                <c:pt idx="367">
                  <c:v>2948.4780000000001</c:v>
                </c:pt>
                <c:pt idx="368">
                  <c:v>2960.556</c:v>
                </c:pt>
                <c:pt idx="369">
                  <c:v>2989.5949999999998</c:v>
                </c:pt>
                <c:pt idx="370">
                  <c:v>2961.6289999999999</c:v>
                </c:pt>
                <c:pt idx="371">
                  <c:v>2906.2860000000001</c:v>
                </c:pt>
                <c:pt idx="372">
                  <c:v>2966.192</c:v>
                </c:pt>
                <c:pt idx="373">
                  <c:v>2961.22</c:v>
                </c:pt>
                <c:pt idx="374">
                  <c:v>3010.5880000000002</c:v>
                </c:pt>
                <c:pt idx="375">
                  <c:v>3057.4279999999999</c:v>
                </c:pt>
                <c:pt idx="376">
                  <c:v>3080.0010000000002</c:v>
                </c:pt>
                <c:pt idx="377">
                  <c:v>3082.5630000000001</c:v>
                </c:pt>
                <c:pt idx="378">
                  <c:v>3083.895</c:v>
                </c:pt>
                <c:pt idx="379">
                  <c:v>3120.73</c:v>
                </c:pt>
                <c:pt idx="380">
                  <c:v>3117.9209999999998</c:v>
                </c:pt>
                <c:pt idx="381">
                  <c:v>3128.4209999999998</c:v>
                </c:pt>
                <c:pt idx="382">
                  <c:v>3179.9720000000002</c:v>
                </c:pt>
                <c:pt idx="383">
                  <c:v>3166.4740000000002</c:v>
                </c:pt>
                <c:pt idx="384">
                  <c:v>3237.9029999999998</c:v>
                </c:pt>
                <c:pt idx="385">
                  <c:v>3282.3589999999999</c:v>
                </c:pt>
                <c:pt idx="386">
                  <c:v>3327.1350000000002</c:v>
                </c:pt>
                <c:pt idx="387">
                  <c:v>3374.7530000000002</c:v>
                </c:pt>
                <c:pt idx="388">
                  <c:v>3340.4929999999999</c:v>
                </c:pt>
                <c:pt idx="389">
                  <c:v>3352.2689999999998</c:v>
                </c:pt>
                <c:pt idx="390">
                  <c:v>3396.3040000000001</c:v>
                </c:pt>
                <c:pt idx="391">
                  <c:v>3398.31</c:v>
                </c:pt>
                <c:pt idx="392">
                  <c:v>3361.011</c:v>
                </c:pt>
                <c:pt idx="393">
                  <c:v>3454.7530000000002</c:v>
                </c:pt>
                <c:pt idx="394">
                  <c:v>3493.3049999999998</c:v>
                </c:pt>
                <c:pt idx="395">
                  <c:v>3501.24</c:v>
                </c:pt>
                <c:pt idx="396">
                  <c:v>3519.8090000000002</c:v>
                </c:pt>
                <c:pt idx="397">
                  <c:v>3591.123</c:v>
                </c:pt>
                <c:pt idx="398">
                  <c:v>3539.8319999999999</c:v>
                </c:pt>
                <c:pt idx="399">
                  <c:v>3606.924</c:v>
                </c:pt>
                <c:pt idx="400">
                  <c:v>3651.9690000000001</c:v>
                </c:pt>
                <c:pt idx="401">
                  <c:v>3667.556</c:v>
                </c:pt>
                <c:pt idx="402">
                  <c:v>3743.6260000000002</c:v>
                </c:pt>
                <c:pt idx="403">
                  <c:v>3755.8180000000002</c:v>
                </c:pt>
                <c:pt idx="404">
                  <c:v>3558.5079999999998</c:v>
                </c:pt>
                <c:pt idx="405">
                  <c:v>3634.8180000000002</c:v>
                </c:pt>
                <c:pt idx="406">
                  <c:v>3734.6219999999998</c:v>
                </c:pt>
                <c:pt idx="407">
                  <c:v>3787.0329999999999</c:v>
                </c:pt>
                <c:pt idx="408">
                  <c:v>3786.6149999999998</c:v>
                </c:pt>
                <c:pt idx="409">
                  <c:v>3740.9360000000001</c:v>
                </c:pt>
                <c:pt idx="410">
                  <c:v>3663.12</c:v>
                </c:pt>
                <c:pt idx="411">
                  <c:v>3555.0949999999998</c:v>
                </c:pt>
                <c:pt idx="412">
                  <c:v>3544.5390000000002</c:v>
                </c:pt>
                <c:pt idx="413">
                  <c:v>3556.375</c:v>
                </c:pt>
                <c:pt idx="414">
                  <c:v>3397.4</c:v>
                </c:pt>
                <c:pt idx="415">
                  <c:v>3440.82</c:v>
                </c:pt>
                <c:pt idx="416">
                  <c:v>3344.462</c:v>
                </c:pt>
                <c:pt idx="417">
                  <c:v>3140.2710000000002</c:v>
                </c:pt>
                <c:pt idx="418">
                  <c:v>3171.9859999999999</c:v>
                </c:pt>
                <c:pt idx="419">
                  <c:v>3014.5680000000002</c:v>
                </c:pt>
                <c:pt idx="420">
                  <c:v>3144.39</c:v>
                </c:pt>
                <c:pt idx="421">
                  <c:v>3203.6239999999998</c:v>
                </c:pt>
                <c:pt idx="422">
                  <c:v>3229.6</c:v>
                </c:pt>
                <c:pt idx="423">
                  <c:v>3109.83</c:v>
                </c:pt>
                <c:pt idx="424">
                  <c:v>3172.386</c:v>
                </c:pt>
                <c:pt idx="425">
                  <c:v>3156.3009999999999</c:v>
                </c:pt>
                <c:pt idx="426">
                  <c:v>3046.7809999999999</c:v>
                </c:pt>
                <c:pt idx="427">
                  <c:v>2830.2710000000002</c:v>
                </c:pt>
                <c:pt idx="428">
                  <c:v>2843.7</c:v>
                </c:pt>
                <c:pt idx="429">
                  <c:v>2890.9259999999999</c:v>
                </c:pt>
                <c:pt idx="430">
                  <c:v>3051.9639999999999</c:v>
                </c:pt>
                <c:pt idx="431">
                  <c:v>3077.1419999999998</c:v>
                </c:pt>
                <c:pt idx="432">
                  <c:v>3104.2080000000001</c:v>
                </c:pt>
                <c:pt idx="433">
                  <c:v>3170.9670000000001</c:v>
                </c:pt>
                <c:pt idx="434">
                  <c:v>3194.9090000000001</c:v>
                </c:pt>
                <c:pt idx="435">
                  <c:v>3162.9140000000002</c:v>
                </c:pt>
                <c:pt idx="436">
                  <c:v>3238.1329999999998</c:v>
                </c:pt>
                <c:pt idx="437">
                  <c:v>3293.3939999999998</c:v>
                </c:pt>
                <c:pt idx="438">
                  <c:v>3302.6419999999998</c:v>
                </c:pt>
                <c:pt idx="439">
                  <c:v>3258.2359999999999</c:v>
                </c:pt>
                <c:pt idx="440">
                  <c:v>3320.096</c:v>
                </c:pt>
                <c:pt idx="441">
                  <c:v>3199.6889999999999</c:v>
                </c:pt>
                <c:pt idx="442">
                  <c:v>3208.6039999999998</c:v>
                </c:pt>
                <c:pt idx="443">
                  <c:v>3131.0259999999998</c:v>
                </c:pt>
                <c:pt idx="444">
                  <c:v>3060.069</c:v>
                </c:pt>
                <c:pt idx="445">
                  <c:v>3080.9259999999999</c:v>
                </c:pt>
                <c:pt idx="446">
                  <c:v>3058.5279999999998</c:v>
                </c:pt>
                <c:pt idx="447">
                  <c:v>2972.643</c:v>
                </c:pt>
                <c:pt idx="448">
                  <c:v>2972.2860000000001</c:v>
                </c:pt>
                <c:pt idx="449">
                  <c:v>3004.8049999999998</c:v>
                </c:pt>
                <c:pt idx="450">
                  <c:v>3163.7080000000001</c:v>
                </c:pt>
                <c:pt idx="451">
                  <c:v>3151.6320000000001</c:v>
                </c:pt>
                <c:pt idx="452">
                  <c:v>3198.5169999999998</c:v>
                </c:pt>
                <c:pt idx="453">
                  <c:v>3227.3989999999999</c:v>
                </c:pt>
                <c:pt idx="454">
                  <c:v>3239.643</c:v>
                </c:pt>
                <c:pt idx="455">
                  <c:v>3241.7089999999998</c:v>
                </c:pt>
                <c:pt idx="456">
                  <c:v>3329.1579999999999</c:v>
                </c:pt>
                <c:pt idx="457">
                  <c:v>3377.5740000000001</c:v>
                </c:pt>
                <c:pt idx="458">
                  <c:v>3369.2849999999999</c:v>
                </c:pt>
                <c:pt idx="459">
                  <c:v>3347.32</c:v>
                </c:pt>
                <c:pt idx="460">
                  <c:v>3413.252</c:v>
                </c:pt>
                <c:pt idx="461">
                  <c:v>3414.239</c:v>
                </c:pt>
                <c:pt idx="462">
                  <c:v>3314.7220000000002</c:v>
                </c:pt>
                <c:pt idx="463">
                  <c:v>3329.3270000000002</c:v>
                </c:pt>
                <c:pt idx="464">
                  <c:v>3247.0509999999999</c:v>
                </c:pt>
                <c:pt idx="465">
                  <c:v>3280.3719999999998</c:v>
                </c:pt>
                <c:pt idx="466">
                  <c:v>3392.8029999999999</c:v>
                </c:pt>
                <c:pt idx="467">
                  <c:v>3435.4250000000002</c:v>
                </c:pt>
                <c:pt idx="468">
                  <c:v>3453.8879999999999</c:v>
                </c:pt>
                <c:pt idx="469">
                  <c:v>3464.3180000000002</c:v>
                </c:pt>
                <c:pt idx="470">
                  <c:v>3483.0210000000002</c:v>
                </c:pt>
                <c:pt idx="471">
                  <c:v>3495.788</c:v>
                </c:pt>
                <c:pt idx="472">
                  <c:v>3503.7759999999998</c:v>
                </c:pt>
                <c:pt idx="473">
                  <c:v>3495.674</c:v>
                </c:pt>
                <c:pt idx="474">
                  <c:v>3499.9920000000002</c:v>
                </c:pt>
                <c:pt idx="475">
                  <c:v>3518.7220000000002</c:v>
                </c:pt>
                <c:pt idx="476">
                  <c:v>3625.7979999999998</c:v>
                </c:pt>
                <c:pt idx="477">
                  <c:v>3628.3539999999998</c:v>
                </c:pt>
                <c:pt idx="478">
                  <c:v>3630.2289999999998</c:v>
                </c:pt>
                <c:pt idx="479">
                  <c:v>3642.4369999999999</c:v>
                </c:pt>
                <c:pt idx="480">
                  <c:v>3631.0129999999999</c:v>
                </c:pt>
                <c:pt idx="481">
                  <c:v>3665.509</c:v>
                </c:pt>
                <c:pt idx="482">
                  <c:v>3548.08</c:v>
                </c:pt>
                <c:pt idx="483">
                  <c:v>3629.6289999999999</c:v>
                </c:pt>
                <c:pt idx="484">
                  <c:v>3485.7730000000001</c:v>
                </c:pt>
                <c:pt idx="485">
                  <c:v>3382.51</c:v>
                </c:pt>
                <c:pt idx="486">
                  <c:v>3511.6689999999999</c:v>
                </c:pt>
                <c:pt idx="487">
                  <c:v>3560.8310000000001</c:v>
                </c:pt>
                <c:pt idx="488">
                  <c:v>3597.3290000000002</c:v>
                </c:pt>
                <c:pt idx="489">
                  <c:v>3590.8760000000002</c:v>
                </c:pt>
                <c:pt idx="490">
                  <c:v>3643.491</c:v>
                </c:pt>
                <c:pt idx="491">
                  <c:v>3668.8319999999999</c:v>
                </c:pt>
                <c:pt idx="492">
                  <c:v>3624.0189999999998</c:v>
                </c:pt>
                <c:pt idx="493">
                  <c:v>3554.4780000000001</c:v>
                </c:pt>
                <c:pt idx="494">
                  <c:v>3577.2370000000001</c:v>
                </c:pt>
                <c:pt idx="495">
                  <c:v>3575.02</c:v>
                </c:pt>
                <c:pt idx="496">
                  <c:v>3612.7530000000002</c:v>
                </c:pt>
                <c:pt idx="497">
                  <c:v>3583.3409999999999</c:v>
                </c:pt>
                <c:pt idx="498">
                  <c:v>3560.723</c:v>
                </c:pt>
                <c:pt idx="499">
                  <c:v>3480.1529999999998</c:v>
                </c:pt>
                <c:pt idx="500">
                  <c:v>3391.7350000000001</c:v>
                </c:pt>
                <c:pt idx="501">
                  <c:v>3396.6219999999998</c:v>
                </c:pt>
                <c:pt idx="502">
                  <c:v>3305.5430000000001</c:v>
                </c:pt>
                <c:pt idx="503">
                  <c:v>3336.48</c:v>
                </c:pt>
                <c:pt idx="504">
                  <c:v>3438.817</c:v>
                </c:pt>
                <c:pt idx="505">
                  <c:v>3424.7829999999999</c:v>
                </c:pt>
                <c:pt idx="506">
                  <c:v>3478.433</c:v>
                </c:pt>
                <c:pt idx="507">
                  <c:v>3500.7370000000001</c:v>
                </c:pt>
                <c:pt idx="508">
                  <c:v>3558.857</c:v>
                </c:pt>
                <c:pt idx="509">
                  <c:v>3575.6840000000002</c:v>
                </c:pt>
                <c:pt idx="510">
                  <c:v>3535.2289999999998</c:v>
                </c:pt>
                <c:pt idx="511">
                  <c:v>3564.038</c:v>
                </c:pt>
                <c:pt idx="512">
                  <c:v>3541.7269999999999</c:v>
                </c:pt>
                <c:pt idx="513">
                  <c:v>3471.4560000000001</c:v>
                </c:pt>
                <c:pt idx="514">
                  <c:v>3480.13</c:v>
                </c:pt>
                <c:pt idx="515">
                  <c:v>3482.0520000000001</c:v>
                </c:pt>
                <c:pt idx="516">
                  <c:v>3534.9160000000002</c:v>
                </c:pt>
                <c:pt idx="517">
                  <c:v>3421.1439999999998</c:v>
                </c:pt>
                <c:pt idx="518">
                  <c:v>3469.0509999999999</c:v>
                </c:pt>
                <c:pt idx="519">
                  <c:v>3482.7379999999998</c:v>
                </c:pt>
                <c:pt idx="520">
                  <c:v>3500.6840000000002</c:v>
                </c:pt>
                <c:pt idx="521">
                  <c:v>3507.482</c:v>
                </c:pt>
                <c:pt idx="522">
                  <c:v>3394.4340000000002</c:v>
                </c:pt>
                <c:pt idx="523">
                  <c:v>3408.5740000000001</c:v>
                </c:pt>
                <c:pt idx="524">
                  <c:v>3366.1970000000001</c:v>
                </c:pt>
                <c:pt idx="525">
                  <c:v>3328.0140000000001</c:v>
                </c:pt>
                <c:pt idx="526">
                  <c:v>3242.797</c:v>
                </c:pt>
                <c:pt idx="527">
                  <c:v>3198.5659999999998</c:v>
                </c:pt>
                <c:pt idx="528">
                  <c:v>3206.57</c:v>
                </c:pt>
                <c:pt idx="529">
                  <c:v>3204.1550000000002</c:v>
                </c:pt>
                <c:pt idx="530">
                  <c:v>3152.7069999999999</c:v>
                </c:pt>
                <c:pt idx="531">
                  <c:v>3146.1889999999999</c:v>
                </c:pt>
                <c:pt idx="532">
                  <c:v>3230.7150000000001</c:v>
                </c:pt>
                <c:pt idx="533">
                  <c:v>3218.8020000000001</c:v>
                </c:pt>
                <c:pt idx="534">
                  <c:v>3153.087</c:v>
                </c:pt>
                <c:pt idx="535">
                  <c:v>3150.9879999999998</c:v>
                </c:pt>
                <c:pt idx="536">
                  <c:v>3169.19</c:v>
                </c:pt>
                <c:pt idx="537">
                  <c:v>3214.13</c:v>
                </c:pt>
                <c:pt idx="538">
                  <c:v>3220.3980000000001</c:v>
                </c:pt>
                <c:pt idx="539">
                  <c:v>3251.2779999999998</c:v>
                </c:pt>
                <c:pt idx="540">
                  <c:v>3233.3449999999998</c:v>
                </c:pt>
                <c:pt idx="541">
                  <c:v>3198.634</c:v>
                </c:pt>
                <c:pt idx="542">
                  <c:v>3244.4830000000002</c:v>
                </c:pt>
                <c:pt idx="543">
                  <c:v>3292.1280000000002</c:v>
                </c:pt>
                <c:pt idx="544">
                  <c:v>3281.6660000000002</c:v>
                </c:pt>
                <c:pt idx="545">
                  <c:v>3324.4229999999998</c:v>
                </c:pt>
                <c:pt idx="546">
                  <c:v>3311.2359999999999</c:v>
                </c:pt>
                <c:pt idx="547">
                  <c:v>3335.0810000000001</c:v>
                </c:pt>
                <c:pt idx="548">
                  <c:v>3250.5729999999999</c:v>
                </c:pt>
                <c:pt idx="549">
                  <c:v>3259.7640000000001</c:v>
                </c:pt>
                <c:pt idx="550">
                  <c:v>3286.1779999999999</c:v>
                </c:pt>
                <c:pt idx="551">
                  <c:v>3305.8629999999998</c:v>
                </c:pt>
                <c:pt idx="552">
                  <c:v>3279.694</c:v>
                </c:pt>
                <c:pt idx="553">
                  <c:v>3276.7049999999999</c:v>
                </c:pt>
                <c:pt idx="554">
                  <c:v>3233.1260000000002</c:v>
                </c:pt>
                <c:pt idx="555">
                  <c:v>3183.183</c:v>
                </c:pt>
                <c:pt idx="556">
                  <c:v>3203.971</c:v>
                </c:pt>
                <c:pt idx="557">
                  <c:v>3273.9160000000002</c:v>
                </c:pt>
                <c:pt idx="558">
                  <c:v>3267.5549999999998</c:v>
                </c:pt>
                <c:pt idx="559">
                  <c:v>3293.8710000000001</c:v>
                </c:pt>
                <c:pt idx="560">
                  <c:v>3302.6280000000002</c:v>
                </c:pt>
                <c:pt idx="561">
                  <c:v>3275.5729999999999</c:v>
                </c:pt>
                <c:pt idx="562">
                  <c:v>3276.6689999999999</c:v>
                </c:pt>
                <c:pt idx="563">
                  <c:v>3229.1280000000002</c:v>
                </c:pt>
                <c:pt idx="564">
                  <c:v>3275.002</c:v>
                </c:pt>
                <c:pt idx="565">
                  <c:v>3358.54</c:v>
                </c:pt>
                <c:pt idx="566">
                  <c:v>3366.7080000000001</c:v>
                </c:pt>
                <c:pt idx="567">
                  <c:v>3345.607</c:v>
                </c:pt>
                <c:pt idx="568">
                  <c:v>3391.9349999999999</c:v>
                </c:pt>
                <c:pt idx="569">
                  <c:v>3407.346</c:v>
                </c:pt>
                <c:pt idx="570">
                  <c:v>3405.145</c:v>
                </c:pt>
                <c:pt idx="571">
                  <c:v>3386.9490000000001</c:v>
                </c:pt>
                <c:pt idx="572">
                  <c:v>3346.7440000000001</c:v>
                </c:pt>
                <c:pt idx="573">
                  <c:v>3379.17</c:v>
                </c:pt>
                <c:pt idx="574">
                  <c:v>3351.4780000000001</c:v>
                </c:pt>
                <c:pt idx="575">
                  <c:v>3391.7159999999999</c:v>
                </c:pt>
                <c:pt idx="576">
                  <c:v>3403.7069999999999</c:v>
                </c:pt>
                <c:pt idx="577">
                  <c:v>3394.5740000000001</c:v>
                </c:pt>
                <c:pt idx="578">
                  <c:v>3356.3319999999999</c:v>
                </c:pt>
                <c:pt idx="579">
                  <c:v>3176.4229999999998</c:v>
                </c:pt>
                <c:pt idx="580">
                  <c:v>3173.3739999999998</c:v>
                </c:pt>
                <c:pt idx="581">
                  <c:v>3236.6790000000001</c:v>
                </c:pt>
                <c:pt idx="582">
                  <c:v>3201.5410000000002</c:v>
                </c:pt>
                <c:pt idx="583">
                  <c:v>3190.0030000000002</c:v>
                </c:pt>
                <c:pt idx="584">
                  <c:v>3171.9969999999998</c:v>
                </c:pt>
                <c:pt idx="585">
                  <c:v>3108.4090000000001</c:v>
                </c:pt>
                <c:pt idx="586">
                  <c:v>3097.3530000000001</c:v>
                </c:pt>
                <c:pt idx="587">
                  <c:v>3060.0639999999999</c:v>
                </c:pt>
                <c:pt idx="588">
                  <c:v>3067.3649999999998</c:v>
                </c:pt>
                <c:pt idx="589">
                  <c:v>3019.4490000000001</c:v>
                </c:pt>
                <c:pt idx="590">
                  <c:v>3036.3939999999998</c:v>
                </c:pt>
                <c:pt idx="591">
                  <c:v>2896.8560000000002</c:v>
                </c:pt>
                <c:pt idx="592">
                  <c:v>2836.7890000000002</c:v>
                </c:pt>
                <c:pt idx="593">
                  <c:v>2858.2330000000002</c:v>
                </c:pt>
                <c:pt idx="594">
                  <c:v>2800.817</c:v>
                </c:pt>
                <c:pt idx="595">
                  <c:v>2818.16</c:v>
                </c:pt>
                <c:pt idx="596">
                  <c:v>2886.9110000000001</c:v>
                </c:pt>
                <c:pt idx="597">
                  <c:v>2868.0230000000001</c:v>
                </c:pt>
                <c:pt idx="598">
                  <c:v>2714.7150000000001</c:v>
                </c:pt>
                <c:pt idx="599">
                  <c:v>2771.348</c:v>
                </c:pt>
                <c:pt idx="600">
                  <c:v>2762.174</c:v>
                </c:pt>
                <c:pt idx="601">
                  <c:v>2726.0219999999999</c:v>
                </c:pt>
                <c:pt idx="602">
                  <c:v>2768.7910000000002</c:v>
                </c:pt>
                <c:pt idx="603">
                  <c:v>2873.4690000000001</c:v>
                </c:pt>
                <c:pt idx="604">
                  <c:v>2813.9430000000002</c:v>
                </c:pt>
                <c:pt idx="605">
                  <c:v>2813.944</c:v>
                </c:pt>
                <c:pt idx="606">
                  <c:v>2859.9789999999998</c:v>
                </c:pt>
                <c:pt idx="607">
                  <c:v>2850.3020000000001</c:v>
                </c:pt>
                <c:pt idx="608">
                  <c:v>2773.2640000000001</c:v>
                </c:pt>
                <c:pt idx="609">
                  <c:v>2744.1619999999998</c:v>
                </c:pt>
                <c:pt idx="610">
                  <c:v>2757.527</c:v>
                </c:pt>
                <c:pt idx="611">
                  <c:v>2736.076</c:v>
                </c:pt>
                <c:pt idx="612">
                  <c:v>2744.3910000000001</c:v>
                </c:pt>
                <c:pt idx="613">
                  <c:v>2695.7150000000001</c:v>
                </c:pt>
                <c:pt idx="614">
                  <c:v>2699.3359999999998</c:v>
                </c:pt>
                <c:pt idx="615">
                  <c:v>2782.1329999999998</c:v>
                </c:pt>
                <c:pt idx="616">
                  <c:v>2750.0230000000001</c:v>
                </c:pt>
                <c:pt idx="617">
                  <c:v>2758.866</c:v>
                </c:pt>
                <c:pt idx="618">
                  <c:v>2742.7330000000002</c:v>
                </c:pt>
                <c:pt idx="619">
                  <c:v>2696.1660000000002</c:v>
                </c:pt>
                <c:pt idx="620">
                  <c:v>2780.663</c:v>
                </c:pt>
                <c:pt idx="621">
                  <c:v>2783.72</c:v>
                </c:pt>
                <c:pt idx="622">
                  <c:v>2758.4949999999999</c:v>
                </c:pt>
                <c:pt idx="623">
                  <c:v>2757.498</c:v>
                </c:pt>
                <c:pt idx="624">
                  <c:v>2736.2869999999998</c:v>
                </c:pt>
                <c:pt idx="625">
                  <c:v>2716.777</c:v>
                </c:pt>
                <c:pt idx="626">
                  <c:v>2592.0189999999998</c:v>
                </c:pt>
                <c:pt idx="627">
                  <c:v>2563.0700000000002</c:v>
                </c:pt>
                <c:pt idx="628">
                  <c:v>2526.0709999999999</c:v>
                </c:pt>
                <c:pt idx="629">
                  <c:v>2534.105</c:v>
                </c:pt>
                <c:pt idx="630">
                  <c:v>2512.6509999999998</c:v>
                </c:pt>
                <c:pt idx="631">
                  <c:v>2562.902</c:v>
                </c:pt>
                <c:pt idx="632">
                  <c:v>2580.4769999999999</c:v>
                </c:pt>
                <c:pt idx="633">
                  <c:v>2575.9209999999998</c:v>
                </c:pt>
                <c:pt idx="634">
                  <c:v>2647.1039999999998</c:v>
                </c:pt>
                <c:pt idx="635">
                  <c:v>2676.2179999999998</c:v>
                </c:pt>
                <c:pt idx="636">
                  <c:v>2634.5929999999998</c:v>
                </c:pt>
                <c:pt idx="637">
                  <c:v>2653.6089999999999</c:v>
                </c:pt>
                <c:pt idx="638">
                  <c:v>2608.5189999999998</c:v>
                </c:pt>
                <c:pt idx="639">
                  <c:v>2616.1280000000002</c:v>
                </c:pt>
                <c:pt idx="640">
                  <c:v>2682.4720000000002</c:v>
                </c:pt>
                <c:pt idx="641">
                  <c:v>2741.5030000000002</c:v>
                </c:pt>
                <c:pt idx="642">
                  <c:v>2747.335</c:v>
                </c:pt>
                <c:pt idx="643">
                  <c:v>2781.2860000000001</c:v>
                </c:pt>
                <c:pt idx="644">
                  <c:v>2793.076</c:v>
                </c:pt>
                <c:pt idx="645">
                  <c:v>2811.0549999999998</c:v>
                </c:pt>
                <c:pt idx="646">
                  <c:v>2795.7240000000002</c:v>
                </c:pt>
                <c:pt idx="647">
                  <c:v>2863.7240000000002</c:v>
                </c:pt>
                <c:pt idx="648">
                  <c:v>2877.9760000000001</c:v>
                </c:pt>
                <c:pt idx="649">
                  <c:v>2868.846</c:v>
                </c:pt>
                <c:pt idx="650">
                  <c:v>2917.2750000000001</c:v>
                </c:pt>
                <c:pt idx="651">
                  <c:v>2865.971</c:v>
                </c:pt>
                <c:pt idx="652">
                  <c:v>2876.4340000000002</c:v>
                </c:pt>
                <c:pt idx="653">
                  <c:v>2850.8290000000002</c:v>
                </c:pt>
                <c:pt idx="654">
                  <c:v>2897.6590000000001</c:v>
                </c:pt>
                <c:pt idx="655">
                  <c:v>2918.241</c:v>
                </c:pt>
                <c:pt idx="656">
                  <c:v>2832.6379999999999</c:v>
                </c:pt>
                <c:pt idx="657">
                  <c:v>2850.2109999999998</c:v>
                </c:pt>
                <c:pt idx="658">
                  <c:v>2816.386</c:v>
                </c:pt>
                <c:pt idx="659">
                  <c:v>2855.547</c:v>
                </c:pt>
                <c:pt idx="660">
                  <c:v>2922.0830000000001</c:v>
                </c:pt>
                <c:pt idx="661">
                  <c:v>2942.2910000000002</c:v>
                </c:pt>
                <c:pt idx="662">
                  <c:v>2937.3620000000001</c:v>
                </c:pt>
                <c:pt idx="663">
                  <c:v>2955.395</c:v>
                </c:pt>
                <c:pt idx="664">
                  <c:v>2898.3330000000001</c:v>
                </c:pt>
                <c:pt idx="665">
                  <c:v>2896.192</c:v>
                </c:pt>
                <c:pt idx="666">
                  <c:v>2911.8270000000002</c:v>
                </c:pt>
                <c:pt idx="667">
                  <c:v>2843.0230000000001</c:v>
                </c:pt>
                <c:pt idx="668">
                  <c:v>2850.0929999999998</c:v>
                </c:pt>
                <c:pt idx="669">
                  <c:v>2858.5659999999998</c:v>
                </c:pt>
                <c:pt idx="670">
                  <c:v>2915.01</c:v>
                </c:pt>
                <c:pt idx="671">
                  <c:v>2903.1880000000001</c:v>
                </c:pt>
                <c:pt idx="672">
                  <c:v>2884.0419999999999</c:v>
                </c:pt>
                <c:pt idx="673">
                  <c:v>2921.393</c:v>
                </c:pt>
                <c:pt idx="674">
                  <c:v>2920.2049999999999</c:v>
                </c:pt>
                <c:pt idx="675">
                  <c:v>2975.09</c:v>
                </c:pt>
                <c:pt idx="676">
                  <c:v>2983.1080000000002</c:v>
                </c:pt>
                <c:pt idx="677">
                  <c:v>2980.9670000000001</c:v>
                </c:pt>
                <c:pt idx="678">
                  <c:v>2926.46</c:v>
                </c:pt>
                <c:pt idx="679">
                  <c:v>2932.5540000000001</c:v>
                </c:pt>
                <c:pt idx="680">
                  <c:v>2962.319</c:v>
                </c:pt>
                <c:pt idx="681">
                  <c:v>2965.009</c:v>
                </c:pt>
                <c:pt idx="682">
                  <c:v>2913.194</c:v>
                </c:pt>
                <c:pt idx="683">
                  <c:v>2857.7890000000002</c:v>
                </c:pt>
                <c:pt idx="684">
                  <c:v>2861.3690000000001</c:v>
                </c:pt>
                <c:pt idx="685">
                  <c:v>2849.828</c:v>
                </c:pt>
                <c:pt idx="686">
                  <c:v>2857.4760000000001</c:v>
                </c:pt>
                <c:pt idx="687">
                  <c:v>2905.029</c:v>
                </c:pt>
                <c:pt idx="688">
                  <c:v>2880.9070000000002</c:v>
                </c:pt>
                <c:pt idx="689">
                  <c:v>2874.8119999999999</c:v>
                </c:pt>
                <c:pt idx="690">
                  <c:v>2935.5740000000001</c:v>
                </c:pt>
                <c:pt idx="691">
                  <c:v>3044.2330000000002</c:v>
                </c:pt>
                <c:pt idx="692">
                  <c:v>3132.895</c:v>
                </c:pt>
                <c:pt idx="693">
                  <c:v>3172.7260000000001</c:v>
                </c:pt>
                <c:pt idx="694">
                  <c:v>3217.5770000000002</c:v>
                </c:pt>
                <c:pt idx="695">
                  <c:v>3224.14</c:v>
                </c:pt>
                <c:pt idx="696">
                  <c:v>3327.683</c:v>
                </c:pt>
                <c:pt idx="697">
                  <c:v>3306.16</c:v>
                </c:pt>
                <c:pt idx="698">
                  <c:v>3375.674</c:v>
                </c:pt>
                <c:pt idx="699">
                  <c:v>3396.8789999999999</c:v>
                </c:pt>
                <c:pt idx="700">
                  <c:v>3374.6849999999999</c:v>
                </c:pt>
                <c:pt idx="701">
                  <c:v>3378.6550000000002</c:v>
                </c:pt>
                <c:pt idx="702">
                  <c:v>3481.0810000000001</c:v>
                </c:pt>
                <c:pt idx="703">
                  <c:v>3466.0839999999998</c:v>
                </c:pt>
                <c:pt idx="704">
                  <c:v>3403.8719999999998</c:v>
                </c:pt>
                <c:pt idx="705">
                  <c:v>3397.692</c:v>
                </c:pt>
                <c:pt idx="706">
                  <c:v>3379.9830000000002</c:v>
                </c:pt>
                <c:pt idx="707">
                  <c:v>3472.9949999999999</c:v>
                </c:pt>
                <c:pt idx="708">
                  <c:v>3463.1309999999999</c:v>
                </c:pt>
                <c:pt idx="709">
                  <c:v>3420.3409999999999</c:v>
                </c:pt>
                <c:pt idx="710">
                  <c:v>3480.5050000000001</c:v>
                </c:pt>
                <c:pt idx="711">
                  <c:v>3520.7979999999998</c:v>
                </c:pt>
                <c:pt idx="712">
                  <c:v>3548.5659999999998</c:v>
                </c:pt>
                <c:pt idx="713">
                  <c:v>3523.9540000000002</c:v>
                </c:pt>
                <c:pt idx="714">
                  <c:v>3499.1109999999999</c:v>
                </c:pt>
                <c:pt idx="715">
                  <c:v>3509.9749999999999</c:v>
                </c:pt>
                <c:pt idx="716">
                  <c:v>3291.8330000000001</c:v>
                </c:pt>
                <c:pt idx="717">
                  <c:v>3314.893</c:v>
                </c:pt>
                <c:pt idx="718">
                  <c:v>3169.538</c:v>
                </c:pt>
                <c:pt idx="719">
                  <c:v>3103.9059999999999</c:v>
                </c:pt>
                <c:pt idx="720">
                  <c:v>3147.962</c:v>
                </c:pt>
                <c:pt idx="721">
                  <c:v>3178.846</c:v>
                </c:pt>
                <c:pt idx="722">
                  <c:v>3171.9409999999998</c:v>
                </c:pt>
                <c:pt idx="723">
                  <c:v>3107.1759999999999</c:v>
                </c:pt>
                <c:pt idx="724">
                  <c:v>3177.0430000000001</c:v>
                </c:pt>
                <c:pt idx="725">
                  <c:v>3223.4839999999999</c:v>
                </c:pt>
                <c:pt idx="726">
                  <c:v>3194.8530000000001</c:v>
                </c:pt>
                <c:pt idx="727">
                  <c:v>3190.05</c:v>
                </c:pt>
                <c:pt idx="728">
                  <c:v>3136.9850000000001</c:v>
                </c:pt>
                <c:pt idx="729">
                  <c:v>3136.0239999999999</c:v>
                </c:pt>
                <c:pt idx="730">
                  <c:v>3155.0590000000002</c:v>
                </c:pt>
                <c:pt idx="731">
                  <c:v>3158.1559999999999</c:v>
                </c:pt>
                <c:pt idx="732">
                  <c:v>3165.57</c:v>
                </c:pt>
                <c:pt idx="733">
                  <c:v>3200.3389999999999</c:v>
                </c:pt>
                <c:pt idx="734">
                  <c:v>3171.8820000000001</c:v>
                </c:pt>
                <c:pt idx="735">
                  <c:v>3123.366</c:v>
                </c:pt>
                <c:pt idx="736">
                  <c:v>3161.9769999999999</c:v>
                </c:pt>
                <c:pt idx="737">
                  <c:v>3261.0610000000001</c:v>
                </c:pt>
                <c:pt idx="738">
                  <c:v>3269.4740000000002</c:v>
                </c:pt>
                <c:pt idx="739">
                  <c:v>3247.6439999999998</c:v>
                </c:pt>
                <c:pt idx="740">
                  <c:v>3230.665</c:v>
                </c:pt>
                <c:pt idx="741">
                  <c:v>3225.6610000000001</c:v>
                </c:pt>
                <c:pt idx="742">
                  <c:v>3178.6570000000002</c:v>
                </c:pt>
                <c:pt idx="743">
                  <c:v>3249.509</c:v>
                </c:pt>
                <c:pt idx="744">
                  <c:v>3215.453</c:v>
                </c:pt>
                <c:pt idx="745">
                  <c:v>3188.607</c:v>
                </c:pt>
                <c:pt idx="746">
                  <c:v>3162.9549999999999</c:v>
                </c:pt>
                <c:pt idx="747">
                  <c:v>3099.7089999999998</c:v>
                </c:pt>
                <c:pt idx="748">
                  <c:v>3044.931</c:v>
                </c:pt>
                <c:pt idx="749">
                  <c:v>3061.83</c:v>
                </c:pt>
                <c:pt idx="750">
                  <c:v>3064.098</c:v>
                </c:pt>
                <c:pt idx="751">
                  <c:v>3128.261</c:v>
                </c:pt>
                <c:pt idx="752">
                  <c:v>3189.6819999999998</c:v>
                </c:pt>
                <c:pt idx="753">
                  <c:v>3175.6619999999998</c:v>
                </c:pt>
                <c:pt idx="754">
                  <c:v>3159.643</c:v>
                </c:pt>
                <c:pt idx="755">
                  <c:v>3166.6239999999998</c:v>
                </c:pt>
                <c:pt idx="756">
                  <c:v>3108.1869999999999</c:v>
                </c:pt>
                <c:pt idx="757">
                  <c:v>3124.922</c:v>
                </c:pt>
                <c:pt idx="758">
                  <c:v>3142.337</c:v>
                </c:pt>
                <c:pt idx="759">
                  <c:v>3141.2840000000001</c:v>
                </c:pt>
                <c:pt idx="760">
                  <c:v>3091.8620000000001</c:v>
                </c:pt>
                <c:pt idx="761">
                  <c:v>2974.35</c:v>
                </c:pt>
                <c:pt idx="762">
                  <c:v>2977.6480000000001</c:v>
                </c:pt>
                <c:pt idx="763">
                  <c:v>3044.8510000000001</c:v>
                </c:pt>
                <c:pt idx="764">
                  <c:v>2944.7130000000002</c:v>
                </c:pt>
                <c:pt idx="765">
                  <c:v>2983.4560000000001</c:v>
                </c:pt>
                <c:pt idx="766">
                  <c:v>2954.232</c:v>
                </c:pt>
                <c:pt idx="767">
                  <c:v>2938.654</c:v>
                </c:pt>
                <c:pt idx="768">
                  <c:v>2978.431</c:v>
                </c:pt>
                <c:pt idx="769">
                  <c:v>3026.4659999999999</c:v>
                </c:pt>
                <c:pt idx="770">
                  <c:v>3036.7350000000001</c:v>
                </c:pt>
                <c:pt idx="771">
                  <c:v>3076.5079999999998</c:v>
                </c:pt>
                <c:pt idx="772">
                  <c:v>3077.2829999999999</c:v>
                </c:pt>
                <c:pt idx="773">
                  <c:v>3040.9490000000001</c:v>
                </c:pt>
                <c:pt idx="774">
                  <c:v>3104.163</c:v>
                </c:pt>
                <c:pt idx="775">
                  <c:v>3120.9560000000001</c:v>
                </c:pt>
                <c:pt idx="776">
                  <c:v>3219.143</c:v>
                </c:pt>
                <c:pt idx="777">
                  <c:v>3217.6709999999998</c:v>
                </c:pt>
                <c:pt idx="778">
                  <c:v>3248.527</c:v>
                </c:pt>
                <c:pt idx="779">
                  <c:v>3245.9070000000002</c:v>
                </c:pt>
                <c:pt idx="780">
                  <c:v>3211.8760000000002</c:v>
                </c:pt>
                <c:pt idx="781">
                  <c:v>3257.9079999999999</c:v>
                </c:pt>
                <c:pt idx="782">
                  <c:v>3163.578</c:v>
                </c:pt>
                <c:pt idx="783">
                  <c:v>3174.7420000000002</c:v>
                </c:pt>
                <c:pt idx="784">
                  <c:v>3190.9349999999999</c:v>
                </c:pt>
                <c:pt idx="785">
                  <c:v>3197.6170000000002</c:v>
                </c:pt>
                <c:pt idx="786">
                  <c:v>3239.5590000000002</c:v>
                </c:pt>
                <c:pt idx="787">
                  <c:v>3254.893</c:v>
                </c:pt>
                <c:pt idx="788">
                  <c:v>3243.2979999999998</c:v>
                </c:pt>
                <c:pt idx="789">
                  <c:v>3221.7179999999998</c:v>
                </c:pt>
                <c:pt idx="790">
                  <c:v>3270.6660000000002</c:v>
                </c:pt>
                <c:pt idx="791">
                  <c:v>3334.51</c:v>
                </c:pt>
                <c:pt idx="792">
                  <c:v>3337.4569999999999</c:v>
                </c:pt>
                <c:pt idx="793">
                  <c:v>3338.8580000000002</c:v>
                </c:pt>
                <c:pt idx="794">
                  <c:v>3280.259</c:v>
                </c:pt>
                <c:pt idx="795">
                  <c:v>3247.3760000000002</c:v>
                </c:pt>
                <c:pt idx="796">
                  <c:v>3262.92</c:v>
                </c:pt>
                <c:pt idx="797">
                  <c:v>3203.9609999999998</c:v>
                </c:pt>
                <c:pt idx="798">
                  <c:v>3248.1950000000002</c:v>
                </c:pt>
                <c:pt idx="799">
                  <c:v>3197.1</c:v>
                </c:pt>
                <c:pt idx="800">
                  <c:v>3215.6849999999999</c:v>
                </c:pt>
                <c:pt idx="801">
                  <c:v>3207.11</c:v>
                </c:pt>
                <c:pt idx="802">
                  <c:v>3222.9609999999998</c:v>
                </c:pt>
                <c:pt idx="803">
                  <c:v>3264.9259999999999</c:v>
                </c:pt>
                <c:pt idx="804">
                  <c:v>3251.3609999999999</c:v>
                </c:pt>
                <c:pt idx="805">
                  <c:v>3294.4839999999999</c:v>
                </c:pt>
                <c:pt idx="806">
                  <c:v>3290.5709999999999</c:v>
                </c:pt>
                <c:pt idx="807">
                  <c:v>3257.9789999999998</c:v>
                </c:pt>
                <c:pt idx="808">
                  <c:v>3256.08</c:v>
                </c:pt>
                <c:pt idx="809">
                  <c:v>3223.288</c:v>
                </c:pt>
                <c:pt idx="810">
                  <c:v>3272.7289999999998</c:v>
                </c:pt>
                <c:pt idx="811">
                  <c:v>3311.067</c:v>
                </c:pt>
                <c:pt idx="812">
                  <c:v>3324.4189999999999</c:v>
                </c:pt>
                <c:pt idx="813">
                  <c:v>3353.3580000000002</c:v>
                </c:pt>
                <c:pt idx="814">
                  <c:v>3333.4270000000001</c:v>
                </c:pt>
                <c:pt idx="815">
                  <c:v>3326.7710000000002</c:v>
                </c:pt>
                <c:pt idx="816">
                  <c:v>3372.0309999999999</c:v>
                </c:pt>
                <c:pt idx="817">
                  <c:v>3353.56</c:v>
                </c:pt>
                <c:pt idx="818">
                  <c:v>3358.944</c:v>
                </c:pt>
                <c:pt idx="819">
                  <c:v>3359.4380000000001</c:v>
                </c:pt>
                <c:pt idx="820">
                  <c:v>3295.8119999999999</c:v>
                </c:pt>
                <c:pt idx="821">
                  <c:v>3295.7579999999998</c:v>
                </c:pt>
                <c:pt idx="822">
                  <c:v>3317.3670000000002</c:v>
                </c:pt>
                <c:pt idx="823">
                  <c:v>3299.942</c:v>
                </c:pt>
                <c:pt idx="824">
                  <c:v>3249.5740000000001</c:v>
                </c:pt>
                <c:pt idx="825">
                  <c:v>3230.96</c:v>
                </c:pt>
                <c:pt idx="826">
                  <c:v>3209.5030000000002</c:v>
                </c:pt>
                <c:pt idx="827">
                  <c:v>3161.7759999999998</c:v>
                </c:pt>
                <c:pt idx="828">
                  <c:v>3192.723</c:v>
                </c:pt>
                <c:pt idx="829">
                  <c:v>3211.1320000000001</c:v>
                </c:pt>
                <c:pt idx="830">
                  <c:v>3129.0279999999998</c:v>
                </c:pt>
                <c:pt idx="831">
                  <c:v>3126.1170000000002</c:v>
                </c:pt>
                <c:pt idx="832">
                  <c:v>3121.3960000000002</c:v>
                </c:pt>
                <c:pt idx="833">
                  <c:v>3129.759</c:v>
                </c:pt>
                <c:pt idx="834">
                  <c:v>3153.221</c:v>
                </c:pt>
                <c:pt idx="835">
                  <c:v>3145.085</c:v>
                </c:pt>
                <c:pt idx="836">
                  <c:v>3101.6030000000001</c:v>
                </c:pt>
                <c:pt idx="837">
                  <c:v>3128.0929999999998</c:v>
                </c:pt>
                <c:pt idx="838">
                  <c:v>3100.4630000000002</c:v>
                </c:pt>
                <c:pt idx="839">
                  <c:v>3116.0279999999998</c:v>
                </c:pt>
                <c:pt idx="840">
                  <c:v>3139.3789999999999</c:v>
                </c:pt>
                <c:pt idx="841">
                  <c:v>3120.6390000000001</c:v>
                </c:pt>
                <c:pt idx="842">
                  <c:v>3121.596</c:v>
                </c:pt>
                <c:pt idx="843">
                  <c:v>3022.98</c:v>
                </c:pt>
                <c:pt idx="844">
                  <c:v>3026.223</c:v>
                </c:pt>
                <c:pt idx="845">
                  <c:v>2990.3429999999998</c:v>
                </c:pt>
                <c:pt idx="846">
                  <c:v>2978.3809999999999</c:v>
                </c:pt>
                <c:pt idx="847">
                  <c:v>2963.308</c:v>
                </c:pt>
                <c:pt idx="848">
                  <c:v>2954.5059999999999</c:v>
                </c:pt>
                <c:pt idx="849">
                  <c:v>3001.556</c:v>
                </c:pt>
                <c:pt idx="850">
                  <c:v>3004.1729999999998</c:v>
                </c:pt>
                <c:pt idx="851">
                  <c:v>2955.7049999999999</c:v>
                </c:pt>
                <c:pt idx="852">
                  <c:v>2986.3490000000002</c:v>
                </c:pt>
                <c:pt idx="853">
                  <c:v>3004.2620000000002</c:v>
                </c:pt>
                <c:pt idx="854">
                  <c:v>3008.652</c:v>
                </c:pt>
                <c:pt idx="855">
                  <c:v>2951.8890000000001</c:v>
                </c:pt>
                <c:pt idx="856">
                  <c:v>2961.9319999999998</c:v>
                </c:pt>
                <c:pt idx="857">
                  <c:v>2950.348</c:v>
                </c:pt>
                <c:pt idx="858">
                  <c:v>2993.5590000000002</c:v>
                </c:pt>
                <c:pt idx="859">
                  <c:v>2963.1190000000001</c:v>
                </c:pt>
                <c:pt idx="860">
                  <c:v>2917.578</c:v>
                </c:pt>
                <c:pt idx="861">
                  <c:v>2892.1570000000002</c:v>
                </c:pt>
                <c:pt idx="862">
                  <c:v>2874.8960000000002</c:v>
                </c:pt>
                <c:pt idx="863">
                  <c:v>2909.0729999999999</c:v>
                </c:pt>
                <c:pt idx="864">
                  <c:v>2908.5819999999999</c:v>
                </c:pt>
                <c:pt idx="865">
                  <c:v>2957.6289999999999</c:v>
                </c:pt>
                <c:pt idx="866">
                  <c:v>3027.47</c:v>
                </c:pt>
                <c:pt idx="867">
                  <c:v>3036.491</c:v>
                </c:pt>
                <c:pt idx="868">
                  <c:v>3041.7339999999999</c:v>
                </c:pt>
                <c:pt idx="869">
                  <c:v>3000.1689999999999</c:v>
                </c:pt>
                <c:pt idx="870">
                  <c:v>3044.0889999999999</c:v>
                </c:pt>
                <c:pt idx="871">
                  <c:v>3049.7449999999999</c:v>
                </c:pt>
                <c:pt idx="872">
                  <c:v>3121.98</c:v>
                </c:pt>
                <c:pt idx="873">
                  <c:v>3122.5</c:v>
                </c:pt>
                <c:pt idx="874">
                  <c:v>3113.712</c:v>
                </c:pt>
                <c:pt idx="875">
                  <c:v>3101.68</c:v>
                </c:pt>
                <c:pt idx="876">
                  <c:v>3109.183</c:v>
                </c:pt>
                <c:pt idx="877">
                  <c:v>3113.2060000000001</c:v>
                </c:pt>
                <c:pt idx="878">
                  <c:v>3056.9050000000002</c:v>
                </c:pt>
                <c:pt idx="879">
                  <c:v>3106.2469999999998</c:v>
                </c:pt>
                <c:pt idx="880">
                  <c:v>3115.7449999999999</c:v>
                </c:pt>
                <c:pt idx="881">
                  <c:v>3128.8890000000001</c:v>
                </c:pt>
                <c:pt idx="882">
                  <c:v>3122.6</c:v>
                </c:pt>
                <c:pt idx="883">
                  <c:v>3095.125</c:v>
                </c:pt>
                <c:pt idx="884">
                  <c:v>3091.567</c:v>
                </c:pt>
                <c:pt idx="885">
                  <c:v>3059.1390000000001</c:v>
                </c:pt>
                <c:pt idx="886">
                  <c:v>3067.9850000000001</c:v>
                </c:pt>
                <c:pt idx="887">
                  <c:v>2968.2890000000002</c:v>
                </c:pt>
                <c:pt idx="888">
                  <c:v>2977.7660000000001</c:v>
                </c:pt>
                <c:pt idx="889">
                  <c:v>3000.0520000000001</c:v>
                </c:pt>
                <c:pt idx="890">
                  <c:v>2981.002</c:v>
                </c:pt>
                <c:pt idx="891">
                  <c:v>2972.0790000000002</c:v>
                </c:pt>
                <c:pt idx="892">
                  <c:v>2977.721</c:v>
                </c:pt>
                <c:pt idx="893">
                  <c:v>2956.3829999999998</c:v>
                </c:pt>
                <c:pt idx="894">
                  <c:v>2954.87</c:v>
                </c:pt>
                <c:pt idx="895">
                  <c:v>2960.3090000000002</c:v>
                </c:pt>
                <c:pt idx="896">
                  <c:v>2897.4169999999999</c:v>
                </c:pt>
                <c:pt idx="897">
                  <c:v>2793.8969999999999</c:v>
                </c:pt>
                <c:pt idx="898">
                  <c:v>2798.19</c:v>
                </c:pt>
                <c:pt idx="899">
                  <c:v>2824.12</c:v>
                </c:pt>
                <c:pt idx="900">
                  <c:v>2866.924</c:v>
                </c:pt>
                <c:pt idx="901">
                  <c:v>2875.3649999999998</c:v>
                </c:pt>
                <c:pt idx="902">
                  <c:v>2917.8829999999998</c:v>
                </c:pt>
                <c:pt idx="903">
                  <c:v>2897.5810000000001</c:v>
                </c:pt>
                <c:pt idx="904">
                  <c:v>2886.0129999999999</c:v>
                </c:pt>
                <c:pt idx="905">
                  <c:v>2834.2539999999999</c:v>
                </c:pt>
                <c:pt idx="906">
                  <c:v>2807.6640000000002</c:v>
                </c:pt>
                <c:pt idx="907">
                  <c:v>2777.7869999999998</c:v>
                </c:pt>
                <c:pt idx="908">
                  <c:v>2821.0030000000002</c:v>
                </c:pt>
                <c:pt idx="909">
                  <c:v>2810.0160000000001</c:v>
                </c:pt>
                <c:pt idx="910">
                  <c:v>2903.837</c:v>
                </c:pt>
                <c:pt idx="911">
                  <c:v>2901.2159999999999</c:v>
                </c:pt>
                <c:pt idx="912">
                  <c:v>2852.8090000000002</c:v>
                </c:pt>
                <c:pt idx="913">
                  <c:v>2841.74</c:v>
                </c:pt>
                <c:pt idx="914">
                  <c:v>2846.7759999999998</c:v>
                </c:pt>
                <c:pt idx="915">
                  <c:v>2834.5349999999999</c:v>
                </c:pt>
                <c:pt idx="916">
                  <c:v>2803.8539999999998</c:v>
                </c:pt>
                <c:pt idx="917">
                  <c:v>2743.817</c:v>
                </c:pt>
                <c:pt idx="918">
                  <c:v>2723.3029999999999</c:v>
                </c:pt>
                <c:pt idx="919">
                  <c:v>2779.09</c:v>
                </c:pt>
                <c:pt idx="920">
                  <c:v>2756.105</c:v>
                </c:pt>
                <c:pt idx="921">
                  <c:v>2751.0949999999998</c:v>
                </c:pt>
                <c:pt idx="922">
                  <c:v>2720.2829999999999</c:v>
                </c:pt>
                <c:pt idx="923">
                  <c:v>2733.1080000000002</c:v>
                </c:pt>
                <c:pt idx="924">
                  <c:v>2729.0509999999999</c:v>
                </c:pt>
                <c:pt idx="925">
                  <c:v>2733.9870000000001</c:v>
                </c:pt>
                <c:pt idx="926">
                  <c:v>2679.27</c:v>
                </c:pt>
                <c:pt idx="927">
                  <c:v>2689.8449999999998</c:v>
                </c:pt>
                <c:pt idx="928">
                  <c:v>2771.011</c:v>
                </c:pt>
                <c:pt idx="929">
                  <c:v>2685.6880000000001</c:v>
                </c:pt>
                <c:pt idx="930">
                  <c:v>2669.4780000000001</c:v>
                </c:pt>
                <c:pt idx="931">
                  <c:v>2610.9189999999999</c:v>
                </c:pt>
                <c:pt idx="932">
                  <c:v>2637.8789999999999</c:v>
                </c:pt>
                <c:pt idx="933">
                  <c:v>2610.59</c:v>
                </c:pt>
                <c:pt idx="934">
                  <c:v>2588.1849999999999</c:v>
                </c:pt>
                <c:pt idx="935">
                  <c:v>2581.3510000000001</c:v>
                </c:pt>
                <c:pt idx="936">
                  <c:v>2557.0819999999999</c:v>
                </c:pt>
                <c:pt idx="937">
                  <c:v>2551.9940000000001</c:v>
                </c:pt>
                <c:pt idx="938">
                  <c:v>2644.7579999999998</c:v>
                </c:pt>
                <c:pt idx="939">
                  <c:v>2662.6010000000001</c:v>
                </c:pt>
                <c:pt idx="940">
                  <c:v>2653.7820000000002</c:v>
                </c:pt>
                <c:pt idx="941">
                  <c:v>2666.951</c:v>
                </c:pt>
                <c:pt idx="942">
                  <c:v>2592.2089999999998</c:v>
                </c:pt>
                <c:pt idx="943">
                  <c:v>2583.0810000000001</c:v>
                </c:pt>
                <c:pt idx="944">
                  <c:v>2520.5320000000002</c:v>
                </c:pt>
                <c:pt idx="945">
                  <c:v>2507.877</c:v>
                </c:pt>
                <c:pt idx="946">
                  <c:v>2576.6689999999999</c:v>
                </c:pt>
                <c:pt idx="947">
                  <c:v>2625.4250000000002</c:v>
                </c:pt>
                <c:pt idx="948">
                  <c:v>2651.652</c:v>
                </c:pt>
                <c:pt idx="949">
                  <c:v>2657.4780000000001</c:v>
                </c:pt>
                <c:pt idx="950">
                  <c:v>2709.0169999999998</c:v>
                </c:pt>
                <c:pt idx="951">
                  <c:v>2695.3069999999998</c:v>
                </c:pt>
                <c:pt idx="952">
                  <c:v>2697.5340000000001</c:v>
                </c:pt>
                <c:pt idx="953">
                  <c:v>2742.39</c:v>
                </c:pt>
                <c:pt idx="954">
                  <c:v>2744.3009999999999</c:v>
                </c:pt>
                <c:pt idx="955">
                  <c:v>2763.7460000000001</c:v>
                </c:pt>
                <c:pt idx="956">
                  <c:v>2736.248</c:v>
                </c:pt>
                <c:pt idx="957">
                  <c:v>2727.71</c:v>
                </c:pt>
                <c:pt idx="958">
                  <c:v>2751.654</c:v>
                </c:pt>
                <c:pt idx="959">
                  <c:v>2699.5880000000002</c:v>
                </c:pt>
                <c:pt idx="960">
                  <c:v>2695.002</c:v>
                </c:pt>
                <c:pt idx="961">
                  <c:v>2750.1950000000002</c:v>
                </c:pt>
                <c:pt idx="962">
                  <c:v>2744.68</c:v>
                </c:pt>
                <c:pt idx="963">
                  <c:v>2670.116</c:v>
                </c:pt>
                <c:pt idx="964">
                  <c:v>2662.0169999999998</c:v>
                </c:pt>
                <c:pt idx="965">
                  <c:v>2606.4949999999999</c:v>
                </c:pt>
                <c:pt idx="966">
                  <c:v>2609.6869999999999</c:v>
                </c:pt>
                <c:pt idx="967">
                  <c:v>2609.4749999999999</c:v>
                </c:pt>
                <c:pt idx="968">
                  <c:v>2584.011</c:v>
                </c:pt>
                <c:pt idx="969">
                  <c:v>2588.915</c:v>
                </c:pt>
                <c:pt idx="970">
                  <c:v>2569.973</c:v>
                </c:pt>
                <c:pt idx="971">
                  <c:v>2573.3209999999999</c:v>
                </c:pt>
                <c:pt idx="972">
                  <c:v>2608.569</c:v>
                </c:pt>
                <c:pt idx="973">
                  <c:v>2521.52</c:v>
                </c:pt>
                <c:pt idx="974">
                  <c:v>2583.6129999999998</c:v>
                </c:pt>
                <c:pt idx="975">
                  <c:v>2557.3110000000001</c:v>
                </c:pt>
                <c:pt idx="976">
                  <c:v>2521.3850000000002</c:v>
                </c:pt>
                <c:pt idx="977">
                  <c:v>2516.3409999999999</c:v>
                </c:pt>
                <c:pt idx="978">
                  <c:v>2528.2280000000001</c:v>
                </c:pt>
                <c:pt idx="979">
                  <c:v>2525.0010000000002</c:v>
                </c:pt>
                <c:pt idx="980">
                  <c:v>2503.4609999999998</c:v>
                </c:pt>
                <c:pt idx="981">
                  <c:v>2477.692</c:v>
                </c:pt>
                <c:pt idx="982">
                  <c:v>2421.9279999999999</c:v>
                </c:pt>
                <c:pt idx="983">
                  <c:v>2397.48</c:v>
                </c:pt>
                <c:pt idx="984">
                  <c:v>2340.788</c:v>
                </c:pt>
                <c:pt idx="985">
                  <c:v>2390.1289999999999</c:v>
                </c:pt>
                <c:pt idx="986">
                  <c:v>2384.4079999999999</c:v>
                </c:pt>
                <c:pt idx="987">
                  <c:v>2377.0729999999999</c:v>
                </c:pt>
                <c:pt idx="988">
                  <c:v>2339.1080000000002</c:v>
                </c:pt>
                <c:pt idx="989">
                  <c:v>2341.335</c:v>
                </c:pt>
                <c:pt idx="990">
                  <c:v>2359.1590000000001</c:v>
                </c:pt>
                <c:pt idx="991">
                  <c:v>2335.7020000000002</c:v>
                </c:pt>
                <c:pt idx="992">
                  <c:v>2305.0349999999999</c:v>
                </c:pt>
                <c:pt idx="993">
                  <c:v>2307.9279999999999</c:v>
                </c:pt>
                <c:pt idx="994">
                  <c:v>2311.3609999999999</c:v>
                </c:pt>
                <c:pt idx="995">
                  <c:v>2345.7420000000002</c:v>
                </c:pt>
                <c:pt idx="996">
                  <c:v>2298.7530000000002</c:v>
                </c:pt>
                <c:pt idx="997">
                  <c:v>2276.3850000000002</c:v>
                </c:pt>
                <c:pt idx="998">
                  <c:v>2290.6010000000001</c:v>
                </c:pt>
                <c:pt idx="999">
                  <c:v>2368.5700000000002</c:v>
                </c:pt>
                <c:pt idx="1000">
                  <c:v>2447.3490000000002</c:v>
                </c:pt>
                <c:pt idx="1001">
                  <c:v>2435.6080000000002</c:v>
                </c:pt>
                <c:pt idx="1002">
                  <c:v>2435.2190000000001</c:v>
                </c:pt>
                <c:pt idx="1003">
                  <c:v>2394.3339999999998</c:v>
                </c:pt>
                <c:pt idx="1004">
                  <c:v>2345.6489999999999</c:v>
                </c:pt>
                <c:pt idx="1005">
                  <c:v>2460.6010000000001</c:v>
                </c:pt>
                <c:pt idx="1006">
                  <c:v>2422.1889999999999</c:v>
                </c:pt>
                <c:pt idx="1007">
                  <c:v>2468.35</c:v>
                </c:pt>
                <c:pt idx="1008">
                  <c:v>2504.0859999999998</c:v>
                </c:pt>
                <c:pt idx="1009">
                  <c:v>2460.7199999999998</c:v>
                </c:pt>
                <c:pt idx="1010">
                  <c:v>2464.2600000000002</c:v>
                </c:pt>
                <c:pt idx="1011">
                  <c:v>2428.9940000000001</c:v>
                </c:pt>
                <c:pt idx="1012">
                  <c:v>2486.2379999999998</c:v>
                </c:pt>
                <c:pt idx="1013">
                  <c:v>2506.09</c:v>
                </c:pt>
                <c:pt idx="1014">
                  <c:v>2504.3220000000001</c:v>
                </c:pt>
                <c:pt idx="1015">
                  <c:v>2457.9540000000002</c:v>
                </c:pt>
                <c:pt idx="1016">
                  <c:v>2528.2359999999999</c:v>
                </c:pt>
                <c:pt idx="1017">
                  <c:v>2529.2310000000002</c:v>
                </c:pt>
                <c:pt idx="1018">
                  <c:v>2533.6239999999998</c:v>
                </c:pt>
                <c:pt idx="1019">
                  <c:v>2531.9810000000002</c:v>
                </c:pt>
                <c:pt idx="1020">
                  <c:v>2522.107</c:v>
                </c:pt>
                <c:pt idx="1021">
                  <c:v>2549.607</c:v>
                </c:pt>
                <c:pt idx="1022">
                  <c:v>2536.0740000000001</c:v>
                </c:pt>
                <c:pt idx="1023">
                  <c:v>2537.0859999999998</c:v>
                </c:pt>
                <c:pt idx="1024">
                  <c:v>2540.7060000000001</c:v>
                </c:pt>
                <c:pt idx="1025">
                  <c:v>2562.453</c:v>
                </c:pt>
                <c:pt idx="1026">
                  <c:v>2597.4760000000001</c:v>
                </c:pt>
                <c:pt idx="1027">
                  <c:v>2606.2559999999999</c:v>
                </c:pt>
                <c:pt idx="1028">
                  <c:v>2648.0169999999998</c:v>
                </c:pt>
                <c:pt idx="1029">
                  <c:v>2656.5729999999999</c:v>
                </c:pt>
                <c:pt idx="1030">
                  <c:v>2662.4630000000002</c:v>
                </c:pt>
                <c:pt idx="1031">
                  <c:v>2634.143</c:v>
                </c:pt>
                <c:pt idx="1032">
                  <c:v>2633.3449999999998</c:v>
                </c:pt>
                <c:pt idx="1033">
                  <c:v>2679.9340000000002</c:v>
                </c:pt>
                <c:pt idx="1034">
                  <c:v>2662.6979999999999</c:v>
                </c:pt>
                <c:pt idx="1035">
                  <c:v>2621.0520000000001</c:v>
                </c:pt>
                <c:pt idx="1036">
                  <c:v>2603.0050000000001</c:v>
                </c:pt>
                <c:pt idx="1037">
                  <c:v>2635.7910000000002</c:v>
                </c:pt>
                <c:pt idx="1038">
                  <c:v>2664.3020000000001</c:v>
                </c:pt>
                <c:pt idx="1039">
                  <c:v>2654.402</c:v>
                </c:pt>
                <c:pt idx="1040">
                  <c:v>2681.0729999999999</c:v>
                </c:pt>
                <c:pt idx="1041">
                  <c:v>2605.1060000000002</c:v>
                </c:pt>
                <c:pt idx="1042">
                  <c:v>2585.5459999999998</c:v>
                </c:pt>
                <c:pt idx="1043">
                  <c:v>2623.52</c:v>
                </c:pt>
                <c:pt idx="1044">
                  <c:v>2630.0129999999999</c:v>
                </c:pt>
                <c:pt idx="1045">
                  <c:v>2584.4450000000002</c:v>
                </c:pt>
                <c:pt idx="1046">
                  <c:v>2587.7930000000001</c:v>
                </c:pt>
                <c:pt idx="1047">
                  <c:v>2583.7469999999998</c:v>
                </c:pt>
                <c:pt idx="1048">
                  <c:v>2552.94</c:v>
                </c:pt>
                <c:pt idx="1049">
                  <c:v>2555.442</c:v>
                </c:pt>
                <c:pt idx="1050">
                  <c:v>2547.143</c:v>
                </c:pt>
                <c:pt idx="1051">
                  <c:v>2474.9</c:v>
                </c:pt>
                <c:pt idx="1052">
                  <c:v>2443.1219999999998</c:v>
                </c:pt>
                <c:pt idx="1053">
                  <c:v>2454.8989999999999</c:v>
                </c:pt>
                <c:pt idx="1054">
                  <c:v>2512.8319999999999</c:v>
                </c:pt>
                <c:pt idx="1055">
                  <c:v>2519.83</c:v>
                </c:pt>
                <c:pt idx="1056">
                  <c:v>2495.1460000000002</c:v>
                </c:pt>
                <c:pt idx="1057">
                  <c:v>2519.788</c:v>
                </c:pt>
                <c:pt idx="1058">
                  <c:v>2520.0360000000001</c:v>
                </c:pt>
                <c:pt idx="1059">
                  <c:v>2570.4360000000001</c:v>
                </c:pt>
                <c:pt idx="1060">
                  <c:v>2580.4540000000002</c:v>
                </c:pt>
                <c:pt idx="1061">
                  <c:v>2574.0439999999999</c:v>
                </c:pt>
                <c:pt idx="1062">
                  <c:v>2541.8829999999998</c:v>
                </c:pt>
                <c:pt idx="1063">
                  <c:v>2599.9079999999999</c:v>
                </c:pt>
                <c:pt idx="1064">
                  <c:v>2596.056</c:v>
                </c:pt>
                <c:pt idx="1065">
                  <c:v>2626.8389999999999</c:v>
                </c:pt>
                <c:pt idx="1066">
                  <c:v>2606.038</c:v>
                </c:pt>
                <c:pt idx="1067">
                  <c:v>2604.866</c:v>
                </c:pt>
                <c:pt idx="1068">
                  <c:v>2625.99</c:v>
                </c:pt>
                <c:pt idx="1069">
                  <c:v>2631.4870000000001</c:v>
                </c:pt>
                <c:pt idx="1070">
                  <c:v>2626.1570000000002</c:v>
                </c:pt>
                <c:pt idx="1071">
                  <c:v>2683.4870000000001</c:v>
                </c:pt>
                <c:pt idx="1072">
                  <c:v>2691.518</c:v>
                </c:pt>
                <c:pt idx="1073">
                  <c:v>2715.8789999999999</c:v>
                </c:pt>
                <c:pt idx="1074">
                  <c:v>2717.7779999999998</c:v>
                </c:pt>
                <c:pt idx="1075">
                  <c:v>2709.116</c:v>
                </c:pt>
                <c:pt idx="1076">
                  <c:v>2657.5140000000001</c:v>
                </c:pt>
                <c:pt idx="1077">
                  <c:v>2657.2139999999999</c:v>
                </c:pt>
                <c:pt idx="1078">
                  <c:v>2636.9169999999999</c:v>
                </c:pt>
                <c:pt idx="1079">
                  <c:v>2615.5340000000001</c:v>
                </c:pt>
                <c:pt idx="1080">
                  <c:v>2617.3739999999998</c:v>
                </c:pt>
                <c:pt idx="1081">
                  <c:v>2574.6469999999999</c:v>
                </c:pt>
                <c:pt idx="1082">
                  <c:v>2613.942</c:v>
                </c:pt>
                <c:pt idx="1083">
                  <c:v>2573.9760000000001</c:v>
                </c:pt>
                <c:pt idx="1084">
                  <c:v>2587.2310000000002</c:v>
                </c:pt>
                <c:pt idx="1085">
                  <c:v>2627.5250000000001</c:v>
                </c:pt>
                <c:pt idx="1086">
                  <c:v>2616.8690000000001</c:v>
                </c:pt>
                <c:pt idx="1087">
                  <c:v>2595.2600000000002</c:v>
                </c:pt>
                <c:pt idx="1088">
                  <c:v>2573.1030000000001</c:v>
                </c:pt>
                <c:pt idx="1089">
                  <c:v>2614.6889999999999</c:v>
                </c:pt>
                <c:pt idx="1090">
                  <c:v>2650.8539999999998</c:v>
                </c:pt>
                <c:pt idx="1091">
                  <c:v>2642.2579999999998</c:v>
                </c:pt>
                <c:pt idx="1092">
                  <c:v>2632.0419999999999</c:v>
                </c:pt>
                <c:pt idx="1093">
                  <c:v>2632.998</c:v>
                </c:pt>
                <c:pt idx="1094">
                  <c:v>2559.0259999999998</c:v>
                </c:pt>
                <c:pt idx="1095">
                  <c:v>2558.8420000000001</c:v>
                </c:pt>
                <c:pt idx="1096">
                  <c:v>2557.4009999999998</c:v>
                </c:pt>
                <c:pt idx="1097">
                  <c:v>2542.1840000000002</c:v>
                </c:pt>
                <c:pt idx="1098">
                  <c:v>2524.3290000000002</c:v>
                </c:pt>
                <c:pt idx="1099">
                  <c:v>2558.2649999999999</c:v>
                </c:pt>
                <c:pt idx="1100">
                  <c:v>2540.1779999999999</c:v>
                </c:pt>
                <c:pt idx="1101">
                  <c:v>2580.636</c:v>
                </c:pt>
                <c:pt idx="1102">
                  <c:v>2560.4209999999998</c:v>
                </c:pt>
                <c:pt idx="1103">
                  <c:v>2568.0540000000001</c:v>
                </c:pt>
                <c:pt idx="1104">
                  <c:v>2581.212</c:v>
                </c:pt>
                <c:pt idx="1105">
                  <c:v>2558.6210000000001</c:v>
                </c:pt>
                <c:pt idx="1106">
                  <c:v>2552.6109999999999</c:v>
                </c:pt>
                <c:pt idx="1107">
                  <c:v>2512.1849999999999</c:v>
                </c:pt>
                <c:pt idx="1108">
                  <c:v>2456.518</c:v>
                </c:pt>
                <c:pt idx="1109">
                  <c:v>2454.915</c:v>
                </c:pt>
                <c:pt idx="1110">
                  <c:v>2447.1950000000002</c:v>
                </c:pt>
                <c:pt idx="1111">
                  <c:v>2425.7289999999998</c:v>
                </c:pt>
                <c:pt idx="1112">
                  <c:v>2461.6120000000001</c:v>
                </c:pt>
                <c:pt idx="1113">
                  <c:v>2465.2379999999998</c:v>
                </c:pt>
                <c:pt idx="1114">
                  <c:v>2468.721</c:v>
                </c:pt>
                <c:pt idx="1115">
                  <c:v>2464.9189999999999</c:v>
                </c:pt>
                <c:pt idx="1116">
                  <c:v>2430.37</c:v>
                </c:pt>
                <c:pt idx="1117">
                  <c:v>2472.614</c:v>
                </c:pt>
                <c:pt idx="1118">
                  <c:v>2416.0360000000001</c:v>
                </c:pt>
                <c:pt idx="1119">
                  <c:v>2406.7060000000001</c:v>
                </c:pt>
                <c:pt idx="1120">
                  <c:v>2425.5720000000001</c:v>
                </c:pt>
                <c:pt idx="1121">
                  <c:v>2449.181</c:v>
                </c:pt>
                <c:pt idx="1122">
                  <c:v>2450.6329999999998</c:v>
                </c:pt>
                <c:pt idx="1123">
                  <c:v>2399.7310000000002</c:v>
                </c:pt>
                <c:pt idx="1124">
                  <c:v>2414.201</c:v>
                </c:pt>
                <c:pt idx="1125">
                  <c:v>2414.335</c:v>
                </c:pt>
                <c:pt idx="1126">
                  <c:v>2424.3220000000001</c:v>
                </c:pt>
                <c:pt idx="1127">
                  <c:v>2398.4549999999999</c:v>
                </c:pt>
                <c:pt idx="1128">
                  <c:v>2365.431</c:v>
                </c:pt>
                <c:pt idx="1129">
                  <c:v>2375.9920000000002</c:v>
                </c:pt>
                <c:pt idx="1130">
                  <c:v>2360.0830000000001</c:v>
                </c:pt>
                <c:pt idx="1131">
                  <c:v>2347.4879999999998</c:v>
                </c:pt>
                <c:pt idx="1132">
                  <c:v>2349.1080000000002</c:v>
                </c:pt>
                <c:pt idx="1133">
                  <c:v>2335.7930000000001</c:v>
                </c:pt>
                <c:pt idx="1134">
                  <c:v>2332.922</c:v>
                </c:pt>
                <c:pt idx="1135">
                  <c:v>2358.6509999999998</c:v>
                </c:pt>
                <c:pt idx="1136">
                  <c:v>2334.8820000000001</c:v>
                </c:pt>
                <c:pt idx="1137">
                  <c:v>2353.7370000000001</c:v>
                </c:pt>
                <c:pt idx="1138">
                  <c:v>2385.6109999999999</c:v>
                </c:pt>
                <c:pt idx="1139">
                  <c:v>2388.873</c:v>
                </c:pt>
                <c:pt idx="1140">
                  <c:v>2389.7950000000001</c:v>
                </c:pt>
                <c:pt idx="1141">
                  <c:v>2411.6999999999998</c:v>
                </c:pt>
                <c:pt idx="1142">
                  <c:v>2399.7510000000002</c:v>
                </c:pt>
                <c:pt idx="1143">
                  <c:v>2351.931</c:v>
                </c:pt>
                <c:pt idx="1144">
                  <c:v>2357.0160000000001</c:v>
                </c:pt>
                <c:pt idx="1145">
                  <c:v>2331.6149999999998</c:v>
                </c:pt>
                <c:pt idx="1146">
                  <c:v>2319.67</c:v>
                </c:pt>
                <c:pt idx="1147">
                  <c:v>2313.4760000000001</c:v>
                </c:pt>
                <c:pt idx="1148">
                  <c:v>2301.788</c:v>
                </c:pt>
                <c:pt idx="1149">
                  <c:v>2313.703</c:v>
                </c:pt>
                <c:pt idx="1150">
                  <c:v>2295.5859999999998</c:v>
                </c:pt>
                <c:pt idx="1151">
                  <c:v>2302.1990000000001</c:v>
                </c:pt>
                <c:pt idx="1152">
                  <c:v>2275.6770000000001</c:v>
                </c:pt>
                <c:pt idx="1153">
                  <c:v>2228.2040000000002</c:v>
                </c:pt>
                <c:pt idx="1154">
                  <c:v>2238.4110000000001</c:v>
                </c:pt>
                <c:pt idx="1155">
                  <c:v>2214.8139999999999</c:v>
                </c:pt>
                <c:pt idx="1156">
                  <c:v>2211.37</c:v>
                </c:pt>
                <c:pt idx="1157">
                  <c:v>2204.8679999999999</c:v>
                </c:pt>
                <c:pt idx="1158">
                  <c:v>2228.3690000000001</c:v>
                </c:pt>
                <c:pt idx="1159">
                  <c:v>2204.4070000000002</c:v>
                </c:pt>
                <c:pt idx="1160">
                  <c:v>2199.875</c:v>
                </c:pt>
                <c:pt idx="1161">
                  <c:v>2217.8229999999999</c:v>
                </c:pt>
                <c:pt idx="1162">
                  <c:v>2317.1790000000001</c:v>
                </c:pt>
                <c:pt idx="1163">
                  <c:v>2326.6660000000002</c:v>
                </c:pt>
                <c:pt idx="1164">
                  <c:v>2311.89</c:v>
                </c:pt>
                <c:pt idx="1165">
                  <c:v>2320.0709999999999</c:v>
                </c:pt>
                <c:pt idx="1166">
                  <c:v>2298.4609999999998</c:v>
                </c:pt>
                <c:pt idx="1167">
                  <c:v>2315.5419999999999</c:v>
                </c:pt>
                <c:pt idx="1168">
                  <c:v>2258.7049999999999</c:v>
                </c:pt>
                <c:pt idx="1169">
                  <c:v>2235.239</c:v>
                </c:pt>
                <c:pt idx="1170">
                  <c:v>2246.2359999999999</c:v>
                </c:pt>
                <c:pt idx="1171">
                  <c:v>2195.951</c:v>
                </c:pt>
                <c:pt idx="1172">
                  <c:v>2199.0630000000001</c:v>
                </c:pt>
                <c:pt idx="1173">
                  <c:v>2215.5160000000001</c:v>
                </c:pt>
                <c:pt idx="1174">
                  <c:v>2210.154</c:v>
                </c:pt>
                <c:pt idx="1175">
                  <c:v>2184.8910000000001</c:v>
                </c:pt>
                <c:pt idx="1176">
                  <c:v>2251.7170000000001</c:v>
                </c:pt>
                <c:pt idx="1177">
                  <c:v>2293.1060000000002</c:v>
                </c:pt>
                <c:pt idx="1178">
                  <c:v>2270.0540000000001</c:v>
                </c:pt>
                <c:pt idx="1179">
                  <c:v>2320.1570000000002</c:v>
                </c:pt>
                <c:pt idx="1180">
                  <c:v>2324.1170000000002</c:v>
                </c:pt>
                <c:pt idx="1181">
                  <c:v>2302.5329999999999</c:v>
                </c:pt>
                <c:pt idx="1182">
                  <c:v>2304.5309999999999</c:v>
                </c:pt>
                <c:pt idx="1183">
                  <c:v>2294.857</c:v>
                </c:pt>
                <c:pt idx="1184">
                  <c:v>2298.1619999999998</c:v>
                </c:pt>
                <c:pt idx="1185">
                  <c:v>2300.8029999999999</c:v>
                </c:pt>
                <c:pt idx="1186">
                  <c:v>2336.0770000000002</c:v>
                </c:pt>
                <c:pt idx="1187">
                  <c:v>2332.4699999999998</c:v>
                </c:pt>
                <c:pt idx="1188">
                  <c:v>2341.5920000000001</c:v>
                </c:pt>
                <c:pt idx="1189">
                  <c:v>2312.0770000000002</c:v>
                </c:pt>
                <c:pt idx="1190">
                  <c:v>2307.779</c:v>
                </c:pt>
                <c:pt idx="1191">
                  <c:v>2291.239</c:v>
                </c:pt>
                <c:pt idx="1192">
                  <c:v>2247.9070000000002</c:v>
                </c:pt>
                <c:pt idx="1193">
                  <c:v>2235.8539999999998</c:v>
                </c:pt>
                <c:pt idx="1194">
                  <c:v>2239.8820000000001</c:v>
                </c:pt>
                <c:pt idx="1195">
                  <c:v>2254.8200000000002</c:v>
                </c:pt>
                <c:pt idx="1196">
                  <c:v>2297.884</c:v>
                </c:pt>
                <c:pt idx="1197">
                  <c:v>2306.7739999999999</c:v>
                </c:pt>
                <c:pt idx="1198">
                  <c:v>2301.88</c:v>
                </c:pt>
                <c:pt idx="1199">
                  <c:v>2292.2060000000001</c:v>
                </c:pt>
                <c:pt idx="1200">
                  <c:v>2287.5050000000001</c:v>
                </c:pt>
                <c:pt idx="1201">
                  <c:v>2245.4050000000002</c:v>
                </c:pt>
                <c:pt idx="1202">
                  <c:v>2240.924</c:v>
                </c:pt>
                <c:pt idx="1203">
                  <c:v>2251.848</c:v>
                </c:pt>
                <c:pt idx="1204">
                  <c:v>2212.44</c:v>
                </c:pt>
                <c:pt idx="1205">
                  <c:v>2223.11</c:v>
                </c:pt>
                <c:pt idx="1206">
                  <c:v>2193.623</c:v>
                </c:pt>
                <c:pt idx="1207">
                  <c:v>2177.2399999999998</c:v>
                </c:pt>
                <c:pt idx="1208">
                  <c:v>2174.9850000000001</c:v>
                </c:pt>
                <c:pt idx="1209">
                  <c:v>2164.8809999999999</c:v>
                </c:pt>
                <c:pt idx="1210">
                  <c:v>2194.8960000000002</c:v>
                </c:pt>
                <c:pt idx="1211">
                  <c:v>2177.5459999999998</c:v>
                </c:pt>
                <c:pt idx="1212">
                  <c:v>2192.6759999999999</c:v>
                </c:pt>
                <c:pt idx="1213">
                  <c:v>2175.5990000000002</c:v>
                </c:pt>
                <c:pt idx="1214">
                  <c:v>2150.6379999999999</c:v>
                </c:pt>
                <c:pt idx="1215">
                  <c:v>2129.1610000000001</c:v>
                </c:pt>
                <c:pt idx="1216">
                  <c:v>2115.6759999999999</c:v>
                </c:pt>
                <c:pt idx="1217">
                  <c:v>2139.6610000000001</c:v>
                </c:pt>
                <c:pt idx="1218">
                  <c:v>2108.85</c:v>
                </c:pt>
                <c:pt idx="1219">
                  <c:v>2131.473</c:v>
                </c:pt>
                <c:pt idx="1220">
                  <c:v>2207.8780000000002</c:v>
                </c:pt>
                <c:pt idx="1221">
                  <c:v>2203.6019999999999</c:v>
                </c:pt>
                <c:pt idx="1222">
                  <c:v>2246.7570000000001</c:v>
                </c:pt>
                <c:pt idx="1223">
                  <c:v>2271.0459999999998</c:v>
                </c:pt>
                <c:pt idx="1224">
                  <c:v>2258.5</c:v>
                </c:pt>
                <c:pt idx="1225">
                  <c:v>2267.7669999999998</c:v>
                </c:pt>
                <c:pt idx="1226">
                  <c:v>2242.6350000000002</c:v>
                </c:pt>
                <c:pt idx="1227">
                  <c:v>2355.8649999999998</c:v>
                </c:pt>
                <c:pt idx="1228">
                  <c:v>2366.6999999999998</c:v>
                </c:pt>
                <c:pt idx="1229">
                  <c:v>2368.12</c:v>
                </c:pt>
                <c:pt idx="1230">
                  <c:v>2371.1089999999999</c:v>
                </c:pt>
                <c:pt idx="1231">
                  <c:v>2384.8159999999998</c:v>
                </c:pt>
                <c:pt idx="1232">
                  <c:v>2372.002</c:v>
                </c:pt>
                <c:pt idx="1233">
                  <c:v>2381.2170000000001</c:v>
                </c:pt>
                <c:pt idx="1234">
                  <c:v>2448.395</c:v>
                </c:pt>
                <c:pt idx="1235">
                  <c:v>2457.6190000000001</c:v>
                </c:pt>
                <c:pt idx="1236">
                  <c:v>2444.5940000000001</c:v>
                </c:pt>
                <c:pt idx="1237">
                  <c:v>2480.049</c:v>
                </c:pt>
                <c:pt idx="1238">
                  <c:v>2522.9520000000002</c:v>
                </c:pt>
                <c:pt idx="1239">
                  <c:v>2524.4090000000001</c:v>
                </c:pt>
                <c:pt idx="1240">
                  <c:v>2535.9850000000001</c:v>
                </c:pt>
                <c:pt idx="1241">
                  <c:v>2525.33</c:v>
                </c:pt>
                <c:pt idx="1242">
                  <c:v>2526.1260000000002</c:v>
                </c:pt>
                <c:pt idx="1243">
                  <c:v>2530.569</c:v>
                </c:pt>
                <c:pt idx="1244">
                  <c:v>2483.23</c:v>
                </c:pt>
                <c:pt idx="1245">
                  <c:v>2577.7249999999999</c:v>
                </c:pt>
                <c:pt idx="1246">
                  <c:v>2595.8560000000002</c:v>
                </c:pt>
                <c:pt idx="1247">
                  <c:v>2577.0920000000001</c:v>
                </c:pt>
                <c:pt idx="1248">
                  <c:v>2552.7579999999998</c:v>
                </c:pt>
                <c:pt idx="1249">
                  <c:v>2595.4389999999999</c:v>
                </c:pt>
                <c:pt idx="1250">
                  <c:v>2610.8980000000001</c:v>
                </c:pt>
                <c:pt idx="1251">
                  <c:v>2596.8980000000001</c:v>
                </c:pt>
                <c:pt idx="1252">
                  <c:v>2607.4560000000001</c:v>
                </c:pt>
                <c:pt idx="1253">
                  <c:v>2582.7550000000001</c:v>
                </c:pt>
                <c:pt idx="1254">
                  <c:v>2571.674</c:v>
                </c:pt>
                <c:pt idx="1255">
                  <c:v>2651.8629999999998</c:v>
                </c:pt>
                <c:pt idx="1256">
                  <c:v>2675.866</c:v>
                </c:pt>
                <c:pt idx="1257">
                  <c:v>2688.7109999999998</c:v>
                </c:pt>
                <c:pt idx="1258">
                  <c:v>2686.8820000000001</c:v>
                </c:pt>
                <c:pt idx="1259">
                  <c:v>2743.3240000000001</c:v>
                </c:pt>
                <c:pt idx="1260">
                  <c:v>2748.0279999999998</c:v>
                </c:pt>
                <c:pt idx="1261">
                  <c:v>2771.6750000000002</c:v>
                </c:pt>
                <c:pt idx="1262">
                  <c:v>2775.8440000000001</c:v>
                </c:pt>
                <c:pt idx="1263">
                  <c:v>2759.87</c:v>
                </c:pt>
                <c:pt idx="1264">
                  <c:v>2771.7249999999999</c:v>
                </c:pt>
                <c:pt idx="1265">
                  <c:v>2737.471</c:v>
                </c:pt>
                <c:pt idx="1266">
                  <c:v>2685.6060000000002</c:v>
                </c:pt>
                <c:pt idx="1267">
                  <c:v>2702.6350000000002</c:v>
                </c:pt>
                <c:pt idx="1268">
                  <c:v>2610.549</c:v>
                </c:pt>
                <c:pt idx="1269">
                  <c:v>2596.6039999999998</c:v>
                </c:pt>
                <c:pt idx="1270">
                  <c:v>2604.96</c:v>
                </c:pt>
                <c:pt idx="1271">
                  <c:v>2567.5949999999998</c:v>
                </c:pt>
                <c:pt idx="1272">
                  <c:v>2594.6770000000001</c:v>
                </c:pt>
                <c:pt idx="1273">
                  <c:v>2673.3270000000002</c:v>
                </c:pt>
                <c:pt idx="1274">
                  <c:v>2668.8359999999998</c:v>
                </c:pt>
                <c:pt idx="1275">
                  <c:v>2545.7150000000001</c:v>
                </c:pt>
                <c:pt idx="1276">
                  <c:v>2622.8069999999998</c:v>
                </c:pt>
                <c:pt idx="1277">
                  <c:v>2650.2020000000002</c:v>
                </c:pt>
                <c:pt idx="1278">
                  <c:v>2619.4789999999998</c:v>
                </c:pt>
                <c:pt idx="1279">
                  <c:v>2606.9270000000001</c:v>
                </c:pt>
                <c:pt idx="1280">
                  <c:v>2592.3719999999998</c:v>
                </c:pt>
                <c:pt idx="1281">
                  <c:v>2555.6149999999998</c:v>
                </c:pt>
                <c:pt idx="1282">
                  <c:v>2527.4859999999999</c:v>
                </c:pt>
                <c:pt idx="1283">
                  <c:v>2534.2730000000001</c:v>
                </c:pt>
                <c:pt idx="1284">
                  <c:v>2539.873</c:v>
                </c:pt>
                <c:pt idx="1285">
                  <c:v>2502.4929999999999</c:v>
                </c:pt>
                <c:pt idx="1286">
                  <c:v>2525.0970000000002</c:v>
                </c:pt>
                <c:pt idx="1287">
                  <c:v>2610.174</c:v>
                </c:pt>
                <c:pt idx="1288">
                  <c:v>2614.9879999999998</c:v>
                </c:pt>
                <c:pt idx="1289">
                  <c:v>2618.308</c:v>
                </c:pt>
                <c:pt idx="1290">
                  <c:v>2613.0970000000002</c:v>
                </c:pt>
                <c:pt idx="1291">
                  <c:v>2575.0500000000002</c:v>
                </c:pt>
                <c:pt idx="1292">
                  <c:v>2583.5300000000002</c:v>
                </c:pt>
                <c:pt idx="1293">
                  <c:v>2499.3020000000001</c:v>
                </c:pt>
                <c:pt idx="1294">
                  <c:v>2495.0830000000001</c:v>
                </c:pt>
                <c:pt idx="1295">
                  <c:v>2493.1869999999999</c:v>
                </c:pt>
                <c:pt idx="1296">
                  <c:v>2486.3910000000001</c:v>
                </c:pt>
                <c:pt idx="1297">
                  <c:v>2483.547</c:v>
                </c:pt>
                <c:pt idx="1298">
                  <c:v>2472.299</c:v>
                </c:pt>
                <c:pt idx="1299">
                  <c:v>2489.4299999999998</c:v>
                </c:pt>
                <c:pt idx="1300">
                  <c:v>2485.3090000000002</c:v>
                </c:pt>
                <c:pt idx="1301">
                  <c:v>2477.8760000000002</c:v>
                </c:pt>
                <c:pt idx="1302">
                  <c:v>2462.1120000000001</c:v>
                </c:pt>
                <c:pt idx="1303">
                  <c:v>2436.8180000000002</c:v>
                </c:pt>
                <c:pt idx="1304">
                  <c:v>2459.5920000000001</c:v>
                </c:pt>
                <c:pt idx="1305">
                  <c:v>2458.473</c:v>
                </c:pt>
                <c:pt idx="1306">
                  <c:v>2464.8510000000001</c:v>
                </c:pt>
                <c:pt idx="1307">
                  <c:v>2533.8270000000002</c:v>
                </c:pt>
                <c:pt idx="1308">
                  <c:v>2530.67</c:v>
                </c:pt>
                <c:pt idx="1309">
                  <c:v>2449.471</c:v>
                </c:pt>
                <c:pt idx="1310">
                  <c:v>2495.5790000000002</c:v>
                </c:pt>
                <c:pt idx="1311">
                  <c:v>2467.875</c:v>
                </c:pt>
                <c:pt idx="1312">
                  <c:v>2447.306</c:v>
                </c:pt>
                <c:pt idx="1313">
                  <c:v>2449.6390000000001</c:v>
                </c:pt>
                <c:pt idx="1314">
                  <c:v>2492.9119999999998</c:v>
                </c:pt>
                <c:pt idx="1315">
                  <c:v>2525.9830000000002</c:v>
                </c:pt>
                <c:pt idx="1316">
                  <c:v>2529.9380000000001</c:v>
                </c:pt>
                <c:pt idx="1317">
                  <c:v>2542.7979999999998</c:v>
                </c:pt>
                <c:pt idx="1318">
                  <c:v>2527.7939999999999</c:v>
                </c:pt>
                <c:pt idx="1319">
                  <c:v>2540.8359999999998</c:v>
                </c:pt>
                <c:pt idx="1320">
                  <c:v>2530.768</c:v>
                </c:pt>
                <c:pt idx="1321">
                  <c:v>2493.3380000000002</c:v>
                </c:pt>
                <c:pt idx="1322">
                  <c:v>2506.9250000000002</c:v>
                </c:pt>
                <c:pt idx="1323">
                  <c:v>2552.7089999999998</c:v>
                </c:pt>
                <c:pt idx="1324">
                  <c:v>2592.0479999999998</c:v>
                </c:pt>
                <c:pt idx="1325">
                  <c:v>2609.607</c:v>
                </c:pt>
                <c:pt idx="1326">
                  <c:v>2614.8530000000001</c:v>
                </c:pt>
                <c:pt idx="1327">
                  <c:v>2618.0340000000001</c:v>
                </c:pt>
                <c:pt idx="1328">
                  <c:v>2582.8490000000002</c:v>
                </c:pt>
                <c:pt idx="1329">
                  <c:v>2597.2280000000001</c:v>
                </c:pt>
                <c:pt idx="1330">
                  <c:v>2599.587</c:v>
                </c:pt>
                <c:pt idx="1331">
                  <c:v>2644.3589999999999</c:v>
                </c:pt>
                <c:pt idx="1332">
                  <c:v>2642.5610000000001</c:v>
                </c:pt>
                <c:pt idx="1333">
                  <c:v>2634.3229999999999</c:v>
                </c:pt>
                <c:pt idx="1334">
                  <c:v>2606.4259999999999</c:v>
                </c:pt>
                <c:pt idx="1335">
                  <c:v>2602.623</c:v>
                </c:pt>
                <c:pt idx="1336">
                  <c:v>2565.6660000000002</c:v>
                </c:pt>
                <c:pt idx="1337">
                  <c:v>2560.5390000000002</c:v>
                </c:pt>
                <c:pt idx="1338">
                  <c:v>2527.8449999999998</c:v>
                </c:pt>
                <c:pt idx="1339">
                  <c:v>2484.16</c:v>
                </c:pt>
                <c:pt idx="1340">
                  <c:v>2399.9369999999999</c:v>
                </c:pt>
                <c:pt idx="1341">
                  <c:v>2416.7710000000002</c:v>
                </c:pt>
                <c:pt idx="1342">
                  <c:v>2403.8389999999999</c:v>
                </c:pt>
                <c:pt idx="1343">
                  <c:v>2418.7449999999999</c:v>
                </c:pt>
                <c:pt idx="1344">
                  <c:v>2400.7649999999999</c:v>
                </c:pt>
                <c:pt idx="1345">
                  <c:v>2321.4659999999999</c:v>
                </c:pt>
                <c:pt idx="1346">
                  <c:v>2317.3939999999998</c:v>
                </c:pt>
                <c:pt idx="1347">
                  <c:v>2171.21</c:v>
                </c:pt>
                <c:pt idx="1348">
                  <c:v>2165.4209999999998</c:v>
                </c:pt>
                <c:pt idx="1349">
                  <c:v>2168.297</c:v>
                </c:pt>
                <c:pt idx="1350">
                  <c:v>2160.7350000000001</c:v>
                </c:pt>
                <c:pt idx="1351">
                  <c:v>2200.6390000000001</c:v>
                </c:pt>
                <c:pt idx="1352">
                  <c:v>2213.317</c:v>
                </c:pt>
                <c:pt idx="1353">
                  <c:v>2221.9839999999999</c:v>
                </c:pt>
                <c:pt idx="1354">
                  <c:v>2203.828</c:v>
                </c:pt>
                <c:pt idx="1355">
                  <c:v>2221.9789999999998</c:v>
                </c:pt>
                <c:pt idx="1356">
                  <c:v>2226.8490000000002</c:v>
                </c:pt>
                <c:pt idx="1357">
                  <c:v>2163.6190000000001</c:v>
                </c:pt>
                <c:pt idx="1358">
                  <c:v>2162.6689999999999</c:v>
                </c:pt>
                <c:pt idx="1359">
                  <c:v>2224.0650000000001</c:v>
                </c:pt>
                <c:pt idx="1360">
                  <c:v>2326.6880000000001</c:v>
                </c:pt>
                <c:pt idx="1361">
                  <c:v>2275.373</c:v>
                </c:pt>
                <c:pt idx="1362">
                  <c:v>2307.297</c:v>
                </c:pt>
                <c:pt idx="1363">
                  <c:v>2317.848</c:v>
                </c:pt>
                <c:pt idx="1364">
                  <c:v>2282.8359999999998</c:v>
                </c:pt>
                <c:pt idx="1365">
                  <c:v>2245.328</c:v>
                </c:pt>
                <c:pt idx="1366">
                  <c:v>2190.4780000000001</c:v>
                </c:pt>
                <c:pt idx="1367">
                  <c:v>2202.1889999999999</c:v>
                </c:pt>
                <c:pt idx="1368">
                  <c:v>2265.8449999999998</c:v>
                </c:pt>
                <c:pt idx="1369">
                  <c:v>2249.1509999999998</c:v>
                </c:pt>
                <c:pt idx="1370">
                  <c:v>2237.683</c:v>
                </c:pt>
                <c:pt idx="1371">
                  <c:v>2224.0079999999998</c:v>
                </c:pt>
                <c:pt idx="1372">
                  <c:v>2175.9699999999998</c:v>
                </c:pt>
                <c:pt idx="1373">
                  <c:v>2189.3879999999999</c:v>
                </c:pt>
                <c:pt idx="1374">
                  <c:v>2193.0210000000002</c:v>
                </c:pt>
                <c:pt idx="1375">
                  <c:v>2245.364</c:v>
                </c:pt>
                <c:pt idx="1376">
                  <c:v>2247.2629999999999</c:v>
                </c:pt>
                <c:pt idx="1377">
                  <c:v>2278.3290000000002</c:v>
                </c:pt>
                <c:pt idx="1378">
                  <c:v>2293.6410000000001</c:v>
                </c:pt>
                <c:pt idx="1379">
                  <c:v>2280.623</c:v>
                </c:pt>
                <c:pt idx="1380">
                  <c:v>2276.7820000000002</c:v>
                </c:pt>
                <c:pt idx="1381">
                  <c:v>2286.0100000000002</c:v>
                </c:pt>
                <c:pt idx="1382">
                  <c:v>2352.7939999999999</c:v>
                </c:pt>
                <c:pt idx="1383">
                  <c:v>2359.0680000000002</c:v>
                </c:pt>
                <c:pt idx="1384">
                  <c:v>2349.08</c:v>
                </c:pt>
                <c:pt idx="1385">
                  <c:v>2321.576</c:v>
                </c:pt>
                <c:pt idx="1386">
                  <c:v>2304.1439999999998</c:v>
                </c:pt>
                <c:pt idx="1387">
                  <c:v>2331.4299999999998</c:v>
                </c:pt>
                <c:pt idx="1388">
                  <c:v>2312.4650000000001</c:v>
                </c:pt>
                <c:pt idx="1389">
                  <c:v>2308.5889999999999</c:v>
                </c:pt>
                <c:pt idx="1390">
                  <c:v>2303.9319999999998</c:v>
                </c:pt>
                <c:pt idx="1391">
                  <c:v>2286.9290000000001</c:v>
                </c:pt>
                <c:pt idx="1392">
                  <c:v>2335.616</c:v>
                </c:pt>
                <c:pt idx="1393">
                  <c:v>2340.8809999999999</c:v>
                </c:pt>
                <c:pt idx="1394">
                  <c:v>2328.056</c:v>
                </c:pt>
                <c:pt idx="1395">
                  <c:v>2318.3110000000001</c:v>
                </c:pt>
                <c:pt idx="1396">
                  <c:v>2313.91</c:v>
                </c:pt>
                <c:pt idx="1397">
                  <c:v>2320.3440000000001</c:v>
                </c:pt>
                <c:pt idx="1398">
                  <c:v>2354.502</c:v>
                </c:pt>
                <c:pt idx="1399">
                  <c:v>2350.6990000000001</c:v>
                </c:pt>
                <c:pt idx="1400">
                  <c:v>2341.7350000000001</c:v>
                </c:pt>
                <c:pt idx="1401">
                  <c:v>2357.7820000000002</c:v>
                </c:pt>
                <c:pt idx="1402">
                  <c:v>2440.6089999999999</c:v>
                </c:pt>
                <c:pt idx="1403">
                  <c:v>2474.8939999999998</c:v>
                </c:pt>
                <c:pt idx="1404">
                  <c:v>2482.8890000000001</c:v>
                </c:pt>
                <c:pt idx="1405">
                  <c:v>2507.4549999999999</c:v>
                </c:pt>
                <c:pt idx="1406">
                  <c:v>2488.902</c:v>
                </c:pt>
                <c:pt idx="1407">
                  <c:v>2478.39</c:v>
                </c:pt>
                <c:pt idx="1408">
                  <c:v>2427.3220000000001</c:v>
                </c:pt>
                <c:pt idx="1409">
                  <c:v>2432.5100000000002</c:v>
                </c:pt>
                <c:pt idx="1410">
                  <c:v>2472.288</c:v>
                </c:pt>
                <c:pt idx="1411">
                  <c:v>2443.8850000000002</c:v>
                </c:pt>
                <c:pt idx="1412">
                  <c:v>2429.0300000000002</c:v>
                </c:pt>
                <c:pt idx="1413">
                  <c:v>2384.4430000000002</c:v>
                </c:pt>
                <c:pt idx="1414">
                  <c:v>2394.971</c:v>
                </c:pt>
                <c:pt idx="1415">
                  <c:v>2409.0369999999998</c:v>
                </c:pt>
                <c:pt idx="1416">
                  <c:v>2441.8110000000001</c:v>
                </c:pt>
                <c:pt idx="1417">
                  <c:v>2453.5830000000001</c:v>
                </c:pt>
                <c:pt idx="1418">
                  <c:v>2429.317</c:v>
                </c:pt>
                <c:pt idx="1419">
                  <c:v>2468.5079999999998</c:v>
                </c:pt>
                <c:pt idx="1420">
                  <c:v>2472.5419999999999</c:v>
                </c:pt>
                <c:pt idx="1421">
                  <c:v>2467.5169999999998</c:v>
                </c:pt>
                <c:pt idx="1422">
                  <c:v>2421.3710000000001</c:v>
                </c:pt>
                <c:pt idx="1423">
                  <c:v>2413.33</c:v>
                </c:pt>
                <c:pt idx="1424">
                  <c:v>2426.0540000000001</c:v>
                </c:pt>
                <c:pt idx="1425">
                  <c:v>2471.3220000000001</c:v>
                </c:pt>
                <c:pt idx="1426">
                  <c:v>2445.8910000000001</c:v>
                </c:pt>
                <c:pt idx="1427">
                  <c:v>2418.491</c:v>
                </c:pt>
                <c:pt idx="1428">
                  <c:v>2400.511</c:v>
                </c:pt>
                <c:pt idx="1429">
                  <c:v>2368.5590000000002</c:v>
                </c:pt>
                <c:pt idx="1430">
                  <c:v>2365.9540000000002</c:v>
                </c:pt>
                <c:pt idx="1431">
                  <c:v>2372.0529999999999</c:v>
                </c:pt>
                <c:pt idx="1432">
                  <c:v>2407.471</c:v>
                </c:pt>
                <c:pt idx="1433">
                  <c:v>2373.7179999999998</c:v>
                </c:pt>
                <c:pt idx="1434">
                  <c:v>2384.96</c:v>
                </c:pt>
                <c:pt idx="1435">
                  <c:v>2380.4540000000002</c:v>
                </c:pt>
                <c:pt idx="1436">
                  <c:v>2383.7689999999998</c:v>
                </c:pt>
                <c:pt idx="1437">
                  <c:v>2353.5680000000002</c:v>
                </c:pt>
                <c:pt idx="1438">
                  <c:v>2340.5520000000001</c:v>
                </c:pt>
                <c:pt idx="1439">
                  <c:v>2307.9450000000002</c:v>
                </c:pt>
                <c:pt idx="1440">
                  <c:v>2315.8890000000001</c:v>
                </c:pt>
                <c:pt idx="1441">
                  <c:v>2340</c:v>
                </c:pt>
                <c:pt idx="1442">
                  <c:v>2288.116</c:v>
                </c:pt>
                <c:pt idx="1443">
                  <c:v>2304.5010000000002</c:v>
                </c:pt>
                <c:pt idx="1444">
                  <c:v>2350.7339999999999</c:v>
                </c:pt>
                <c:pt idx="1445">
                  <c:v>2428.9029999999998</c:v>
                </c:pt>
                <c:pt idx="1446">
                  <c:v>2412.163</c:v>
                </c:pt>
                <c:pt idx="1447">
                  <c:v>2424.85</c:v>
                </c:pt>
                <c:pt idx="1448">
                  <c:v>2409.989</c:v>
                </c:pt>
                <c:pt idx="1449">
                  <c:v>2397.962</c:v>
                </c:pt>
                <c:pt idx="1450">
                  <c:v>2388.6289999999999</c:v>
                </c:pt>
                <c:pt idx="1451">
                  <c:v>2387.4160000000002</c:v>
                </c:pt>
                <c:pt idx="1452">
                  <c:v>2414.4810000000002</c:v>
                </c:pt>
                <c:pt idx="1453">
                  <c:v>2439.5300000000002</c:v>
                </c:pt>
                <c:pt idx="1454">
                  <c:v>2438.944</c:v>
                </c:pt>
                <c:pt idx="1455">
                  <c:v>2418.788</c:v>
                </c:pt>
                <c:pt idx="1456">
                  <c:v>2442.7840000000001</c:v>
                </c:pt>
                <c:pt idx="1457">
                  <c:v>2475.1350000000002</c:v>
                </c:pt>
                <c:pt idx="1458">
                  <c:v>2468.1970000000001</c:v>
                </c:pt>
                <c:pt idx="1459">
                  <c:v>2452.2869999999998</c:v>
                </c:pt>
                <c:pt idx="1460">
                  <c:v>2450.8719999999998</c:v>
                </c:pt>
                <c:pt idx="1461">
                  <c:v>2453.3220000000001</c:v>
                </c:pt>
                <c:pt idx="1462">
                  <c:v>2412.7629999999999</c:v>
                </c:pt>
                <c:pt idx="1463">
                  <c:v>2410.0149999999999</c:v>
                </c:pt>
                <c:pt idx="1464">
                  <c:v>2406.6390000000001</c:v>
                </c:pt>
                <c:pt idx="1465">
                  <c:v>2367.9229999999998</c:v>
                </c:pt>
                <c:pt idx="1466">
                  <c:v>2356.3760000000002</c:v>
                </c:pt>
                <c:pt idx="1467">
                  <c:v>2357.2260000000001</c:v>
                </c:pt>
                <c:pt idx="1468">
                  <c:v>2332.41</c:v>
                </c:pt>
                <c:pt idx="1469">
                  <c:v>2278.136</c:v>
                </c:pt>
                <c:pt idx="1470">
                  <c:v>2284.6019999999999</c:v>
                </c:pt>
                <c:pt idx="1471">
                  <c:v>2288.248</c:v>
                </c:pt>
                <c:pt idx="1472">
                  <c:v>2305.11</c:v>
                </c:pt>
                <c:pt idx="1473">
                  <c:v>2265.3339999999998</c:v>
                </c:pt>
                <c:pt idx="1474">
                  <c:v>2303.4780000000001</c:v>
                </c:pt>
                <c:pt idx="1475">
                  <c:v>2299.4580000000001</c:v>
                </c:pt>
                <c:pt idx="1476">
                  <c:v>2330.0259999999998</c:v>
                </c:pt>
                <c:pt idx="1477">
                  <c:v>2321.9780000000001</c:v>
                </c:pt>
                <c:pt idx="1478">
                  <c:v>2290.779</c:v>
                </c:pt>
                <c:pt idx="1479">
                  <c:v>2238.6370000000002</c:v>
                </c:pt>
                <c:pt idx="1480">
                  <c:v>2238.0010000000002</c:v>
                </c:pt>
                <c:pt idx="1481">
                  <c:v>2241.9110000000001</c:v>
                </c:pt>
                <c:pt idx="1482">
                  <c:v>2222.221</c:v>
                </c:pt>
                <c:pt idx="1483">
                  <c:v>2204.8510000000001</c:v>
                </c:pt>
                <c:pt idx="1484">
                  <c:v>2193.6790000000001</c:v>
                </c:pt>
                <c:pt idx="1485">
                  <c:v>2212.846</c:v>
                </c:pt>
                <c:pt idx="1486">
                  <c:v>2208.9409999999998</c:v>
                </c:pt>
                <c:pt idx="1487">
                  <c:v>2211.8440000000001</c:v>
                </c:pt>
                <c:pt idx="1488">
                  <c:v>2178.4879999999998</c:v>
                </c:pt>
                <c:pt idx="1489">
                  <c:v>2165.9929999999999</c:v>
                </c:pt>
                <c:pt idx="1490">
                  <c:v>2187.41</c:v>
                </c:pt>
                <c:pt idx="1491">
                  <c:v>2243.7959999999998</c:v>
                </c:pt>
                <c:pt idx="1492">
                  <c:v>2231.8890000000001</c:v>
                </c:pt>
                <c:pt idx="1493">
                  <c:v>2245.6779999999999</c:v>
                </c:pt>
                <c:pt idx="1494">
                  <c:v>2215.9189999999999</c:v>
                </c:pt>
                <c:pt idx="1495">
                  <c:v>2219.855</c:v>
                </c:pt>
                <c:pt idx="1496">
                  <c:v>2227.7809999999999</c:v>
                </c:pt>
                <c:pt idx="1497">
                  <c:v>2202.4499999999998</c:v>
                </c:pt>
                <c:pt idx="1498">
                  <c:v>2212.4830000000002</c:v>
                </c:pt>
                <c:pt idx="1499">
                  <c:v>2267.5340000000001</c:v>
                </c:pt>
                <c:pt idx="1500">
                  <c:v>2285.5619999999999</c:v>
                </c:pt>
                <c:pt idx="1501">
                  <c:v>2291.2460000000001</c:v>
                </c:pt>
                <c:pt idx="1502">
                  <c:v>2279.5540000000001</c:v>
                </c:pt>
                <c:pt idx="1503">
                  <c:v>2295.5749999999998</c:v>
                </c:pt>
                <c:pt idx="1504">
                  <c:v>2311.6469999999999</c:v>
                </c:pt>
                <c:pt idx="1505">
                  <c:v>2282.442</c:v>
                </c:pt>
                <c:pt idx="1506">
                  <c:v>2308.6559999999999</c:v>
                </c:pt>
                <c:pt idx="1507">
                  <c:v>2287.4360000000001</c:v>
                </c:pt>
                <c:pt idx="1508">
                  <c:v>2264.2939999999999</c:v>
                </c:pt>
                <c:pt idx="1509">
                  <c:v>2214.509</c:v>
                </c:pt>
                <c:pt idx="1510">
                  <c:v>2157.9090000000001</c:v>
                </c:pt>
                <c:pt idx="1511">
                  <c:v>2163.4050000000002</c:v>
                </c:pt>
                <c:pt idx="1512">
                  <c:v>2154.1080000000002</c:v>
                </c:pt>
                <c:pt idx="1513">
                  <c:v>2178.971</c:v>
                </c:pt>
                <c:pt idx="1514">
                  <c:v>2190.37</c:v>
                </c:pt>
                <c:pt idx="1515">
                  <c:v>2184.2730000000001</c:v>
                </c:pt>
                <c:pt idx="1516">
                  <c:v>2163.9760000000001</c:v>
                </c:pt>
                <c:pt idx="1517">
                  <c:v>2173.634</c:v>
                </c:pt>
                <c:pt idx="1518">
                  <c:v>2168.3580000000002</c:v>
                </c:pt>
                <c:pt idx="1519">
                  <c:v>2097.7869999999998</c:v>
                </c:pt>
                <c:pt idx="1520">
                  <c:v>2108.6610000000001</c:v>
                </c:pt>
                <c:pt idx="1521">
                  <c:v>2114.134</c:v>
                </c:pt>
                <c:pt idx="1522">
                  <c:v>2140.3330000000001</c:v>
                </c:pt>
                <c:pt idx="1523">
                  <c:v>2122.8359999999998</c:v>
                </c:pt>
                <c:pt idx="1524">
                  <c:v>2143.038</c:v>
                </c:pt>
                <c:pt idx="1525">
                  <c:v>2138.1329999999998</c:v>
                </c:pt>
                <c:pt idx="1526">
                  <c:v>2120.87</c:v>
                </c:pt>
                <c:pt idx="1527">
                  <c:v>2086.9670000000001</c:v>
                </c:pt>
                <c:pt idx="1528">
                  <c:v>2158.7979999999998</c:v>
                </c:pt>
                <c:pt idx="1529">
                  <c:v>2176.5540000000001</c:v>
                </c:pt>
                <c:pt idx="1530">
                  <c:v>2174.44</c:v>
                </c:pt>
                <c:pt idx="1531">
                  <c:v>2171.047</c:v>
                </c:pt>
                <c:pt idx="1532">
                  <c:v>2155.7069999999999</c:v>
                </c:pt>
                <c:pt idx="1533">
                  <c:v>2151.9650000000001</c:v>
                </c:pt>
                <c:pt idx="1534">
                  <c:v>2146.3049999999998</c:v>
                </c:pt>
                <c:pt idx="1535">
                  <c:v>2163.1149999999998</c:v>
                </c:pt>
                <c:pt idx="1536">
                  <c:v>2180.7269999999999</c:v>
                </c:pt>
                <c:pt idx="1537">
                  <c:v>2165.0079999999998</c:v>
                </c:pt>
                <c:pt idx="1538">
                  <c:v>2185.4720000000002</c:v>
                </c:pt>
                <c:pt idx="1539">
                  <c:v>2237.3159999999998</c:v>
                </c:pt>
                <c:pt idx="1540">
                  <c:v>2238.62</c:v>
                </c:pt>
                <c:pt idx="1541">
                  <c:v>2273.761</c:v>
                </c:pt>
                <c:pt idx="1542">
                  <c:v>2270.6660000000002</c:v>
                </c:pt>
                <c:pt idx="1543">
                  <c:v>2268.6129999999998</c:v>
                </c:pt>
                <c:pt idx="1544">
                  <c:v>2229.4630000000002</c:v>
                </c:pt>
                <c:pt idx="1545">
                  <c:v>2232.5259999999998</c:v>
                </c:pt>
                <c:pt idx="1546">
                  <c:v>2224.8029999999999</c:v>
                </c:pt>
                <c:pt idx="1547">
                  <c:v>2224.4789999999998</c:v>
                </c:pt>
                <c:pt idx="1548">
                  <c:v>2187.248</c:v>
                </c:pt>
                <c:pt idx="1549">
                  <c:v>2196.7950000000001</c:v>
                </c:pt>
                <c:pt idx="1550">
                  <c:v>2194.6680000000001</c:v>
                </c:pt>
                <c:pt idx="1551">
                  <c:v>2190.4740000000002</c:v>
                </c:pt>
                <c:pt idx="1552">
                  <c:v>2167.826</c:v>
                </c:pt>
                <c:pt idx="1553">
                  <c:v>2134.9690000000001</c:v>
                </c:pt>
                <c:pt idx="1554">
                  <c:v>2158.4699999999998</c:v>
                </c:pt>
                <c:pt idx="1555">
                  <c:v>2158.6590000000001</c:v>
                </c:pt>
                <c:pt idx="1556">
                  <c:v>2156.4699999999998</c:v>
                </c:pt>
                <c:pt idx="1557">
                  <c:v>2157.328</c:v>
                </c:pt>
                <c:pt idx="1558">
                  <c:v>2137.3159999999998</c:v>
                </c:pt>
                <c:pt idx="1559">
                  <c:v>2135.4960000000001</c:v>
                </c:pt>
                <c:pt idx="1560">
                  <c:v>2133.9110000000001</c:v>
                </c:pt>
                <c:pt idx="1561">
                  <c:v>2180.0540000000001</c:v>
                </c:pt>
                <c:pt idx="1562">
                  <c:v>2174.8519999999999</c:v>
                </c:pt>
                <c:pt idx="1563">
                  <c:v>2172.3719999999998</c:v>
                </c:pt>
                <c:pt idx="1564">
                  <c:v>2144.0839999999998</c:v>
                </c:pt>
                <c:pt idx="1565">
                  <c:v>2145.9520000000002</c:v>
                </c:pt>
                <c:pt idx="1566">
                  <c:v>2115.143</c:v>
                </c:pt>
                <c:pt idx="1567">
                  <c:v>2115.7710000000002</c:v>
                </c:pt>
                <c:pt idx="1568">
                  <c:v>2135.9050000000002</c:v>
                </c:pt>
                <c:pt idx="1569">
                  <c:v>2130.8679999999999</c:v>
                </c:pt>
                <c:pt idx="1570">
                  <c:v>2148.4140000000002</c:v>
                </c:pt>
                <c:pt idx="1571">
                  <c:v>2155.9760000000001</c:v>
                </c:pt>
                <c:pt idx="1572">
                  <c:v>2147.2800000000002</c:v>
                </c:pt>
                <c:pt idx="1573">
                  <c:v>2169.3519999999999</c:v>
                </c:pt>
                <c:pt idx="1574">
                  <c:v>2155.1640000000002</c:v>
                </c:pt>
                <c:pt idx="1575">
                  <c:v>2156.4639999999999</c:v>
                </c:pt>
                <c:pt idx="1576">
                  <c:v>2149.9180000000001</c:v>
                </c:pt>
                <c:pt idx="1577">
                  <c:v>2128.2739999999999</c:v>
                </c:pt>
                <c:pt idx="1578">
                  <c:v>2150.6019999999999</c:v>
                </c:pt>
                <c:pt idx="1579">
                  <c:v>2134.7159999999999</c:v>
                </c:pt>
                <c:pt idx="1580">
                  <c:v>2134.2809999999999</c:v>
                </c:pt>
                <c:pt idx="1581">
                  <c:v>2161.268</c:v>
                </c:pt>
                <c:pt idx="1582">
                  <c:v>2160.7660000000001</c:v>
                </c:pt>
                <c:pt idx="1583">
                  <c:v>2153.41</c:v>
                </c:pt>
                <c:pt idx="1584">
                  <c:v>2176.2420000000002</c:v>
                </c:pt>
                <c:pt idx="1585">
                  <c:v>2191.855</c:v>
                </c:pt>
                <c:pt idx="1586">
                  <c:v>2169.674</c:v>
                </c:pt>
                <c:pt idx="1587">
                  <c:v>2160.239</c:v>
                </c:pt>
                <c:pt idx="1588">
                  <c:v>2126.9070000000002</c:v>
                </c:pt>
                <c:pt idx="1589">
                  <c:v>2136.7289999999998</c:v>
                </c:pt>
                <c:pt idx="1590">
                  <c:v>2134.11</c:v>
                </c:pt>
                <c:pt idx="1591">
                  <c:v>2144.8209999999999</c:v>
                </c:pt>
                <c:pt idx="1592">
                  <c:v>2133.3710000000001</c:v>
                </c:pt>
                <c:pt idx="1593">
                  <c:v>2149.076</c:v>
                </c:pt>
                <c:pt idx="1594">
                  <c:v>2150.2579999999998</c:v>
                </c:pt>
                <c:pt idx="1595">
                  <c:v>2165.1179999999999</c:v>
                </c:pt>
                <c:pt idx="1596">
                  <c:v>2164.5590000000002</c:v>
                </c:pt>
                <c:pt idx="1597">
                  <c:v>2170.8670000000002</c:v>
                </c:pt>
                <c:pt idx="1598">
                  <c:v>2180.192</c:v>
                </c:pt>
                <c:pt idx="1599">
                  <c:v>2178.6950000000002</c:v>
                </c:pt>
                <c:pt idx="1600">
                  <c:v>2176.2890000000002</c:v>
                </c:pt>
                <c:pt idx="1601">
                  <c:v>2180.473</c:v>
                </c:pt>
                <c:pt idx="1602">
                  <c:v>2148.71</c:v>
                </c:pt>
                <c:pt idx="1603">
                  <c:v>2142.8470000000002</c:v>
                </c:pt>
                <c:pt idx="1604">
                  <c:v>2148.009</c:v>
                </c:pt>
                <c:pt idx="1605">
                  <c:v>2171.7579999999998</c:v>
                </c:pt>
                <c:pt idx="1606">
                  <c:v>2174.9760000000001</c:v>
                </c:pt>
                <c:pt idx="1607">
                  <c:v>2170.8679999999999</c:v>
                </c:pt>
                <c:pt idx="1608">
                  <c:v>2157.0680000000002</c:v>
                </c:pt>
                <c:pt idx="1609">
                  <c:v>2164.1439999999998</c:v>
                </c:pt>
                <c:pt idx="1610">
                  <c:v>2166.2950000000001</c:v>
                </c:pt>
                <c:pt idx="1611">
                  <c:v>2192.6979999999999</c:v>
                </c:pt>
                <c:pt idx="1612">
                  <c:v>2197.8330000000001</c:v>
                </c:pt>
                <c:pt idx="1613">
                  <c:v>2237.0149999999999</c:v>
                </c:pt>
                <c:pt idx="1614">
                  <c:v>2260.4540000000002</c:v>
                </c:pt>
                <c:pt idx="1615">
                  <c:v>2323.8969999999999</c:v>
                </c:pt>
                <c:pt idx="1616">
                  <c:v>2331.3690000000001</c:v>
                </c:pt>
                <c:pt idx="1617">
                  <c:v>2322.011</c:v>
                </c:pt>
                <c:pt idx="1618">
                  <c:v>2350.2510000000002</c:v>
                </c:pt>
                <c:pt idx="1619">
                  <c:v>2329.402</c:v>
                </c:pt>
                <c:pt idx="1620">
                  <c:v>2375.62</c:v>
                </c:pt>
                <c:pt idx="1621">
                  <c:v>2369.3530000000001</c:v>
                </c:pt>
                <c:pt idx="1622">
                  <c:v>2363.221</c:v>
                </c:pt>
                <c:pt idx="1623">
                  <c:v>2327.4569999999999</c:v>
                </c:pt>
                <c:pt idx="1624">
                  <c:v>2331.134</c:v>
                </c:pt>
                <c:pt idx="1625">
                  <c:v>2365.3490000000002</c:v>
                </c:pt>
                <c:pt idx="1626">
                  <c:v>2357.0520000000001</c:v>
                </c:pt>
                <c:pt idx="1627">
                  <c:v>2358.9009999999998</c:v>
                </c:pt>
                <c:pt idx="1628">
                  <c:v>2335.9450000000002</c:v>
                </c:pt>
                <c:pt idx="1629">
                  <c:v>2360.6350000000002</c:v>
                </c:pt>
                <c:pt idx="1630">
                  <c:v>2374.5619999999999</c:v>
                </c:pt>
                <c:pt idx="1631">
                  <c:v>2374.768</c:v>
                </c:pt>
                <c:pt idx="1632">
                  <c:v>2366.14</c:v>
                </c:pt>
                <c:pt idx="1633">
                  <c:v>2354.2440000000001</c:v>
                </c:pt>
                <c:pt idx="1634">
                  <c:v>2365.364</c:v>
                </c:pt>
                <c:pt idx="1635">
                  <c:v>2342.8629999999998</c:v>
                </c:pt>
                <c:pt idx="1636">
                  <c:v>2324.0920000000001</c:v>
                </c:pt>
                <c:pt idx="1637">
                  <c:v>2327.5949999999998</c:v>
                </c:pt>
                <c:pt idx="1638">
                  <c:v>2311.2779999999998</c:v>
                </c:pt>
                <c:pt idx="1639">
                  <c:v>2338.2869999999998</c:v>
                </c:pt>
                <c:pt idx="1640">
                  <c:v>2355.317</c:v>
                </c:pt>
                <c:pt idx="1641">
                  <c:v>2386.46</c:v>
                </c:pt>
                <c:pt idx="1642">
                  <c:v>2408.8380000000002</c:v>
                </c:pt>
                <c:pt idx="1643">
                  <c:v>2426.2240000000002</c:v>
                </c:pt>
                <c:pt idx="1644">
                  <c:v>2449.259</c:v>
                </c:pt>
                <c:pt idx="1645">
                  <c:v>2445.2240000000002</c:v>
                </c:pt>
                <c:pt idx="1646">
                  <c:v>2432.433</c:v>
                </c:pt>
                <c:pt idx="1647">
                  <c:v>2423.4540000000002</c:v>
                </c:pt>
                <c:pt idx="1648">
                  <c:v>2438.3580000000002</c:v>
                </c:pt>
                <c:pt idx="1649">
                  <c:v>2437.1889999999999</c:v>
                </c:pt>
                <c:pt idx="1650">
                  <c:v>2388.7649999999999</c:v>
                </c:pt>
                <c:pt idx="1651">
                  <c:v>2401.326</c:v>
                </c:pt>
                <c:pt idx="1652">
                  <c:v>2408.6640000000002</c:v>
                </c:pt>
                <c:pt idx="1653">
                  <c:v>2425.2109999999998</c:v>
                </c:pt>
                <c:pt idx="1654">
                  <c:v>2378.92</c:v>
                </c:pt>
                <c:pt idx="1655">
                  <c:v>2399.462</c:v>
                </c:pt>
                <c:pt idx="1656">
                  <c:v>2441.864</c:v>
                </c:pt>
                <c:pt idx="1657">
                  <c:v>2436.9650000000001</c:v>
                </c:pt>
                <c:pt idx="1658">
                  <c:v>2437.201</c:v>
                </c:pt>
                <c:pt idx="1659">
                  <c:v>2447.799</c:v>
                </c:pt>
                <c:pt idx="1660">
                  <c:v>2450.9879999999998</c:v>
                </c:pt>
                <c:pt idx="1661">
                  <c:v>2478.3829999999998</c:v>
                </c:pt>
                <c:pt idx="1662">
                  <c:v>2481.9549999999999</c:v>
                </c:pt>
                <c:pt idx="1663">
                  <c:v>2466.7890000000002</c:v>
                </c:pt>
                <c:pt idx="1664">
                  <c:v>2454.9459999999999</c:v>
                </c:pt>
                <c:pt idx="1665">
                  <c:v>2446.5619999999999</c:v>
                </c:pt>
                <c:pt idx="1666">
                  <c:v>2463.8739999999998</c:v>
                </c:pt>
                <c:pt idx="1667">
                  <c:v>2444.395</c:v>
                </c:pt>
                <c:pt idx="1668">
                  <c:v>2441.732</c:v>
                </c:pt>
                <c:pt idx="1669">
                  <c:v>2454.7109999999998</c:v>
                </c:pt>
                <c:pt idx="1670">
                  <c:v>2433.3910000000001</c:v>
                </c:pt>
                <c:pt idx="1671">
                  <c:v>2418.6410000000001</c:v>
                </c:pt>
                <c:pt idx="1672">
                  <c:v>2395.9360000000001</c:v>
                </c:pt>
                <c:pt idx="1673">
                  <c:v>2390.7060000000001</c:v>
                </c:pt>
                <c:pt idx="1674">
                  <c:v>2368.8319999999999</c:v>
                </c:pt>
                <c:pt idx="1675">
                  <c:v>2416.6529999999998</c:v>
                </c:pt>
                <c:pt idx="1676">
                  <c:v>2451.384</c:v>
                </c:pt>
                <c:pt idx="1677">
                  <c:v>2468.9250000000002</c:v>
                </c:pt>
                <c:pt idx="1678">
                  <c:v>2508.3249999999998</c:v>
                </c:pt>
                <c:pt idx="1679">
                  <c:v>2512.5479999999998</c:v>
                </c:pt>
                <c:pt idx="1680">
                  <c:v>2513.172</c:v>
                </c:pt>
                <c:pt idx="1681">
                  <c:v>2503.4479999999999</c:v>
                </c:pt>
                <c:pt idx="1682">
                  <c:v>2506.067</c:v>
                </c:pt>
                <c:pt idx="1683">
                  <c:v>2502.1529999999998</c:v>
                </c:pt>
                <c:pt idx="1684">
                  <c:v>2565.73</c:v>
                </c:pt>
                <c:pt idx="1685">
                  <c:v>2558.6120000000001</c:v>
                </c:pt>
                <c:pt idx="1686">
                  <c:v>2594.3180000000002</c:v>
                </c:pt>
                <c:pt idx="1687">
                  <c:v>2579.75</c:v>
                </c:pt>
                <c:pt idx="1688">
                  <c:v>2581.0929999999998</c:v>
                </c:pt>
                <c:pt idx="1689">
                  <c:v>2567.1010000000001</c:v>
                </c:pt>
                <c:pt idx="1690">
                  <c:v>2541.4160000000002</c:v>
                </c:pt>
                <c:pt idx="1691">
                  <c:v>2537.223</c:v>
                </c:pt>
                <c:pt idx="1692">
                  <c:v>2537.0990000000002</c:v>
                </c:pt>
                <c:pt idx="1693">
                  <c:v>2583.4549999999999</c:v>
                </c:pt>
                <c:pt idx="1694">
                  <c:v>2649.2579999999998</c:v>
                </c:pt>
                <c:pt idx="1695">
                  <c:v>2685.5610000000001</c:v>
                </c:pt>
                <c:pt idx="1696">
                  <c:v>2723.018</c:v>
                </c:pt>
                <c:pt idx="1697">
                  <c:v>2754.49</c:v>
                </c:pt>
                <c:pt idx="1698">
                  <c:v>2808.819</c:v>
                </c:pt>
                <c:pt idx="1699">
                  <c:v>2819.8119999999999</c:v>
                </c:pt>
                <c:pt idx="1700">
                  <c:v>2923.94</c:v>
                </c:pt>
                <c:pt idx="1701">
                  <c:v>2967.549</c:v>
                </c:pt>
                <c:pt idx="1702">
                  <c:v>3104.3510000000001</c:v>
                </c:pt>
                <c:pt idx="1703">
                  <c:v>3124.8850000000002</c:v>
                </c:pt>
                <c:pt idx="1704">
                  <c:v>3252.8809999999999</c:v>
                </c:pt>
                <c:pt idx="1705">
                  <c:v>3106.913</c:v>
                </c:pt>
                <c:pt idx="1706">
                  <c:v>3221.5459999999998</c:v>
                </c:pt>
                <c:pt idx="1707">
                  <c:v>3183.0120000000002</c:v>
                </c:pt>
                <c:pt idx="1708">
                  <c:v>3193.2269999999999</c:v>
                </c:pt>
                <c:pt idx="1709">
                  <c:v>3217.2280000000001</c:v>
                </c:pt>
                <c:pt idx="1710">
                  <c:v>3303.402</c:v>
                </c:pt>
                <c:pt idx="1711">
                  <c:v>3360.598</c:v>
                </c:pt>
                <c:pt idx="1712">
                  <c:v>3345.9270000000001</c:v>
                </c:pt>
                <c:pt idx="1713">
                  <c:v>3383.1669999999999</c:v>
                </c:pt>
                <c:pt idx="1714">
                  <c:v>3394.4810000000002</c:v>
                </c:pt>
                <c:pt idx="1715">
                  <c:v>3324.924</c:v>
                </c:pt>
                <c:pt idx="1716">
                  <c:v>3230.3850000000002</c:v>
                </c:pt>
                <c:pt idx="1717">
                  <c:v>3335.4189999999999</c:v>
                </c:pt>
                <c:pt idx="1718">
                  <c:v>3445.8389999999999</c:v>
                </c:pt>
                <c:pt idx="1719">
                  <c:v>3455.4549999999999</c:v>
                </c:pt>
                <c:pt idx="1720">
                  <c:v>3457.5540000000001</c:v>
                </c:pt>
                <c:pt idx="1721">
                  <c:v>3533.7049999999999</c:v>
                </c:pt>
                <c:pt idx="1722">
                  <c:v>3641.5410000000002</c:v>
                </c:pt>
                <c:pt idx="1723">
                  <c:v>3641.0590000000002</c:v>
                </c:pt>
                <c:pt idx="1724">
                  <c:v>3643.79</c:v>
                </c:pt>
                <c:pt idx="1725">
                  <c:v>3559.259</c:v>
                </c:pt>
                <c:pt idx="1726">
                  <c:v>3546.723</c:v>
                </c:pt>
                <c:pt idx="1727">
                  <c:v>3513.576</c:v>
                </c:pt>
                <c:pt idx="1728">
                  <c:v>3514.04</c:v>
                </c:pt>
                <c:pt idx="1729">
                  <c:v>3502.4229999999998</c:v>
                </c:pt>
                <c:pt idx="1730">
                  <c:v>3604.1210000000001</c:v>
                </c:pt>
                <c:pt idx="1731">
                  <c:v>3635.1460000000002</c:v>
                </c:pt>
                <c:pt idx="1732">
                  <c:v>3355.1550000000002</c:v>
                </c:pt>
                <c:pt idx="1733">
                  <c:v>3396.2220000000002</c:v>
                </c:pt>
                <c:pt idx="1734">
                  <c:v>3548.8850000000002</c:v>
                </c:pt>
                <c:pt idx="1735">
                  <c:v>3567.6129999999998</c:v>
                </c:pt>
                <c:pt idx="1736">
                  <c:v>3571.732</c:v>
                </c:pt>
                <c:pt idx="1737">
                  <c:v>3607.9850000000001</c:v>
                </c:pt>
                <c:pt idx="1738">
                  <c:v>3574.931</c:v>
                </c:pt>
                <c:pt idx="1739">
                  <c:v>3525.3229999999999</c:v>
                </c:pt>
                <c:pt idx="1740">
                  <c:v>3481.7979999999998</c:v>
                </c:pt>
                <c:pt idx="1741">
                  <c:v>3434.39</c:v>
                </c:pt>
                <c:pt idx="1742">
                  <c:v>3353.96</c:v>
                </c:pt>
                <c:pt idx="1743">
                  <c:v>3437.4450000000002</c:v>
                </c:pt>
                <c:pt idx="1744">
                  <c:v>3401.768</c:v>
                </c:pt>
                <c:pt idx="1745">
                  <c:v>3366.9459999999999</c:v>
                </c:pt>
                <c:pt idx="1746">
                  <c:v>3312.42</c:v>
                </c:pt>
                <c:pt idx="1747">
                  <c:v>3345.9209999999998</c:v>
                </c:pt>
                <c:pt idx="1748">
                  <c:v>3406.9430000000002</c:v>
                </c:pt>
                <c:pt idx="1749">
                  <c:v>3434.1239999999998</c:v>
                </c:pt>
                <c:pt idx="1750">
                  <c:v>3442.8739999999998</c:v>
                </c:pt>
                <c:pt idx="1751">
                  <c:v>3469.828</c:v>
                </c:pt>
                <c:pt idx="1752">
                  <c:v>3499.4830000000002</c:v>
                </c:pt>
                <c:pt idx="1753">
                  <c:v>3522.3220000000001</c:v>
                </c:pt>
                <c:pt idx="1754">
                  <c:v>3478.7289999999998</c:v>
                </c:pt>
                <c:pt idx="1755">
                  <c:v>3566.2950000000001</c:v>
                </c:pt>
                <c:pt idx="1756">
                  <c:v>3572.8429999999998</c:v>
                </c:pt>
                <c:pt idx="1757">
                  <c:v>3601.2649999999999</c:v>
                </c:pt>
                <c:pt idx="1758">
                  <c:v>3507.9</c:v>
                </c:pt>
                <c:pt idx="1759">
                  <c:v>3530.8220000000001</c:v>
                </c:pt>
                <c:pt idx="1760">
                  <c:v>3496.3440000000001</c:v>
                </c:pt>
                <c:pt idx="1761">
                  <c:v>3478.52</c:v>
                </c:pt>
                <c:pt idx="1762">
                  <c:v>3537.75</c:v>
                </c:pt>
                <c:pt idx="1763">
                  <c:v>3520.6109999999999</c:v>
                </c:pt>
                <c:pt idx="1764">
                  <c:v>3524.6529999999998</c:v>
                </c:pt>
                <c:pt idx="1765">
                  <c:v>3592.8440000000001</c:v>
                </c:pt>
                <c:pt idx="1766">
                  <c:v>3617.6570000000002</c:v>
                </c:pt>
                <c:pt idx="1767">
                  <c:v>3705.6709999999998</c:v>
                </c:pt>
                <c:pt idx="1768">
                  <c:v>3757.1219999999998</c:v>
                </c:pt>
                <c:pt idx="1769">
                  <c:v>3846.0549999999998</c:v>
                </c:pt>
                <c:pt idx="1770">
                  <c:v>3839.739</c:v>
                </c:pt>
                <c:pt idx="1771">
                  <c:v>3892.5740000000001</c:v>
                </c:pt>
                <c:pt idx="1772">
                  <c:v>3972.0610000000001</c:v>
                </c:pt>
                <c:pt idx="1773">
                  <c:v>3973.0459999999998</c:v>
                </c:pt>
                <c:pt idx="1774">
                  <c:v>3940.4119999999998</c:v>
                </c:pt>
                <c:pt idx="1775">
                  <c:v>3949.9989999999998</c:v>
                </c:pt>
                <c:pt idx="1776">
                  <c:v>3971.6970000000001</c:v>
                </c:pt>
                <c:pt idx="1777">
                  <c:v>4088.1779999999999</c:v>
                </c:pt>
                <c:pt idx="1778">
                  <c:v>4051.2040000000002</c:v>
                </c:pt>
                <c:pt idx="1779">
                  <c:v>4123.8950000000004</c:v>
                </c:pt>
                <c:pt idx="1780">
                  <c:v>4124.7759999999998</c:v>
                </c:pt>
                <c:pt idx="1781">
                  <c:v>4170.5379999999996</c:v>
                </c:pt>
                <c:pt idx="1782">
                  <c:v>4260.0439999999999</c:v>
                </c:pt>
                <c:pt idx="1783">
                  <c:v>4295.8029999999999</c:v>
                </c:pt>
                <c:pt idx="1784">
                  <c:v>4262.1379999999999</c:v>
                </c:pt>
                <c:pt idx="1785">
                  <c:v>4344.4160000000002</c:v>
                </c:pt>
                <c:pt idx="1786">
                  <c:v>4421.0730000000003</c:v>
                </c:pt>
                <c:pt idx="1787">
                  <c:v>4438.1840000000002</c:v>
                </c:pt>
                <c:pt idx="1788">
                  <c:v>4380.5129999999999</c:v>
                </c:pt>
                <c:pt idx="1789">
                  <c:v>4513.5460000000003</c:v>
                </c:pt>
                <c:pt idx="1790">
                  <c:v>4596.1360000000004</c:v>
                </c:pt>
                <c:pt idx="1791">
                  <c:v>4521.9189999999999</c:v>
                </c:pt>
                <c:pt idx="1792">
                  <c:v>4619.1639999999998</c:v>
                </c:pt>
                <c:pt idx="1793">
                  <c:v>4739.8140000000003</c:v>
                </c:pt>
                <c:pt idx="1794">
                  <c:v>4740.8919999999998</c:v>
                </c:pt>
                <c:pt idx="1795">
                  <c:v>4702.6409999999996</c:v>
                </c:pt>
                <c:pt idx="1796">
                  <c:v>4807.5919999999996</c:v>
                </c:pt>
                <c:pt idx="1797">
                  <c:v>4741.8609999999999</c:v>
                </c:pt>
                <c:pt idx="1798">
                  <c:v>4774.326</c:v>
                </c:pt>
                <c:pt idx="1799">
                  <c:v>4749.8860000000004</c:v>
                </c:pt>
                <c:pt idx="1800">
                  <c:v>4787.741</c:v>
                </c:pt>
                <c:pt idx="1801">
                  <c:v>4596.8370000000004</c:v>
                </c:pt>
                <c:pt idx="1802">
                  <c:v>4553.3270000000002</c:v>
                </c:pt>
                <c:pt idx="1803">
                  <c:v>4470.0889999999999</c:v>
                </c:pt>
                <c:pt idx="1804">
                  <c:v>4558.4040000000005</c:v>
                </c:pt>
                <c:pt idx="1805">
                  <c:v>4690.5320000000002</c:v>
                </c:pt>
                <c:pt idx="1806">
                  <c:v>4747.4210000000003</c:v>
                </c:pt>
                <c:pt idx="1807">
                  <c:v>4718.4359999999997</c:v>
                </c:pt>
                <c:pt idx="1808">
                  <c:v>4700.7780000000002</c:v>
                </c:pt>
                <c:pt idx="1809">
                  <c:v>4617.47</c:v>
                </c:pt>
                <c:pt idx="1810">
                  <c:v>4575.1400000000003</c:v>
                </c:pt>
                <c:pt idx="1811">
                  <c:v>4731.2219999999998</c:v>
                </c:pt>
                <c:pt idx="1812">
                  <c:v>4754.9189999999999</c:v>
                </c:pt>
                <c:pt idx="1813">
                  <c:v>4840.9759999999997</c:v>
                </c:pt>
                <c:pt idx="1814">
                  <c:v>4951.335</c:v>
                </c:pt>
                <c:pt idx="1815">
                  <c:v>5099.4949999999999</c:v>
                </c:pt>
                <c:pt idx="1816">
                  <c:v>5198.9179999999997</c:v>
                </c:pt>
                <c:pt idx="1817">
                  <c:v>5181.4340000000002</c:v>
                </c:pt>
                <c:pt idx="1818">
                  <c:v>4834.0069999999996</c:v>
                </c:pt>
                <c:pt idx="1819">
                  <c:v>4840.8289999999997</c:v>
                </c:pt>
                <c:pt idx="1820">
                  <c:v>5076.1790000000001</c:v>
                </c:pt>
                <c:pt idx="1821">
                  <c:v>5161.87</c:v>
                </c:pt>
                <c:pt idx="1822">
                  <c:v>5143.59</c:v>
                </c:pt>
                <c:pt idx="1823">
                  <c:v>5181.4160000000002</c:v>
                </c:pt>
                <c:pt idx="1824">
                  <c:v>5230.5519999999997</c:v>
                </c:pt>
                <c:pt idx="1825">
                  <c:v>5353.7510000000002</c:v>
                </c:pt>
                <c:pt idx="1826">
                  <c:v>5317.4610000000002</c:v>
                </c:pt>
                <c:pt idx="1827">
                  <c:v>5309.1120000000001</c:v>
                </c:pt>
                <c:pt idx="1828">
                  <c:v>5306.59</c:v>
                </c:pt>
                <c:pt idx="1829">
                  <c:v>5335.1151</c:v>
                </c:pt>
                <c:pt idx="1830">
                  <c:v>5221.1665000000003</c:v>
                </c:pt>
                <c:pt idx="1831">
                  <c:v>5064.8212000000003</c:v>
                </c:pt>
                <c:pt idx="1832">
                  <c:v>5138.8307000000004</c:v>
                </c:pt>
                <c:pt idx="1833">
                  <c:v>4930.5491000000002</c:v>
                </c:pt>
                <c:pt idx="1834">
                  <c:v>4637.0517</c:v>
                </c:pt>
                <c:pt idx="1835">
                  <c:v>4786.0906000000004</c:v>
                </c:pt>
                <c:pt idx="1836">
                  <c:v>4880.1261000000004</c:v>
                </c:pt>
                <c:pt idx="1837">
                  <c:v>4706.5159000000003</c:v>
                </c:pt>
                <c:pt idx="1838">
                  <c:v>4336.1947</c:v>
                </c:pt>
                <c:pt idx="1839">
                  <c:v>4191.5486000000001</c:v>
                </c:pt>
                <c:pt idx="1840">
                  <c:v>4472.9975999999997</c:v>
                </c:pt>
                <c:pt idx="1841">
                  <c:v>4253.0209999999997</c:v>
                </c:pt>
                <c:pt idx="1842">
                  <c:v>4107.9961000000003</c:v>
                </c:pt>
                <c:pt idx="1843">
                  <c:v>3885.9169000000002</c:v>
                </c:pt>
                <c:pt idx="1844">
                  <c:v>3998.5369999999998</c:v>
                </c:pt>
                <c:pt idx="1845">
                  <c:v>3928.0025000000001</c:v>
                </c:pt>
                <c:pt idx="1846">
                  <c:v>3663.0374999999999</c:v>
                </c:pt>
                <c:pt idx="1847">
                  <c:v>3897.6262999999999</c:v>
                </c:pt>
                <c:pt idx="1848">
                  <c:v>4106.5560999999998</c:v>
                </c:pt>
                <c:pt idx="1849">
                  <c:v>4211.8116</c:v>
                </c:pt>
                <c:pt idx="1850">
                  <c:v>4112.1487999999999</c:v>
                </c:pt>
                <c:pt idx="1851">
                  <c:v>3966.7584999999999</c:v>
                </c:pt>
                <c:pt idx="1852">
                  <c:v>3997.3555000000001</c:v>
                </c:pt>
                <c:pt idx="1853">
                  <c:v>4151.4956000000002</c:v>
                </c:pt>
                <c:pt idx="1854">
                  <c:v>4160.6120000000001</c:v>
                </c:pt>
                <c:pt idx="1855">
                  <c:v>4166.0056999999997</c:v>
                </c:pt>
                <c:pt idx="1856">
                  <c:v>4157.1603999999998</c:v>
                </c:pt>
                <c:pt idx="1857">
                  <c:v>4250.8050000000003</c:v>
                </c:pt>
                <c:pt idx="1858">
                  <c:v>4176.2786999999998</c:v>
                </c:pt>
                <c:pt idx="1859">
                  <c:v>3818.7314000000001</c:v>
                </c:pt>
                <c:pt idx="1860">
                  <c:v>3811.0925999999999</c:v>
                </c:pt>
                <c:pt idx="1861">
                  <c:v>3930.3791000000001</c:v>
                </c:pt>
                <c:pt idx="1862">
                  <c:v>3815.4117999999999</c:v>
                </c:pt>
                <c:pt idx="1863">
                  <c:v>3816.6993000000002</c:v>
                </c:pt>
                <c:pt idx="1864">
                  <c:v>3829.2354</c:v>
                </c:pt>
                <c:pt idx="1865">
                  <c:v>3948.1554000000001</c:v>
                </c:pt>
                <c:pt idx="1866">
                  <c:v>3866.8998000000001</c:v>
                </c:pt>
                <c:pt idx="1867">
                  <c:v>3831.8516</c:v>
                </c:pt>
                <c:pt idx="1868">
                  <c:v>3906.9448000000002</c:v>
                </c:pt>
                <c:pt idx="1869">
                  <c:v>4084.3645999999999</c:v>
                </c:pt>
                <c:pt idx="1870">
                  <c:v>4066.6691999999998</c:v>
                </c:pt>
                <c:pt idx="1871">
                  <c:v>4016.1262000000002</c:v>
                </c:pt>
                <c:pt idx="1872">
                  <c:v>4075.4630000000002</c:v>
                </c:pt>
                <c:pt idx="1873">
                  <c:v>4073.54</c:v>
                </c:pt>
                <c:pt idx="1874">
                  <c:v>4077.8721</c:v>
                </c:pt>
                <c:pt idx="1875">
                  <c:v>3825.4122000000002</c:v>
                </c:pt>
                <c:pt idx="1876">
                  <c:v>3886.1356999999998</c:v>
                </c:pt>
                <c:pt idx="1877">
                  <c:v>3761.4540999999999</c:v>
                </c:pt>
                <c:pt idx="1878">
                  <c:v>3589.5358000000001</c:v>
                </c:pt>
                <c:pt idx="1879">
                  <c:v>3275.5342000000001</c:v>
                </c:pt>
                <c:pt idx="1880">
                  <c:v>3042.9265999999998</c:v>
                </c:pt>
                <c:pt idx="1881">
                  <c:v>3025.692</c:v>
                </c:pt>
                <c:pt idx="1882">
                  <c:v>3205.6374999999998</c:v>
                </c:pt>
                <c:pt idx="1883">
                  <c:v>3342.2863000000002</c:v>
                </c:pt>
                <c:pt idx="1884">
                  <c:v>3366.5358999999999</c:v>
                </c:pt>
                <c:pt idx="1885">
                  <c:v>3362.0826999999999</c:v>
                </c:pt>
                <c:pt idx="1886">
                  <c:v>3365.8317999999999</c:v>
                </c:pt>
                <c:pt idx="1887">
                  <c:v>3250.4850000000001</c:v>
                </c:pt>
                <c:pt idx="1888">
                  <c:v>3334.0232999999998</c:v>
                </c:pt>
                <c:pt idx="1889">
                  <c:v>3399.3054000000002</c:v>
                </c:pt>
                <c:pt idx="1890">
                  <c:v>3357.5610000000001</c:v>
                </c:pt>
                <c:pt idx="1891">
                  <c:v>3347.1878000000002</c:v>
                </c:pt>
                <c:pt idx="1892">
                  <c:v>3281.1316999999999</c:v>
                </c:pt>
                <c:pt idx="1893">
                  <c:v>3152.2319000000002</c:v>
                </c:pt>
                <c:pt idx="1894">
                  <c:v>3309.2483999999999</c:v>
                </c:pt>
                <c:pt idx="1895">
                  <c:v>3236.9985999999999</c:v>
                </c:pt>
                <c:pt idx="1896">
                  <c:v>3251.2732000000001</c:v>
                </c:pt>
                <c:pt idx="1897">
                  <c:v>3308.2467000000001</c:v>
                </c:pt>
                <c:pt idx="1898">
                  <c:v>3339.03</c:v>
                </c:pt>
                <c:pt idx="1899">
                  <c:v>3263.0275000000001</c:v>
                </c:pt>
                <c:pt idx="1900">
                  <c:v>3284.9991</c:v>
                </c:pt>
                <c:pt idx="1901">
                  <c:v>3231.9513999999999</c:v>
                </c:pt>
                <c:pt idx="1902">
                  <c:v>3242.7523999999999</c:v>
                </c:pt>
                <c:pt idx="1903">
                  <c:v>3178.8544000000002</c:v>
                </c:pt>
                <c:pt idx="1904">
                  <c:v>3202.9475000000002</c:v>
                </c:pt>
                <c:pt idx="1905">
                  <c:v>3296.482</c:v>
                </c:pt>
                <c:pt idx="1906">
                  <c:v>3340.1158999999998</c:v>
                </c:pt>
                <c:pt idx="1907">
                  <c:v>3447.6934000000001</c:v>
                </c:pt>
                <c:pt idx="1908">
                  <c:v>3445.0430999999999</c:v>
                </c:pt>
                <c:pt idx="1909">
                  <c:v>3406.1116000000002</c:v>
                </c:pt>
                <c:pt idx="1910">
                  <c:v>3486.8150000000001</c:v>
                </c:pt>
                <c:pt idx="1911">
                  <c:v>3534.0653000000002</c:v>
                </c:pt>
                <c:pt idx="1912">
                  <c:v>3534.1821</c:v>
                </c:pt>
                <c:pt idx="1913">
                  <c:v>3577.7026999999998</c:v>
                </c:pt>
                <c:pt idx="1914">
                  <c:v>3473.2543999999998</c:v>
                </c:pt>
                <c:pt idx="1915">
                  <c:v>3524.5338999999999</c:v>
                </c:pt>
                <c:pt idx="1916">
                  <c:v>3571.2411000000002</c:v>
                </c:pt>
                <c:pt idx="1917">
                  <c:v>3589.2611000000002</c:v>
                </c:pt>
                <c:pt idx="1918">
                  <c:v>3592.8793999999998</c:v>
                </c:pt>
                <c:pt idx="1919">
                  <c:v>3524.9198999999999</c:v>
                </c:pt>
                <c:pt idx="1920">
                  <c:v>3533.3065000000001</c:v>
                </c:pt>
                <c:pt idx="1921">
                  <c:v>3534.0787999999998</c:v>
                </c:pt>
                <c:pt idx="1922">
                  <c:v>3475.9623000000001</c:v>
                </c:pt>
                <c:pt idx="1923">
                  <c:v>3465.4926999999998</c:v>
                </c:pt>
                <c:pt idx="1924">
                  <c:v>3628.5376999999999</c:v>
                </c:pt>
                <c:pt idx="1925">
                  <c:v>3705.9697000000001</c:v>
                </c:pt>
                <c:pt idx="1926">
                  <c:v>3793.3739</c:v>
                </c:pt>
                <c:pt idx="1927">
                  <c:v>3840.3546999999999</c:v>
                </c:pt>
                <c:pt idx="1928">
                  <c:v>3833.2379000000001</c:v>
                </c:pt>
                <c:pt idx="1929">
                  <c:v>3833.6457</c:v>
                </c:pt>
                <c:pt idx="1930">
                  <c:v>3795.3240999999998</c:v>
                </c:pt>
                <c:pt idx="1931">
                  <c:v>3746.2422000000001</c:v>
                </c:pt>
                <c:pt idx="1932">
                  <c:v>3764.1262000000002</c:v>
                </c:pt>
                <c:pt idx="1933">
                  <c:v>3758.3869</c:v>
                </c:pt>
                <c:pt idx="1934">
                  <c:v>3715.5796</c:v>
                </c:pt>
                <c:pt idx="1935">
                  <c:v>3774.9690000000001</c:v>
                </c:pt>
                <c:pt idx="1936">
                  <c:v>3774.3833</c:v>
                </c:pt>
                <c:pt idx="1937">
                  <c:v>3753.3350999999998</c:v>
                </c:pt>
                <c:pt idx="1938">
                  <c:v>3753.8887</c:v>
                </c:pt>
                <c:pt idx="1939">
                  <c:v>3781.6069000000002</c:v>
                </c:pt>
                <c:pt idx="1940">
                  <c:v>3759.4286000000002</c:v>
                </c:pt>
                <c:pt idx="1941">
                  <c:v>3556.9924000000001</c:v>
                </c:pt>
                <c:pt idx="1942">
                  <c:v>3566.4122000000002</c:v>
                </c:pt>
                <c:pt idx="1943">
                  <c:v>3591.6959999999999</c:v>
                </c:pt>
                <c:pt idx="1944">
                  <c:v>3721.9544999999998</c:v>
                </c:pt>
                <c:pt idx="1945">
                  <c:v>3749.2984999999999</c:v>
                </c:pt>
                <c:pt idx="1946">
                  <c:v>3677.5922</c:v>
                </c:pt>
                <c:pt idx="1947">
                  <c:v>3687.6073000000001</c:v>
                </c:pt>
                <c:pt idx="1948">
                  <c:v>3623.0201999999999</c:v>
                </c:pt>
                <c:pt idx="1949">
                  <c:v>3635.9382000000001</c:v>
                </c:pt>
                <c:pt idx="1950">
                  <c:v>3623.0841999999998</c:v>
                </c:pt>
                <c:pt idx="1951">
                  <c:v>3608.0587</c:v>
                </c:pt>
                <c:pt idx="1952">
                  <c:v>3711.3220000000001</c:v>
                </c:pt>
                <c:pt idx="1953">
                  <c:v>3694.3885</c:v>
                </c:pt>
                <c:pt idx="1954">
                  <c:v>3685.4398000000001</c:v>
                </c:pt>
                <c:pt idx="1955">
                  <c:v>3755.8881000000001</c:v>
                </c:pt>
                <c:pt idx="1956">
                  <c:v>3767.9128000000001</c:v>
                </c:pt>
                <c:pt idx="1957">
                  <c:v>3865.9650000000001</c:v>
                </c:pt>
                <c:pt idx="1958">
                  <c:v>3876.7325000000001</c:v>
                </c:pt>
                <c:pt idx="1959">
                  <c:v>3866.3814000000002</c:v>
                </c:pt>
                <c:pt idx="1960">
                  <c:v>3829.4022</c:v>
                </c:pt>
                <c:pt idx="1961">
                  <c:v>3838.201</c:v>
                </c:pt>
                <c:pt idx="1962">
                  <c:v>3727.6316000000002</c:v>
                </c:pt>
                <c:pt idx="1963">
                  <c:v>3761.8744999999999</c:v>
                </c:pt>
                <c:pt idx="1964">
                  <c:v>3765.1752000000001</c:v>
                </c:pt>
                <c:pt idx="1965">
                  <c:v>3731.0047</c:v>
                </c:pt>
                <c:pt idx="1966">
                  <c:v>3469.0662000000002</c:v>
                </c:pt>
                <c:pt idx="1967">
                  <c:v>3478.7797</c:v>
                </c:pt>
                <c:pt idx="1968">
                  <c:v>3539.8081999999999</c:v>
                </c:pt>
                <c:pt idx="1969">
                  <c:v>3294.3838999999998</c:v>
                </c:pt>
                <c:pt idx="1970">
                  <c:v>3361.5632000000001</c:v>
                </c:pt>
                <c:pt idx="1971">
                  <c:v>3192.4499000000001</c:v>
                </c:pt>
                <c:pt idx="1972">
                  <c:v>3215.7098999999998</c:v>
                </c:pt>
                <c:pt idx="1973">
                  <c:v>3155.8787000000002</c:v>
                </c:pt>
                <c:pt idx="1974">
                  <c:v>3221.5713999999998</c:v>
                </c:pt>
                <c:pt idx="1975">
                  <c:v>3118.7301000000002</c:v>
                </c:pt>
                <c:pt idx="1976">
                  <c:v>3130.7289000000001</c:v>
                </c:pt>
                <c:pt idx="1977">
                  <c:v>3223.1251000000002</c:v>
                </c:pt>
                <c:pt idx="1978">
                  <c:v>3174.3780999999999</c:v>
                </c:pt>
                <c:pt idx="1979">
                  <c:v>3081.3454000000002</c:v>
                </c:pt>
                <c:pt idx="1980">
                  <c:v>3113.4625999999998</c:v>
                </c:pt>
                <c:pt idx="1981">
                  <c:v>3128.886</c:v>
                </c:pt>
                <c:pt idx="1982">
                  <c:v>2940.5084999999999</c:v>
                </c:pt>
                <c:pt idx="1983">
                  <c:v>2930.3519000000001</c:v>
                </c:pt>
                <c:pt idx="1984">
                  <c:v>2853.7561999999998</c:v>
                </c:pt>
                <c:pt idx="1985">
                  <c:v>2946.0902000000001</c:v>
                </c:pt>
                <c:pt idx="1986">
                  <c:v>2901.0477000000001</c:v>
                </c:pt>
                <c:pt idx="1987">
                  <c:v>2961.3337000000001</c:v>
                </c:pt>
                <c:pt idx="1988">
                  <c:v>2948.6386000000002</c:v>
                </c:pt>
                <c:pt idx="1989">
                  <c:v>2984.7597999999998</c:v>
                </c:pt>
                <c:pt idx="1990">
                  <c:v>2963.7894000000001</c:v>
                </c:pt>
                <c:pt idx="1991">
                  <c:v>2946.7066</c:v>
                </c:pt>
                <c:pt idx="1992">
                  <c:v>3037.0353</c:v>
                </c:pt>
                <c:pt idx="1993">
                  <c:v>3063.3199</c:v>
                </c:pt>
                <c:pt idx="1994">
                  <c:v>3053.6985</c:v>
                </c:pt>
                <c:pt idx="1995">
                  <c:v>3051.585</c:v>
                </c:pt>
                <c:pt idx="1996">
                  <c:v>3118.8674999999998</c:v>
                </c:pt>
                <c:pt idx="1997">
                  <c:v>3089.3631999999998</c:v>
                </c:pt>
                <c:pt idx="1998">
                  <c:v>3109.5454</c:v>
                </c:pt>
                <c:pt idx="1999">
                  <c:v>2918.7501000000002</c:v>
                </c:pt>
                <c:pt idx="2000">
                  <c:v>2948.0306</c:v>
                </c:pt>
                <c:pt idx="2001">
                  <c:v>2877.4666000000002</c:v>
                </c:pt>
                <c:pt idx="2002">
                  <c:v>2930.6936999999998</c:v>
                </c:pt>
                <c:pt idx="2003">
                  <c:v>3051.3326999999999</c:v>
                </c:pt>
                <c:pt idx="2004">
                  <c:v>3058.4218999999998</c:v>
                </c:pt>
                <c:pt idx="2005">
                  <c:v>3093.8895000000002</c:v>
                </c:pt>
                <c:pt idx="2006">
                  <c:v>3104.8397</c:v>
                </c:pt>
                <c:pt idx="2007">
                  <c:v>3107.6727000000001</c:v>
                </c:pt>
                <c:pt idx="2008">
                  <c:v>3071.9070000000002</c:v>
                </c:pt>
                <c:pt idx="2009">
                  <c:v>3013.1457</c:v>
                </c:pt>
                <c:pt idx="2010">
                  <c:v>3018.2844</c:v>
                </c:pt>
                <c:pt idx="2011">
                  <c:v>3065.6904</c:v>
                </c:pt>
                <c:pt idx="2012">
                  <c:v>3074.7795999999998</c:v>
                </c:pt>
                <c:pt idx="2013">
                  <c:v>3090.0328</c:v>
                </c:pt>
                <c:pt idx="2014">
                  <c:v>3124.2039</c:v>
                </c:pt>
                <c:pt idx="2015">
                  <c:v>3171.9630000000002</c:v>
                </c:pt>
                <c:pt idx="2016">
                  <c:v>3249.4371999999998</c:v>
                </c:pt>
                <c:pt idx="2017">
                  <c:v>3225.7903000000001</c:v>
                </c:pt>
                <c:pt idx="2018">
                  <c:v>3236.0924</c:v>
                </c:pt>
                <c:pt idx="2019">
                  <c:v>3181.8507</c:v>
                </c:pt>
                <c:pt idx="2020">
                  <c:v>3197.8168999999998</c:v>
                </c:pt>
                <c:pt idx="2021">
                  <c:v>3169.7283000000002</c:v>
                </c:pt>
                <c:pt idx="2022">
                  <c:v>3135.4097999999999</c:v>
                </c:pt>
                <c:pt idx="2023">
                  <c:v>3216.2752999999998</c:v>
                </c:pt>
                <c:pt idx="2024">
                  <c:v>3218.0879</c:v>
                </c:pt>
                <c:pt idx="2025">
                  <c:v>3221.8948</c:v>
                </c:pt>
                <c:pt idx="2026">
                  <c:v>3264.4857999999999</c:v>
                </c:pt>
                <c:pt idx="2027">
                  <c:v>3257.5275999999999</c:v>
                </c:pt>
                <c:pt idx="2028">
                  <c:v>3209.2901999999999</c:v>
                </c:pt>
                <c:pt idx="2029">
                  <c:v>3185.7258000000002</c:v>
                </c:pt>
                <c:pt idx="2030">
                  <c:v>3230.0956999999999</c:v>
                </c:pt>
                <c:pt idx="2031">
                  <c:v>3218.4497000000001</c:v>
                </c:pt>
                <c:pt idx="2032">
                  <c:v>3261.3831</c:v>
                </c:pt>
                <c:pt idx="2033">
                  <c:v>3275.8321000000001</c:v>
                </c:pt>
                <c:pt idx="2034">
                  <c:v>3272.2053000000001</c:v>
                </c:pt>
                <c:pt idx="2035">
                  <c:v>3228.4531000000002</c:v>
                </c:pt>
                <c:pt idx="2036">
                  <c:v>3238.3029000000001</c:v>
                </c:pt>
                <c:pt idx="2037">
                  <c:v>3181.0264000000002</c:v>
                </c:pt>
                <c:pt idx="2038">
                  <c:v>3160.6033000000002</c:v>
                </c:pt>
                <c:pt idx="2039">
                  <c:v>3174.9011999999998</c:v>
                </c:pt>
                <c:pt idx="2040">
                  <c:v>3162.0331000000001</c:v>
                </c:pt>
                <c:pt idx="2041">
                  <c:v>3179.1605</c:v>
                </c:pt>
                <c:pt idx="2042">
                  <c:v>3165.9155999999998</c:v>
                </c:pt>
                <c:pt idx="2043">
                  <c:v>3160.5808999999999</c:v>
                </c:pt>
                <c:pt idx="2044">
                  <c:v>3156.7451000000001</c:v>
                </c:pt>
                <c:pt idx="2045">
                  <c:v>3213.5396999999998</c:v>
                </c:pt>
                <c:pt idx="2046">
                  <c:v>3209.4614000000001</c:v>
                </c:pt>
                <c:pt idx="2047">
                  <c:v>3213.9198999999999</c:v>
                </c:pt>
                <c:pt idx="2048">
                  <c:v>3130.3544000000002</c:v>
                </c:pt>
                <c:pt idx="2049">
                  <c:v>3065.6154000000001</c:v>
                </c:pt>
                <c:pt idx="2050">
                  <c:v>3069.1124</c:v>
                </c:pt>
                <c:pt idx="2051">
                  <c:v>3082.8085999999998</c:v>
                </c:pt>
                <c:pt idx="2052">
                  <c:v>3090.1372000000001</c:v>
                </c:pt>
                <c:pt idx="2053">
                  <c:v>3074.9351000000001</c:v>
                </c:pt>
                <c:pt idx="2054">
                  <c:v>3095.3085000000001</c:v>
                </c:pt>
                <c:pt idx="2055">
                  <c:v>3086.0248999999999</c:v>
                </c:pt>
                <c:pt idx="2056">
                  <c:v>3068.0358000000001</c:v>
                </c:pt>
                <c:pt idx="2057">
                  <c:v>3062.5001999999999</c:v>
                </c:pt>
                <c:pt idx="2058">
                  <c:v>3078.2183</c:v>
                </c:pt>
                <c:pt idx="2059">
                  <c:v>3087.2224999999999</c:v>
                </c:pt>
                <c:pt idx="2060">
                  <c:v>3063.5556000000001</c:v>
                </c:pt>
                <c:pt idx="2061">
                  <c:v>3059.2258999999999</c:v>
                </c:pt>
                <c:pt idx="2062">
                  <c:v>3064.2111</c:v>
                </c:pt>
                <c:pt idx="2063">
                  <c:v>3062.4992999999999</c:v>
                </c:pt>
                <c:pt idx="2064">
                  <c:v>3066.7094999999999</c:v>
                </c:pt>
                <c:pt idx="2065">
                  <c:v>3169.5598</c:v>
                </c:pt>
                <c:pt idx="2066">
                  <c:v>3160.547</c:v>
                </c:pt>
                <c:pt idx="2067">
                  <c:v>3167.0997000000002</c:v>
                </c:pt>
                <c:pt idx="2068">
                  <c:v>3189.3254999999999</c:v>
                </c:pt>
                <c:pt idx="2069">
                  <c:v>3178.7883000000002</c:v>
                </c:pt>
                <c:pt idx="2070">
                  <c:v>3177.0536000000002</c:v>
                </c:pt>
                <c:pt idx="2071">
                  <c:v>3163.9863999999998</c:v>
                </c:pt>
                <c:pt idx="2072">
                  <c:v>3066.3413</c:v>
                </c:pt>
                <c:pt idx="2073">
                  <c:v>3075.9834000000001</c:v>
                </c:pt>
                <c:pt idx="2074">
                  <c:v>3116.3681999999999</c:v>
                </c:pt>
                <c:pt idx="2075">
                  <c:v>3094.6747999999998</c:v>
                </c:pt>
                <c:pt idx="2076">
                  <c:v>3110.3571999999999</c:v>
                </c:pt>
                <c:pt idx="2077">
                  <c:v>3112.6743999999999</c:v>
                </c:pt>
                <c:pt idx="2078">
                  <c:v>3106.3175000000001</c:v>
                </c:pt>
                <c:pt idx="2079">
                  <c:v>3133.9611</c:v>
                </c:pt>
                <c:pt idx="2080">
                  <c:v>3117.3168000000001</c:v>
                </c:pt>
                <c:pt idx="2081">
                  <c:v>3077.1554000000001</c:v>
                </c:pt>
                <c:pt idx="2082">
                  <c:v>3120.5443</c:v>
                </c:pt>
                <c:pt idx="2083">
                  <c:v>3136.4013</c:v>
                </c:pt>
                <c:pt idx="2084">
                  <c:v>3151.3897999999999</c:v>
                </c:pt>
                <c:pt idx="2085">
                  <c:v>3153.9209999999998</c:v>
                </c:pt>
                <c:pt idx="2086">
                  <c:v>3154.2003</c:v>
                </c:pt>
                <c:pt idx="2087">
                  <c:v>3204.6961999999999</c:v>
                </c:pt>
                <c:pt idx="2088">
                  <c:v>3207.3827000000001</c:v>
                </c:pt>
                <c:pt idx="2089">
                  <c:v>3216.8035</c:v>
                </c:pt>
                <c:pt idx="2090">
                  <c:v>3209.9542000000001</c:v>
                </c:pt>
                <c:pt idx="2091">
                  <c:v>3192.2804000000001</c:v>
                </c:pt>
                <c:pt idx="2092">
                  <c:v>3203.3298</c:v>
                </c:pt>
                <c:pt idx="2093">
                  <c:v>3273.1822999999999</c:v>
                </c:pt>
                <c:pt idx="2094">
                  <c:v>3282.8681000000001</c:v>
                </c:pt>
                <c:pt idx="2095">
                  <c:v>3276.7637</c:v>
                </c:pt>
                <c:pt idx="2096">
                  <c:v>3276.2775000000001</c:v>
                </c:pt>
                <c:pt idx="2097">
                  <c:v>3262.0221999999999</c:v>
                </c:pt>
                <c:pt idx="2098">
                  <c:v>3248.2341000000001</c:v>
                </c:pt>
                <c:pt idx="2099">
                  <c:v>3237.6051000000002</c:v>
                </c:pt>
                <c:pt idx="2100">
                  <c:v>3252.5227</c:v>
                </c:pt>
                <c:pt idx="2101">
                  <c:v>3225.1621</c:v>
                </c:pt>
                <c:pt idx="2102">
                  <c:v>3230.8850000000002</c:v>
                </c:pt>
                <c:pt idx="2103">
                  <c:v>3269.5882000000001</c:v>
                </c:pt>
                <c:pt idx="2104">
                  <c:v>3218.2429999999999</c:v>
                </c:pt>
                <c:pt idx="2105">
                  <c:v>3221.1365000000001</c:v>
                </c:pt>
                <c:pt idx="2106">
                  <c:v>3203.9304000000002</c:v>
                </c:pt>
                <c:pt idx="2107">
                  <c:v>3176.8090999999999</c:v>
                </c:pt>
                <c:pt idx="2108">
                  <c:v>3189.0529000000001</c:v>
                </c:pt>
                <c:pt idx="2109">
                  <c:v>3193.5073000000002</c:v>
                </c:pt>
                <c:pt idx="2110">
                  <c:v>3201.2887999999998</c:v>
                </c:pt>
                <c:pt idx="2111">
                  <c:v>3205.1100999999999</c:v>
                </c:pt>
                <c:pt idx="2112">
                  <c:v>3234.1833000000001</c:v>
                </c:pt>
                <c:pt idx="2113">
                  <c:v>3256.9812999999999</c:v>
                </c:pt>
                <c:pt idx="2114">
                  <c:v>3243.3409000000001</c:v>
                </c:pt>
                <c:pt idx="2115">
                  <c:v>3233.3604</c:v>
                </c:pt>
                <c:pt idx="2116">
                  <c:v>3294.2337000000002</c:v>
                </c:pt>
                <c:pt idx="2117">
                  <c:v>3393.4238999999998</c:v>
                </c:pt>
                <c:pt idx="2118">
                  <c:v>3378.2451000000001</c:v>
                </c:pt>
                <c:pt idx="2119">
                  <c:v>3373.0475999999999</c:v>
                </c:pt>
                <c:pt idx="2120">
                  <c:v>3364.4850999999999</c:v>
                </c:pt>
                <c:pt idx="2121">
                  <c:v>3365.0196999999998</c:v>
                </c:pt>
                <c:pt idx="2122">
                  <c:v>3336.7948999999999</c:v>
                </c:pt>
                <c:pt idx="2123">
                  <c:v>3341.8298</c:v>
                </c:pt>
                <c:pt idx="2124">
                  <c:v>3329.8631</c:v>
                </c:pt>
                <c:pt idx="2125">
                  <c:v>3308.9721</c:v>
                </c:pt>
                <c:pt idx="2126">
                  <c:v>3307.0902000000001</c:v>
                </c:pt>
                <c:pt idx="2127">
                  <c:v>3307.7811999999999</c:v>
                </c:pt>
                <c:pt idx="2128">
                  <c:v>3311.9872</c:v>
                </c:pt>
                <c:pt idx="2129">
                  <c:v>3327.7937999999999</c:v>
                </c:pt>
                <c:pt idx="2130">
                  <c:v>3301.5767000000001</c:v>
                </c:pt>
                <c:pt idx="2131">
                  <c:v>3314.1142</c:v>
                </c:pt>
                <c:pt idx="2132">
                  <c:v>3319.6803</c:v>
                </c:pt>
                <c:pt idx="2133">
                  <c:v>3342.6259</c:v>
                </c:pt>
                <c:pt idx="2134">
                  <c:v>3340.8172</c:v>
                </c:pt>
                <c:pt idx="2135">
                  <c:v>3339.5639999999999</c:v>
                </c:pt>
                <c:pt idx="2136">
                  <c:v>3318.0439999999999</c:v>
                </c:pt>
                <c:pt idx="2137">
                  <c:v>3262.6043</c:v>
                </c:pt>
                <c:pt idx="2138">
                  <c:v>3260.3330000000001</c:v>
                </c:pt>
                <c:pt idx="2139">
                  <c:v>3238.7298999999998</c:v>
                </c:pt>
                <c:pt idx="2140">
                  <c:v>3263.1242000000002</c:v>
                </c:pt>
                <c:pt idx="2141">
                  <c:v>3257.4034000000001</c:v>
                </c:pt>
                <c:pt idx="2142">
                  <c:v>3266.6363000000001</c:v>
                </c:pt>
                <c:pt idx="2143">
                  <c:v>3291.1210999999998</c:v>
                </c:pt>
                <c:pt idx="2144">
                  <c:v>3275.6664999999998</c:v>
                </c:pt>
                <c:pt idx="2145">
                  <c:v>3220.2838000000002</c:v>
                </c:pt>
                <c:pt idx="2146">
                  <c:v>3240.7546000000002</c:v>
                </c:pt>
                <c:pt idx="2147">
                  <c:v>3230.8904000000002</c:v>
                </c:pt>
                <c:pt idx="2148">
                  <c:v>3244.3874000000001</c:v>
                </c:pt>
                <c:pt idx="2149">
                  <c:v>3253.2847999999999</c:v>
                </c:pt>
                <c:pt idx="2150">
                  <c:v>3293.8688999999999</c:v>
                </c:pt>
                <c:pt idx="2151">
                  <c:v>3306.5572999999999</c:v>
                </c:pt>
                <c:pt idx="2152">
                  <c:v>3300.0099</c:v>
                </c:pt>
                <c:pt idx="2153">
                  <c:v>3302.6455000000001</c:v>
                </c:pt>
                <c:pt idx="2154">
                  <c:v>3305.8481000000002</c:v>
                </c:pt>
                <c:pt idx="2155">
                  <c:v>3277.8787000000002</c:v>
                </c:pt>
                <c:pt idx="2156">
                  <c:v>3321.3323999999998</c:v>
                </c:pt>
                <c:pt idx="2157">
                  <c:v>3316.2406999999998</c:v>
                </c:pt>
                <c:pt idx="2158">
                  <c:v>3318.6044000000002</c:v>
                </c:pt>
                <c:pt idx="2159">
                  <c:v>3327.74</c:v>
                </c:pt>
                <c:pt idx="2160">
                  <c:v>3367.5778</c:v>
                </c:pt>
                <c:pt idx="2161">
                  <c:v>3367.4546999999998</c:v>
                </c:pt>
                <c:pt idx="2162">
                  <c:v>3354.8002999999999</c:v>
                </c:pt>
                <c:pt idx="2163">
                  <c:v>3345.6950000000002</c:v>
                </c:pt>
                <c:pt idx="2164">
                  <c:v>3340.1262000000002</c:v>
                </c:pt>
                <c:pt idx="2165">
                  <c:v>3336.2777999999998</c:v>
                </c:pt>
                <c:pt idx="2166">
                  <c:v>3359.0515</c:v>
                </c:pt>
                <c:pt idx="2167">
                  <c:v>3333.3524000000002</c:v>
                </c:pt>
                <c:pt idx="2168">
                  <c:v>3365.085</c:v>
                </c:pt>
                <c:pt idx="2169">
                  <c:v>3354.1749</c:v>
                </c:pt>
                <c:pt idx="2170">
                  <c:v>3356.5916000000002</c:v>
                </c:pt>
                <c:pt idx="2171">
                  <c:v>3371.1176999999998</c:v>
                </c:pt>
                <c:pt idx="2172">
                  <c:v>3353.0547000000001</c:v>
                </c:pt>
                <c:pt idx="2173">
                  <c:v>3390.6118999999999</c:v>
                </c:pt>
                <c:pt idx="2174">
                  <c:v>3417.2211000000002</c:v>
                </c:pt>
                <c:pt idx="2175">
                  <c:v>3430.2482</c:v>
                </c:pt>
                <c:pt idx="2176">
                  <c:v>3429.8697000000002</c:v>
                </c:pt>
                <c:pt idx="2177">
                  <c:v>3429.5920999999998</c:v>
                </c:pt>
                <c:pt idx="2178">
                  <c:v>3436.5349999999999</c:v>
                </c:pt>
                <c:pt idx="2179">
                  <c:v>3417.4553999999998</c:v>
                </c:pt>
                <c:pt idx="2180">
                  <c:v>3441.1106</c:v>
                </c:pt>
                <c:pt idx="2181">
                  <c:v>3468.3636999999999</c:v>
                </c:pt>
                <c:pt idx="2182">
                  <c:v>3474.7289000000001</c:v>
                </c:pt>
                <c:pt idx="2183">
                  <c:v>3488.7402000000002</c:v>
                </c:pt>
                <c:pt idx="2184">
                  <c:v>3521.2984000000001</c:v>
                </c:pt>
                <c:pt idx="2185">
                  <c:v>3535.0807</c:v>
                </c:pt>
                <c:pt idx="2186">
                  <c:v>3564.0403999999999</c:v>
                </c:pt>
                <c:pt idx="2187">
                  <c:v>3538.0010000000002</c:v>
                </c:pt>
                <c:pt idx="2188">
                  <c:v>3565.0360000000001</c:v>
                </c:pt>
                <c:pt idx="2189">
                  <c:v>3528.9546999999998</c:v>
                </c:pt>
                <c:pt idx="2190">
                  <c:v>3469.4072999999999</c:v>
                </c:pt>
                <c:pt idx="2191">
                  <c:v>3459.1532999999999</c:v>
                </c:pt>
                <c:pt idx="2192">
                  <c:v>3475.7473</c:v>
                </c:pt>
                <c:pt idx="2193">
                  <c:v>3470.1426000000001</c:v>
                </c:pt>
                <c:pt idx="2194">
                  <c:v>3493.7004000000002</c:v>
                </c:pt>
                <c:pt idx="2195">
                  <c:v>3409.1794</c:v>
                </c:pt>
                <c:pt idx="2196">
                  <c:v>3405.0355</c:v>
                </c:pt>
                <c:pt idx="2197">
                  <c:v>3378.9452999999999</c:v>
                </c:pt>
                <c:pt idx="2198">
                  <c:v>3340.4337999999998</c:v>
                </c:pt>
                <c:pt idx="2199">
                  <c:v>3346.0304999999998</c:v>
                </c:pt>
                <c:pt idx="2200">
                  <c:v>3328.9827</c:v>
                </c:pt>
                <c:pt idx="2201">
                  <c:v>3309.0641000000001</c:v>
                </c:pt>
                <c:pt idx="2202">
                  <c:v>3338.5360000000001</c:v>
                </c:pt>
                <c:pt idx="2203">
                  <c:v>3335.672</c:v>
                </c:pt>
                <c:pt idx="2204">
                  <c:v>3307.5990999999999</c:v>
                </c:pt>
                <c:pt idx="2205">
                  <c:v>3322.4005999999999</c:v>
                </c:pt>
                <c:pt idx="2206">
                  <c:v>3316.3852000000002</c:v>
                </c:pt>
                <c:pt idx="2207">
                  <c:v>3301.8887</c:v>
                </c:pt>
                <c:pt idx="2208">
                  <c:v>3297.7647999999999</c:v>
                </c:pt>
                <c:pt idx="2209">
                  <c:v>3310.0808000000002</c:v>
                </c:pt>
                <c:pt idx="2210">
                  <c:v>3342.2271999999998</c:v>
                </c:pt>
                <c:pt idx="2211">
                  <c:v>3368.3117000000002</c:v>
                </c:pt>
                <c:pt idx="2212">
                  <c:v>3367.7892000000002</c:v>
                </c:pt>
                <c:pt idx="2213">
                  <c:v>3347.6664999999998</c:v>
                </c:pt>
                <c:pt idx="2214">
                  <c:v>3363.9014000000002</c:v>
                </c:pt>
                <c:pt idx="2215">
                  <c:v>3358.2716</c:v>
                </c:pt>
                <c:pt idx="2216">
                  <c:v>3334.4953999999998</c:v>
                </c:pt>
                <c:pt idx="2217">
                  <c:v>3317.6241</c:v>
                </c:pt>
                <c:pt idx="2218">
                  <c:v>3319.9122000000002</c:v>
                </c:pt>
                <c:pt idx="2219">
                  <c:v>3319.4454999999998</c:v>
                </c:pt>
                <c:pt idx="2220">
                  <c:v>3326.3562999999999</c:v>
                </c:pt>
                <c:pt idx="2221">
                  <c:v>3339.3652999999999</c:v>
                </c:pt>
                <c:pt idx="2222">
                  <c:v>3329.2891</c:v>
                </c:pt>
                <c:pt idx="2223">
                  <c:v>3354.8890999999999</c:v>
                </c:pt>
                <c:pt idx="2224">
                  <c:v>3364.0808000000002</c:v>
                </c:pt>
                <c:pt idx="2225">
                  <c:v>3364.4508999999998</c:v>
                </c:pt>
                <c:pt idx="2226">
                  <c:v>3375.9041999999999</c:v>
                </c:pt>
                <c:pt idx="2227">
                  <c:v>3387.9605999999999</c:v>
                </c:pt>
                <c:pt idx="2228">
                  <c:v>3364.4922999999999</c:v>
                </c:pt>
                <c:pt idx="2229">
                  <c:v>3373.2051000000001</c:v>
                </c:pt>
                <c:pt idx="2230">
                  <c:v>3365.6849000000002</c:v>
                </c:pt>
                <c:pt idx="2231">
                  <c:v>3383.2878000000001</c:v>
                </c:pt>
                <c:pt idx="2232">
                  <c:v>3396.2923999999998</c:v>
                </c:pt>
                <c:pt idx="2233">
                  <c:v>3413.4868000000001</c:v>
                </c:pt>
                <c:pt idx="2234">
                  <c:v>3436.2750000000001</c:v>
                </c:pt>
                <c:pt idx="2235">
                  <c:v>3435.8042</c:v>
                </c:pt>
                <c:pt idx="2236">
                  <c:v>3421.7130999999999</c:v>
                </c:pt>
                <c:pt idx="2237">
                  <c:v>3440.9331000000002</c:v>
                </c:pt>
                <c:pt idx="2238">
                  <c:v>3421.4418999999998</c:v>
                </c:pt>
                <c:pt idx="2239">
                  <c:v>3471.3926000000001</c:v>
                </c:pt>
                <c:pt idx="2240">
                  <c:v>3482.8229999999999</c:v>
                </c:pt>
                <c:pt idx="2241">
                  <c:v>3489.7566999999999</c:v>
                </c:pt>
                <c:pt idx="2242">
                  <c:v>3473.3236000000002</c:v>
                </c:pt>
                <c:pt idx="2243">
                  <c:v>3473.8517000000002</c:v>
                </c:pt>
                <c:pt idx="2244">
                  <c:v>3446.2228</c:v>
                </c:pt>
                <c:pt idx="2245">
                  <c:v>3452.8103000000001</c:v>
                </c:pt>
                <c:pt idx="2246">
                  <c:v>3458.4376000000002</c:v>
                </c:pt>
                <c:pt idx="2247">
                  <c:v>3435.0963000000002</c:v>
                </c:pt>
                <c:pt idx="2248">
                  <c:v>3427.8627999999999</c:v>
                </c:pt>
                <c:pt idx="2249">
                  <c:v>3446.4839999999999</c:v>
                </c:pt>
                <c:pt idx="2250">
                  <c:v>3453.9564999999998</c:v>
                </c:pt>
                <c:pt idx="2251">
                  <c:v>3448.7312999999999</c:v>
                </c:pt>
                <c:pt idx="2252">
                  <c:v>3426.9438</c:v>
                </c:pt>
                <c:pt idx="2253">
                  <c:v>3427.8915999999999</c:v>
                </c:pt>
                <c:pt idx="2254">
                  <c:v>3458.098</c:v>
                </c:pt>
                <c:pt idx="2255">
                  <c:v>3456.6934000000001</c:v>
                </c:pt>
                <c:pt idx="2256">
                  <c:v>3463.6435999999999</c:v>
                </c:pt>
                <c:pt idx="2257">
                  <c:v>3481.5066000000002</c:v>
                </c:pt>
                <c:pt idx="2258">
                  <c:v>3445.8051</c:v>
                </c:pt>
                <c:pt idx="2259">
                  <c:v>3449.6125999999999</c:v>
                </c:pt>
                <c:pt idx="2260">
                  <c:v>3466.3467999999998</c:v>
                </c:pt>
                <c:pt idx="2261">
                  <c:v>3450.0502000000001</c:v>
                </c:pt>
                <c:pt idx="2262">
                  <c:v>3461.9782</c:v>
                </c:pt>
                <c:pt idx="2263">
                  <c:v>3489.5997000000002</c:v>
                </c:pt>
                <c:pt idx="2264">
                  <c:v>3478.0385000000001</c:v>
                </c:pt>
                <c:pt idx="2265">
                  <c:v>3469.8092999999999</c:v>
                </c:pt>
                <c:pt idx="2266">
                  <c:v>3465.1932999999999</c:v>
                </c:pt>
                <c:pt idx="2267">
                  <c:v>3436.7579999999998</c:v>
                </c:pt>
                <c:pt idx="2268">
                  <c:v>3456.0455000000002</c:v>
                </c:pt>
                <c:pt idx="2269">
                  <c:v>3503.8932</c:v>
                </c:pt>
                <c:pt idx="2270">
                  <c:v>3514.0468999999998</c:v>
                </c:pt>
                <c:pt idx="2271">
                  <c:v>3517.4634000000001</c:v>
                </c:pt>
                <c:pt idx="2272">
                  <c:v>3505.1392000000001</c:v>
                </c:pt>
                <c:pt idx="2273">
                  <c:v>3517.328</c:v>
                </c:pt>
                <c:pt idx="2274">
                  <c:v>3509.4387000000002</c:v>
                </c:pt>
                <c:pt idx="2275">
                  <c:v>3514.5662000000002</c:v>
                </c:pt>
                <c:pt idx="2276">
                  <c:v>3486.5045</c:v>
                </c:pt>
                <c:pt idx="2277">
                  <c:v>3479.9416999999999</c:v>
                </c:pt>
                <c:pt idx="2278">
                  <c:v>3462.7429000000002</c:v>
                </c:pt>
                <c:pt idx="2279">
                  <c:v>3445.8761</c:v>
                </c:pt>
                <c:pt idx="2280">
                  <c:v>3461.5481</c:v>
                </c:pt>
                <c:pt idx="2281">
                  <c:v>3466.7865000000002</c:v>
                </c:pt>
                <c:pt idx="2282">
                  <c:v>3431.2586999999999</c:v>
                </c:pt>
                <c:pt idx="2283">
                  <c:v>3440.9742999999999</c:v>
                </c:pt>
                <c:pt idx="2284">
                  <c:v>3445.1831999999999</c:v>
                </c:pt>
                <c:pt idx="2285">
                  <c:v>3446.7202000000002</c:v>
                </c:pt>
                <c:pt idx="2286">
                  <c:v>3439.7530000000002</c:v>
                </c:pt>
                <c:pt idx="2287">
                  <c:v>3426.5765999999999</c:v>
                </c:pt>
                <c:pt idx="2288">
                  <c:v>3413.1282000000001</c:v>
                </c:pt>
                <c:pt idx="2289">
                  <c:v>3404.3863999999999</c:v>
                </c:pt>
                <c:pt idx="2290">
                  <c:v>3382.5502000000001</c:v>
                </c:pt>
                <c:pt idx="2291">
                  <c:v>3358.8125</c:v>
                </c:pt>
                <c:pt idx="2292">
                  <c:v>3352.5324000000001</c:v>
                </c:pt>
                <c:pt idx="2293">
                  <c:v>3337.7006999999999</c:v>
                </c:pt>
                <c:pt idx="2294">
                  <c:v>3356.6459</c:v>
                </c:pt>
                <c:pt idx="2295">
                  <c:v>3385.3787000000002</c:v>
                </c:pt>
                <c:pt idx="2296">
                  <c:v>3399.1936999999998</c:v>
                </c:pt>
                <c:pt idx="2297">
                  <c:v>3428.6491000000001</c:v>
                </c:pt>
                <c:pt idx="2298">
                  <c:v>3409.9656</c:v>
                </c:pt>
                <c:pt idx="2299">
                  <c:v>3398.1127000000001</c:v>
                </c:pt>
                <c:pt idx="2300">
                  <c:v>3403.8492000000001</c:v>
                </c:pt>
                <c:pt idx="2301">
                  <c:v>3411.2386999999999</c:v>
                </c:pt>
                <c:pt idx="2302">
                  <c:v>3424.194</c:v>
                </c:pt>
                <c:pt idx="2303">
                  <c:v>3424.1669000000002</c:v>
                </c:pt>
                <c:pt idx="2304">
                  <c:v>3485.6581000000001</c:v>
                </c:pt>
                <c:pt idx="2305">
                  <c:v>3480.4344999999998</c:v>
                </c:pt>
                <c:pt idx="2306">
                  <c:v>3492.8845000000001</c:v>
                </c:pt>
                <c:pt idx="2307">
                  <c:v>3497.7381999999998</c:v>
                </c:pt>
                <c:pt idx="2308">
                  <c:v>3486.5074</c:v>
                </c:pt>
                <c:pt idx="2309">
                  <c:v>3468.7538</c:v>
                </c:pt>
                <c:pt idx="2310">
                  <c:v>3492.8816000000002</c:v>
                </c:pt>
                <c:pt idx="2311">
                  <c:v>3533.8717999999999</c:v>
                </c:pt>
                <c:pt idx="2312">
                  <c:v>3560.9785999999999</c:v>
                </c:pt>
                <c:pt idx="2313">
                  <c:v>3576.1703000000002</c:v>
                </c:pt>
                <c:pt idx="2314">
                  <c:v>3574.3894</c:v>
                </c:pt>
                <c:pt idx="2315">
                  <c:v>3582.2674000000002</c:v>
                </c:pt>
                <c:pt idx="2316">
                  <c:v>3535.2986999999998</c:v>
                </c:pt>
                <c:pt idx="2317">
                  <c:v>3528.7926000000002</c:v>
                </c:pt>
                <c:pt idx="2318">
                  <c:v>3518.7611000000002</c:v>
                </c:pt>
                <c:pt idx="2319">
                  <c:v>3553.6653000000001</c:v>
                </c:pt>
                <c:pt idx="2320">
                  <c:v>3546.4940000000001</c:v>
                </c:pt>
                <c:pt idx="2321">
                  <c:v>3587.9549999999999</c:v>
                </c:pt>
                <c:pt idx="2322">
                  <c:v>3590.3425000000002</c:v>
                </c:pt>
                <c:pt idx="2323">
                  <c:v>3622.8831</c:v>
                </c:pt>
                <c:pt idx="2324">
                  <c:v>3668.0918999999999</c:v>
                </c:pt>
                <c:pt idx="2325">
                  <c:v>3674.7152000000001</c:v>
                </c:pt>
                <c:pt idx="2326">
                  <c:v>3646.1666</c:v>
                </c:pt>
                <c:pt idx="2327">
                  <c:v>3668.8279000000002</c:v>
                </c:pt>
                <c:pt idx="2328">
                  <c:v>3666.7977000000001</c:v>
                </c:pt>
                <c:pt idx="2329">
                  <c:v>3650.8463000000002</c:v>
                </c:pt>
                <c:pt idx="2330">
                  <c:v>3619.9841000000001</c:v>
                </c:pt>
                <c:pt idx="2331">
                  <c:v>3659.6795000000002</c:v>
                </c:pt>
                <c:pt idx="2332">
                  <c:v>3660.0967000000001</c:v>
                </c:pt>
                <c:pt idx="2333">
                  <c:v>3655.9292999999998</c:v>
                </c:pt>
                <c:pt idx="2334">
                  <c:v>3653.6867999999999</c:v>
                </c:pt>
                <c:pt idx="2335">
                  <c:v>3670.8085999999998</c:v>
                </c:pt>
                <c:pt idx="2336">
                  <c:v>3658.8236000000002</c:v>
                </c:pt>
                <c:pt idx="2337">
                  <c:v>3686.9205000000002</c:v>
                </c:pt>
                <c:pt idx="2338">
                  <c:v>3703.0940000000001</c:v>
                </c:pt>
                <c:pt idx="2339">
                  <c:v>3663.5574999999999</c:v>
                </c:pt>
                <c:pt idx="2340">
                  <c:v>3667.1806999999999</c:v>
                </c:pt>
                <c:pt idx="2341">
                  <c:v>3729.7465999999999</c:v>
                </c:pt>
                <c:pt idx="2342">
                  <c:v>3747.8843000000002</c:v>
                </c:pt>
                <c:pt idx="2343">
                  <c:v>3728.5976000000001</c:v>
                </c:pt>
                <c:pt idx="2344">
                  <c:v>3743.4686000000002</c:v>
                </c:pt>
                <c:pt idx="2345">
                  <c:v>3719.5590000000002</c:v>
                </c:pt>
                <c:pt idx="2346">
                  <c:v>3705.3883999999998</c:v>
                </c:pt>
                <c:pt idx="2347">
                  <c:v>3712.1947</c:v>
                </c:pt>
                <c:pt idx="2348">
                  <c:v>3721.8914</c:v>
                </c:pt>
                <c:pt idx="2349">
                  <c:v>3737.8732</c:v>
                </c:pt>
                <c:pt idx="2350">
                  <c:v>3770.3827999999999</c:v>
                </c:pt>
                <c:pt idx="2351">
                  <c:v>3760.8525</c:v>
                </c:pt>
                <c:pt idx="2352">
                  <c:v>3727.8263999999999</c:v>
                </c:pt>
                <c:pt idx="2353">
                  <c:v>3707.5796</c:v>
                </c:pt>
                <c:pt idx="2354">
                  <c:v>3726.7948000000001</c:v>
                </c:pt>
                <c:pt idx="2355">
                  <c:v>3732.2129</c:v>
                </c:pt>
                <c:pt idx="2356">
                  <c:v>3731.0439999999999</c:v>
                </c:pt>
                <c:pt idx="2357">
                  <c:v>3715.9207999999999</c:v>
                </c:pt>
                <c:pt idx="2358">
                  <c:v>3647.3503000000001</c:v>
                </c:pt>
                <c:pt idx="2359">
                  <c:v>3694.6831000000002</c:v>
                </c:pt>
                <c:pt idx="2360">
                  <c:v>3706.0565999999999</c:v>
                </c:pt>
                <c:pt idx="2361">
                  <c:v>3701.4207000000001</c:v>
                </c:pt>
                <c:pt idx="2362">
                  <c:v>3721.277</c:v>
                </c:pt>
                <c:pt idx="2363">
                  <c:v>3724.6747999999998</c:v>
                </c:pt>
                <c:pt idx="2364">
                  <c:v>3740.9940999999999</c:v>
                </c:pt>
                <c:pt idx="2365">
                  <c:v>3752.2979999999998</c:v>
                </c:pt>
                <c:pt idx="2366">
                  <c:v>3756.0884000000001</c:v>
                </c:pt>
                <c:pt idx="2367">
                  <c:v>3734.6457999999998</c:v>
                </c:pt>
                <c:pt idx="2368">
                  <c:v>3795.7543999999998</c:v>
                </c:pt>
                <c:pt idx="2369">
                  <c:v>3842.7118999999998</c:v>
                </c:pt>
                <c:pt idx="2370">
                  <c:v>3834.5376000000001</c:v>
                </c:pt>
                <c:pt idx="2371">
                  <c:v>3834.3004999999998</c:v>
                </c:pt>
                <c:pt idx="2372">
                  <c:v>3822.0927999999999</c:v>
                </c:pt>
                <c:pt idx="2373">
                  <c:v>3830.5383000000002</c:v>
                </c:pt>
                <c:pt idx="2374">
                  <c:v>3845.6163000000001</c:v>
                </c:pt>
                <c:pt idx="2375">
                  <c:v>3857.0464000000002</c:v>
                </c:pt>
                <c:pt idx="2376">
                  <c:v>3849.4499000000001</c:v>
                </c:pt>
                <c:pt idx="2377">
                  <c:v>3829.8712999999998</c:v>
                </c:pt>
                <c:pt idx="2378">
                  <c:v>3825.9895000000001</c:v>
                </c:pt>
                <c:pt idx="2379">
                  <c:v>3825.6453000000001</c:v>
                </c:pt>
                <c:pt idx="2380">
                  <c:v>3837.9340999999999</c:v>
                </c:pt>
                <c:pt idx="2381">
                  <c:v>3842.6061</c:v>
                </c:pt>
                <c:pt idx="2382">
                  <c:v>3829.9553999999998</c:v>
                </c:pt>
                <c:pt idx="2383">
                  <c:v>3831.2964999999999</c:v>
                </c:pt>
                <c:pt idx="2384">
                  <c:v>3843.1428000000001</c:v>
                </c:pt>
                <c:pt idx="2385">
                  <c:v>3832.1161000000002</c:v>
                </c:pt>
                <c:pt idx="2386">
                  <c:v>3842.4353000000001</c:v>
                </c:pt>
                <c:pt idx="2387">
                  <c:v>3837.8175999999999</c:v>
                </c:pt>
                <c:pt idx="2388">
                  <c:v>3837.7303999999999</c:v>
                </c:pt>
                <c:pt idx="2389">
                  <c:v>3817.7914999999998</c:v>
                </c:pt>
                <c:pt idx="2390">
                  <c:v>3820.7815999999998</c:v>
                </c:pt>
                <c:pt idx="2391">
                  <c:v>3821.2</c:v>
                </c:pt>
                <c:pt idx="2392">
                  <c:v>3822.5385999999999</c:v>
                </c:pt>
                <c:pt idx="2393">
                  <c:v>3836.5012999999999</c:v>
                </c:pt>
                <c:pt idx="2394">
                  <c:v>3882.2076000000002</c:v>
                </c:pt>
                <c:pt idx="2395">
                  <c:v>3889.8636999999999</c:v>
                </c:pt>
                <c:pt idx="2396">
                  <c:v>3902.6867999999999</c:v>
                </c:pt>
                <c:pt idx="2397">
                  <c:v>3912.9535999999998</c:v>
                </c:pt>
                <c:pt idx="2398">
                  <c:v>3921.0016999999998</c:v>
                </c:pt>
                <c:pt idx="2399">
                  <c:v>3913.4461999999999</c:v>
                </c:pt>
                <c:pt idx="2400">
                  <c:v>3913.0688</c:v>
                </c:pt>
                <c:pt idx="2401">
                  <c:v>3944.1626000000001</c:v>
                </c:pt>
                <c:pt idx="2402">
                  <c:v>3931.2494999999999</c:v>
                </c:pt>
                <c:pt idx="2403">
                  <c:v>3926.8519999999999</c:v>
                </c:pt>
                <c:pt idx="2404">
                  <c:v>3930.7981</c:v>
                </c:pt>
                <c:pt idx="2405">
                  <c:v>3959.3953000000001</c:v>
                </c:pt>
                <c:pt idx="2406">
                  <c:v>3976.9490000000001</c:v>
                </c:pt>
                <c:pt idx="2407">
                  <c:v>3993.5752000000002</c:v>
                </c:pt>
                <c:pt idx="2408">
                  <c:v>4021.9675999999999</c:v>
                </c:pt>
                <c:pt idx="2409">
                  <c:v>4009.7217999999998</c:v>
                </c:pt>
                <c:pt idx="2410">
                  <c:v>4006.7179000000001</c:v>
                </c:pt>
                <c:pt idx="2411">
                  <c:v>3996.6221</c:v>
                </c:pt>
                <c:pt idx="2412">
                  <c:v>3997.1343000000002</c:v>
                </c:pt>
                <c:pt idx="2413">
                  <c:v>3992.6979000000001</c:v>
                </c:pt>
                <c:pt idx="2414">
                  <c:v>4020.8896</c:v>
                </c:pt>
                <c:pt idx="2415">
                  <c:v>4054.2465000000002</c:v>
                </c:pt>
                <c:pt idx="2416">
                  <c:v>4048.0057000000002</c:v>
                </c:pt>
                <c:pt idx="2417">
                  <c:v>4075.8998000000001</c:v>
                </c:pt>
                <c:pt idx="2418">
                  <c:v>4111.9111999999996</c:v>
                </c:pt>
                <c:pt idx="2419">
                  <c:v>4128.0733</c:v>
                </c:pt>
                <c:pt idx="2420">
                  <c:v>4099.3509999999997</c:v>
                </c:pt>
                <c:pt idx="2421">
                  <c:v>4073.6696000000002</c:v>
                </c:pt>
                <c:pt idx="2422">
                  <c:v>4105.0122000000001</c:v>
                </c:pt>
                <c:pt idx="2423">
                  <c:v>4120.8508000000002</c:v>
                </c:pt>
                <c:pt idx="2424">
                  <c:v>4143.8334000000004</c:v>
                </c:pt>
                <c:pt idx="2425">
                  <c:v>4217.7015000000001</c:v>
                </c:pt>
                <c:pt idx="2426">
                  <c:v>4227.5666000000001</c:v>
                </c:pt>
                <c:pt idx="2427">
                  <c:v>4102.3966</c:v>
                </c:pt>
                <c:pt idx="2428">
                  <c:v>4104.2034000000003</c:v>
                </c:pt>
                <c:pt idx="2429">
                  <c:v>4049.9475000000002</c:v>
                </c:pt>
                <c:pt idx="2430">
                  <c:v>4055.8235</c:v>
                </c:pt>
                <c:pt idx="2431">
                  <c:v>4053.7529</c:v>
                </c:pt>
                <c:pt idx="2432">
                  <c:v>4006.0992999999999</c:v>
                </c:pt>
                <c:pt idx="2433">
                  <c:v>3998.1365000000001</c:v>
                </c:pt>
                <c:pt idx="2434">
                  <c:v>4018.8571000000002</c:v>
                </c:pt>
                <c:pt idx="2435">
                  <c:v>4040.1704</c:v>
                </c:pt>
                <c:pt idx="2436">
                  <c:v>4015.8211000000001</c:v>
                </c:pt>
                <c:pt idx="2437">
                  <c:v>3971.0569</c:v>
                </c:pt>
                <c:pt idx="2438">
                  <c:v>4003.3791999999999</c:v>
                </c:pt>
                <c:pt idx="2439">
                  <c:v>4069.4996999999998</c:v>
                </c:pt>
                <c:pt idx="2440">
                  <c:v>4016.0162999999998</c:v>
                </c:pt>
                <c:pt idx="2441">
                  <c:v>4050.0927000000001</c:v>
                </c:pt>
                <c:pt idx="2442">
                  <c:v>4026.1516000000001</c:v>
                </c:pt>
                <c:pt idx="2443">
                  <c:v>3980.8557999999998</c:v>
                </c:pt>
                <c:pt idx="2444">
                  <c:v>3985.2914000000001</c:v>
                </c:pt>
                <c:pt idx="2445">
                  <c:v>4035.3294000000001</c:v>
                </c:pt>
                <c:pt idx="2446">
                  <c:v>4030.4897999999998</c:v>
                </c:pt>
                <c:pt idx="2447">
                  <c:v>4067.8485000000001</c:v>
                </c:pt>
                <c:pt idx="2448">
                  <c:v>4054.5983999999999</c:v>
                </c:pt>
                <c:pt idx="2449">
                  <c:v>4041.5401000000002</c:v>
                </c:pt>
                <c:pt idx="2450">
                  <c:v>4053.6224000000002</c:v>
                </c:pt>
                <c:pt idx="2451">
                  <c:v>3991.2075</c:v>
                </c:pt>
                <c:pt idx="2452">
                  <c:v>4018.8973999999998</c:v>
                </c:pt>
                <c:pt idx="2453">
                  <c:v>4030.8548999999998</c:v>
                </c:pt>
                <c:pt idx="2454">
                  <c:v>4087.4011999999998</c:v>
                </c:pt>
                <c:pt idx="2455">
                  <c:v>4111.3924999999999</c:v>
                </c:pt>
                <c:pt idx="2456">
                  <c:v>4128.8118999999997</c:v>
                </c:pt>
                <c:pt idx="2457">
                  <c:v>4138.7505000000001</c:v>
                </c:pt>
                <c:pt idx="2458">
                  <c:v>4160.1594999999998</c:v>
                </c:pt>
                <c:pt idx="2459">
                  <c:v>4189.2977000000001</c:v>
                </c:pt>
                <c:pt idx="2460">
                  <c:v>4207.8131999999996</c:v>
                </c:pt>
                <c:pt idx="2461">
                  <c:v>4205.5862999999999</c:v>
                </c:pt>
                <c:pt idx="2462">
                  <c:v>4225.0010000000002</c:v>
                </c:pt>
                <c:pt idx="2463">
                  <c:v>4225.2393000000002</c:v>
                </c:pt>
                <c:pt idx="2464">
                  <c:v>4258.473</c:v>
                </c:pt>
                <c:pt idx="2465">
                  <c:v>4248.1163999999999</c:v>
                </c:pt>
                <c:pt idx="2466">
                  <c:v>4271.4168</c:v>
                </c:pt>
                <c:pt idx="2467">
                  <c:v>4285.3950000000004</c:v>
                </c:pt>
                <c:pt idx="2468">
                  <c:v>4336.5973999999997</c:v>
                </c:pt>
                <c:pt idx="2469">
                  <c:v>4382.6129000000001</c:v>
                </c:pt>
                <c:pt idx="2470">
                  <c:v>4389.8852999999999</c:v>
                </c:pt>
                <c:pt idx="2471">
                  <c:v>4365.0793999999996</c:v>
                </c:pt>
                <c:pt idx="2472">
                  <c:v>4381.2996000000003</c:v>
                </c:pt>
                <c:pt idx="2473">
                  <c:v>4302.0181000000002</c:v>
                </c:pt>
                <c:pt idx="2474">
                  <c:v>4256.1021000000001</c:v>
                </c:pt>
                <c:pt idx="2475">
                  <c:v>4275.8986000000004</c:v>
                </c:pt>
                <c:pt idx="2476">
                  <c:v>4245.8977999999997</c:v>
                </c:pt>
                <c:pt idx="2477">
                  <c:v>4271.2326000000003</c:v>
                </c:pt>
                <c:pt idx="2478">
                  <c:v>4274.1463999999996</c:v>
                </c:pt>
                <c:pt idx="2479">
                  <c:v>4148.8855999999996</c:v>
                </c:pt>
                <c:pt idx="2480">
                  <c:v>4050.4971999999998</c:v>
                </c:pt>
                <c:pt idx="2481">
                  <c:v>4012.0472</c:v>
                </c:pt>
                <c:pt idx="2482">
                  <c:v>3840.6527000000001</c:v>
                </c:pt>
                <c:pt idx="2483">
                  <c:v>3890.1046000000001</c:v>
                </c:pt>
                <c:pt idx="2484">
                  <c:v>3935.6324</c:v>
                </c:pt>
                <c:pt idx="2485">
                  <c:v>3966.9614000000001</c:v>
                </c:pt>
                <c:pt idx="2486">
                  <c:v>4052.7332000000001</c:v>
                </c:pt>
                <c:pt idx="2487">
                  <c:v>4071.0889000000002</c:v>
                </c:pt>
                <c:pt idx="2488">
                  <c:v>4118.4186</c:v>
                </c:pt>
                <c:pt idx="2489">
                  <c:v>4058.9805999999999</c:v>
                </c:pt>
                <c:pt idx="2490">
                  <c:v>4023.6415000000002</c:v>
                </c:pt>
                <c:pt idx="2491">
                  <c:v>4049.0862999999999</c:v>
                </c:pt>
                <c:pt idx="2492">
                  <c:v>4016.4609999999998</c:v>
                </c:pt>
                <c:pt idx="2493">
                  <c:v>4018.0970000000002</c:v>
                </c:pt>
                <c:pt idx="2494">
                  <c:v>4066.5646999999999</c:v>
                </c:pt>
                <c:pt idx="2495">
                  <c:v>4036.6536000000001</c:v>
                </c:pt>
                <c:pt idx="2496">
                  <c:v>4077.6001000000001</c:v>
                </c:pt>
                <c:pt idx="2497">
                  <c:v>4108.8652000000002</c:v>
                </c:pt>
                <c:pt idx="2498">
                  <c:v>4127.6661999999997</c:v>
                </c:pt>
                <c:pt idx="2499">
                  <c:v>4091.2532999999999</c:v>
                </c:pt>
                <c:pt idx="2500">
                  <c:v>4073.3447000000001</c:v>
                </c:pt>
                <c:pt idx="2501">
                  <c:v>4096.1626999999999</c:v>
                </c:pt>
                <c:pt idx="2502">
                  <c:v>4056.4225999999999</c:v>
                </c:pt>
                <c:pt idx="2503">
                  <c:v>4074.2478999999998</c:v>
                </c:pt>
                <c:pt idx="2504">
                  <c:v>4077.7040999999999</c:v>
                </c:pt>
                <c:pt idx="2505">
                  <c:v>4061.0502000000001</c:v>
                </c:pt>
                <c:pt idx="2506">
                  <c:v>4020.3490000000002</c:v>
                </c:pt>
                <c:pt idx="2507">
                  <c:v>3904.9355</c:v>
                </c:pt>
                <c:pt idx="2508">
                  <c:v>3879.893</c:v>
                </c:pt>
                <c:pt idx="2509">
                  <c:v>3913.2689</c:v>
                </c:pt>
                <c:pt idx="2510">
                  <c:v>3842.7154999999998</c:v>
                </c:pt>
                <c:pt idx="2511">
                  <c:v>3894.0497999999998</c:v>
                </c:pt>
                <c:pt idx="2512">
                  <c:v>3898.4976999999999</c:v>
                </c:pt>
                <c:pt idx="2513">
                  <c:v>3886.9189000000001</c:v>
                </c:pt>
                <c:pt idx="2514">
                  <c:v>3862.4796000000001</c:v>
                </c:pt>
                <c:pt idx="2515">
                  <c:v>3854.8625000000002</c:v>
                </c:pt>
                <c:pt idx="2516">
                  <c:v>3852.9292</c:v>
                </c:pt>
                <c:pt idx="2517">
                  <c:v>3927.1729</c:v>
                </c:pt>
                <c:pt idx="2518">
                  <c:v>3938.3434000000002</c:v>
                </c:pt>
                <c:pt idx="2519">
                  <c:v>3898.6354000000001</c:v>
                </c:pt>
                <c:pt idx="2520">
                  <c:v>3871.1442999999999</c:v>
                </c:pt>
                <c:pt idx="2521">
                  <c:v>3808.8629999999998</c:v>
                </c:pt>
                <c:pt idx="2522">
                  <c:v>3748.6412</c:v>
                </c:pt>
                <c:pt idx="2523">
                  <c:v>3766.2820000000002</c:v>
                </c:pt>
                <c:pt idx="2524">
                  <c:v>3811.8429999999998</c:v>
                </c:pt>
                <c:pt idx="2525">
                  <c:v>3760.8543</c:v>
                </c:pt>
                <c:pt idx="2526">
                  <c:v>3766.3256999999999</c:v>
                </c:pt>
                <c:pt idx="2527">
                  <c:v>3843.4886000000001</c:v>
                </c:pt>
                <c:pt idx="2528">
                  <c:v>3828.7015000000001</c:v>
                </c:pt>
                <c:pt idx="2529">
                  <c:v>3755.4940999999999</c:v>
                </c:pt>
                <c:pt idx="2530">
                  <c:v>3756.8764999999999</c:v>
                </c:pt>
                <c:pt idx="2531">
                  <c:v>3763.6460999999999</c:v>
                </c:pt>
                <c:pt idx="2532">
                  <c:v>3793.0001000000002</c:v>
                </c:pt>
                <c:pt idx="2533">
                  <c:v>3774.5981000000002</c:v>
                </c:pt>
                <c:pt idx="2534">
                  <c:v>3834.1876999999999</c:v>
                </c:pt>
                <c:pt idx="2535">
                  <c:v>3878.6767</c:v>
                </c:pt>
                <c:pt idx="2536">
                  <c:v>3871.6152000000002</c:v>
                </c:pt>
                <c:pt idx="2537">
                  <c:v>3893.0565000000001</c:v>
                </c:pt>
                <c:pt idx="2538">
                  <c:v>3872.8382999999999</c:v>
                </c:pt>
                <c:pt idx="2539">
                  <c:v>3909.2932999999998</c:v>
                </c:pt>
                <c:pt idx="2540">
                  <c:v>3924.0974999999999</c:v>
                </c:pt>
                <c:pt idx="2541">
                  <c:v>3892.8442</c:v>
                </c:pt>
                <c:pt idx="2542">
                  <c:v>3864.0506999999998</c:v>
                </c:pt>
                <c:pt idx="2543">
                  <c:v>3903.0637000000002</c:v>
                </c:pt>
                <c:pt idx="2544">
                  <c:v>3921.2420999999999</c:v>
                </c:pt>
                <c:pt idx="2545">
                  <c:v>3906.2080999999998</c:v>
                </c:pt>
                <c:pt idx="2546">
                  <c:v>3854.5825</c:v>
                </c:pt>
                <c:pt idx="2547">
                  <c:v>3827.2170000000001</c:v>
                </c:pt>
                <c:pt idx="2548">
                  <c:v>3816.498</c:v>
                </c:pt>
                <c:pt idx="2549">
                  <c:v>3833.2599</c:v>
                </c:pt>
                <c:pt idx="2550">
                  <c:v>3804.0093000000002</c:v>
                </c:pt>
                <c:pt idx="2551">
                  <c:v>3723.3724000000002</c:v>
                </c:pt>
                <c:pt idx="2552">
                  <c:v>3802.3759</c:v>
                </c:pt>
                <c:pt idx="2553">
                  <c:v>3770.5891000000001</c:v>
                </c:pt>
                <c:pt idx="2554">
                  <c:v>3807.5781000000002</c:v>
                </c:pt>
                <c:pt idx="2555">
                  <c:v>3845.3164000000002</c:v>
                </c:pt>
                <c:pt idx="2556">
                  <c:v>3837.3510999999999</c:v>
                </c:pt>
                <c:pt idx="2557">
                  <c:v>3831.0128</c:v>
                </c:pt>
                <c:pt idx="2558">
                  <c:v>3779.6158999999998</c:v>
                </c:pt>
                <c:pt idx="2559">
                  <c:v>3779.9818</c:v>
                </c:pt>
                <c:pt idx="2560">
                  <c:v>3825.9533999999999</c:v>
                </c:pt>
                <c:pt idx="2561">
                  <c:v>3788.3391000000001</c:v>
                </c:pt>
                <c:pt idx="2562">
                  <c:v>3773.3654999999999</c:v>
                </c:pt>
                <c:pt idx="2563">
                  <c:v>3753.4337999999998</c:v>
                </c:pt>
                <c:pt idx="2564">
                  <c:v>3621.1165999999998</c:v>
                </c:pt>
                <c:pt idx="2565">
                  <c:v>3635.4436000000001</c:v>
                </c:pt>
                <c:pt idx="2566">
                  <c:v>3592.9650000000001</c:v>
                </c:pt>
                <c:pt idx="2567">
                  <c:v>3608.9045999999998</c:v>
                </c:pt>
                <c:pt idx="2568">
                  <c:v>3560.4776999999999</c:v>
                </c:pt>
                <c:pt idx="2569">
                  <c:v>3531.1111999999998</c:v>
                </c:pt>
                <c:pt idx="2570">
                  <c:v>3459.2620999999999</c:v>
                </c:pt>
                <c:pt idx="2571">
                  <c:v>3423.5255000000002</c:v>
                </c:pt>
                <c:pt idx="2572">
                  <c:v>3510.9845</c:v>
                </c:pt>
                <c:pt idx="2573">
                  <c:v>3407.9638</c:v>
                </c:pt>
                <c:pt idx="2574">
                  <c:v>3409.2800999999999</c:v>
                </c:pt>
                <c:pt idx="2575">
                  <c:v>3363.7473</c:v>
                </c:pt>
                <c:pt idx="2576">
                  <c:v>3342.4378999999999</c:v>
                </c:pt>
                <c:pt idx="2577">
                  <c:v>3365.1226999999999</c:v>
                </c:pt>
                <c:pt idx="2578">
                  <c:v>3459.1837</c:v>
                </c:pt>
                <c:pt idx="2579">
                  <c:v>3467.5155</c:v>
                </c:pt>
                <c:pt idx="2580">
                  <c:v>3407.5297</c:v>
                </c:pt>
                <c:pt idx="2581">
                  <c:v>3481.0558999999998</c:v>
                </c:pt>
                <c:pt idx="2582">
                  <c:v>3492.6896999999999</c:v>
                </c:pt>
                <c:pt idx="2583">
                  <c:v>3472.0859</c:v>
                </c:pt>
                <c:pt idx="2584">
                  <c:v>3449.3773000000001</c:v>
                </c:pt>
                <c:pt idx="2585">
                  <c:v>3431.3227000000002</c:v>
                </c:pt>
                <c:pt idx="2586">
                  <c:v>3428.3429999999998</c:v>
                </c:pt>
                <c:pt idx="2587">
                  <c:v>3492.8937999999998</c:v>
                </c:pt>
                <c:pt idx="2588">
                  <c:v>3525.7503000000002</c:v>
                </c:pt>
                <c:pt idx="2589">
                  <c:v>3581.7057</c:v>
                </c:pt>
                <c:pt idx="2590">
                  <c:v>3577.7521999999999</c:v>
                </c:pt>
                <c:pt idx="2591">
                  <c:v>3536.2456000000002</c:v>
                </c:pt>
                <c:pt idx="2592">
                  <c:v>3521.2269000000001</c:v>
                </c:pt>
                <c:pt idx="2593">
                  <c:v>3515.0794000000001</c:v>
                </c:pt>
                <c:pt idx="2594">
                  <c:v>3517.6568000000002</c:v>
                </c:pt>
                <c:pt idx="2595">
                  <c:v>3447.3881999999999</c:v>
                </c:pt>
                <c:pt idx="2596">
                  <c:v>3370.9578999999999</c:v>
                </c:pt>
                <c:pt idx="2597">
                  <c:v>3315.2838999999999</c:v>
                </c:pt>
                <c:pt idx="2598">
                  <c:v>3273.2728000000002</c:v>
                </c:pt>
                <c:pt idx="2599">
                  <c:v>3368.8694999999998</c:v>
                </c:pt>
                <c:pt idx="2600">
                  <c:v>3314.5075000000002</c:v>
                </c:pt>
                <c:pt idx="2601">
                  <c:v>3397.5297999999998</c:v>
                </c:pt>
                <c:pt idx="2602">
                  <c:v>3405.0191</c:v>
                </c:pt>
                <c:pt idx="2603">
                  <c:v>3390.3440999999998</c:v>
                </c:pt>
                <c:pt idx="2604">
                  <c:v>3372.9137000000001</c:v>
                </c:pt>
                <c:pt idx="2605">
                  <c:v>3291.9760000000001</c:v>
                </c:pt>
                <c:pt idx="2606">
                  <c:v>3276.7276000000002</c:v>
                </c:pt>
                <c:pt idx="2607">
                  <c:v>3229.6197999999999</c:v>
                </c:pt>
                <c:pt idx="2608">
                  <c:v>3267.2498000000001</c:v>
                </c:pt>
                <c:pt idx="2609">
                  <c:v>3326.6489000000001</c:v>
                </c:pt>
                <c:pt idx="2610">
                  <c:v>3307.9544999999998</c:v>
                </c:pt>
                <c:pt idx="2611">
                  <c:v>3320.0257000000001</c:v>
                </c:pt>
                <c:pt idx="2612">
                  <c:v>3325.3346999999999</c:v>
                </c:pt>
                <c:pt idx="2613">
                  <c:v>3406.5735</c:v>
                </c:pt>
                <c:pt idx="2614">
                  <c:v>3400.1705000000002</c:v>
                </c:pt>
                <c:pt idx="2615">
                  <c:v>3386.5736000000002</c:v>
                </c:pt>
                <c:pt idx="2616">
                  <c:v>3351.0942</c:v>
                </c:pt>
                <c:pt idx="2617">
                  <c:v>3334.5036</c:v>
                </c:pt>
                <c:pt idx="2618">
                  <c:v>3321.8247999999999</c:v>
                </c:pt>
                <c:pt idx="2619">
                  <c:v>3363.8984</c:v>
                </c:pt>
                <c:pt idx="2620">
                  <c:v>3298.1412</c:v>
                </c:pt>
                <c:pt idx="2621">
                  <c:v>3262.8807999999999</c:v>
                </c:pt>
                <c:pt idx="2622">
                  <c:v>3277.6437999999998</c:v>
                </c:pt>
                <c:pt idx="2623">
                  <c:v>3230.0681</c:v>
                </c:pt>
                <c:pt idx="2624">
                  <c:v>3224.2116000000001</c:v>
                </c:pt>
                <c:pt idx="2625">
                  <c:v>3202.0248000000001</c:v>
                </c:pt>
                <c:pt idx="2626">
                  <c:v>3236.5662000000002</c:v>
                </c:pt>
                <c:pt idx="2627">
                  <c:v>3242.0902000000001</c:v>
                </c:pt>
                <c:pt idx="2628">
                  <c:v>3204.9223999999999</c:v>
                </c:pt>
                <c:pt idx="2629">
                  <c:v>3269.4319</c:v>
                </c:pt>
                <c:pt idx="2630">
                  <c:v>3312.4823000000001</c:v>
                </c:pt>
                <c:pt idx="2631">
                  <c:v>3310.1257999999998</c:v>
                </c:pt>
                <c:pt idx="2632">
                  <c:v>3410.4856</c:v>
                </c:pt>
                <c:pt idx="2633">
                  <c:v>3379.8042999999998</c:v>
                </c:pt>
                <c:pt idx="2634">
                  <c:v>3417.2413000000001</c:v>
                </c:pt>
                <c:pt idx="2635">
                  <c:v>3403.5902000000001</c:v>
                </c:pt>
                <c:pt idx="2636">
                  <c:v>3438.8649</c:v>
                </c:pt>
                <c:pt idx="2637">
                  <c:v>3290.8987999999999</c:v>
                </c:pt>
                <c:pt idx="2638">
                  <c:v>3288.6905999999999</c:v>
                </c:pt>
                <c:pt idx="2639">
                  <c:v>3281.5978</c:v>
                </c:pt>
                <c:pt idx="2640">
                  <c:v>3124.1138999999998</c:v>
                </c:pt>
                <c:pt idx="2641">
                  <c:v>3170.7262000000001</c:v>
                </c:pt>
                <c:pt idx="2642">
                  <c:v>3126.4515999999999</c:v>
                </c:pt>
                <c:pt idx="2643">
                  <c:v>3100.9738000000002</c:v>
                </c:pt>
                <c:pt idx="2644">
                  <c:v>3118.2462999999998</c:v>
                </c:pt>
                <c:pt idx="2645">
                  <c:v>3044.3917999999999</c:v>
                </c:pt>
                <c:pt idx="2646">
                  <c:v>3134.9454999999998</c:v>
                </c:pt>
                <c:pt idx="2647">
                  <c:v>3270.2732000000001</c:v>
                </c:pt>
                <c:pt idx="2648">
                  <c:v>3183.4256999999998</c:v>
                </c:pt>
                <c:pt idx="2649">
                  <c:v>3188.2017999999998</c:v>
                </c:pt>
                <c:pt idx="2650">
                  <c:v>3194.3083999999999</c:v>
                </c:pt>
                <c:pt idx="2651">
                  <c:v>3173.6350000000002</c:v>
                </c:pt>
                <c:pt idx="2652">
                  <c:v>3076.8888999999999</c:v>
                </c:pt>
                <c:pt idx="2653">
                  <c:v>3110.2604999999999</c:v>
                </c:pt>
                <c:pt idx="2654">
                  <c:v>3153.8234000000002</c:v>
                </c:pt>
                <c:pt idx="2655">
                  <c:v>3177.0338000000002</c:v>
                </c:pt>
                <c:pt idx="2656">
                  <c:v>3290.2455</c:v>
                </c:pt>
                <c:pt idx="2657">
                  <c:v>3262.8350999999998</c:v>
                </c:pt>
                <c:pt idx="2658">
                  <c:v>3243.1504</c:v>
                </c:pt>
                <c:pt idx="2659">
                  <c:v>3221.9101000000001</c:v>
                </c:pt>
                <c:pt idx="2660">
                  <c:v>3212.7737000000002</c:v>
                </c:pt>
                <c:pt idx="2661">
                  <c:v>3167.4441999999999</c:v>
                </c:pt>
                <c:pt idx="2662">
                  <c:v>3205.1406999999999</c:v>
                </c:pt>
                <c:pt idx="2663">
                  <c:v>3237.3823000000002</c:v>
                </c:pt>
                <c:pt idx="2664">
                  <c:v>3204.9427000000001</c:v>
                </c:pt>
                <c:pt idx="2665">
                  <c:v>3242.3715000000002</c:v>
                </c:pt>
                <c:pt idx="2666">
                  <c:v>3257.6734999999999</c:v>
                </c:pt>
                <c:pt idx="2667">
                  <c:v>3294.6030999999998</c:v>
                </c:pt>
                <c:pt idx="2668">
                  <c:v>3218.4076</c:v>
                </c:pt>
                <c:pt idx="2669">
                  <c:v>3226.4917999999998</c:v>
                </c:pt>
                <c:pt idx="2670">
                  <c:v>3214.4272999999998</c:v>
                </c:pt>
                <c:pt idx="2671">
                  <c:v>3143.4751999999999</c:v>
                </c:pt>
                <c:pt idx="2672">
                  <c:v>3141.2433999999998</c:v>
                </c:pt>
                <c:pt idx="2673">
                  <c:v>3137.2413000000001</c:v>
                </c:pt>
                <c:pt idx="2674">
                  <c:v>3178.9326000000001</c:v>
                </c:pt>
                <c:pt idx="2675">
                  <c:v>3137.6541999999999</c:v>
                </c:pt>
                <c:pt idx="2676">
                  <c:v>3172.69</c:v>
                </c:pt>
                <c:pt idx="2677">
                  <c:v>3260.9502000000002</c:v>
                </c:pt>
                <c:pt idx="2678">
                  <c:v>3267.7094999999999</c:v>
                </c:pt>
                <c:pt idx="2679">
                  <c:v>3252.0041000000001</c:v>
                </c:pt>
                <c:pt idx="2680">
                  <c:v>3181.6729999999998</c:v>
                </c:pt>
                <c:pt idx="2681">
                  <c:v>3181.5646000000002</c:v>
                </c:pt>
                <c:pt idx="2682">
                  <c:v>3144.7631000000001</c:v>
                </c:pt>
                <c:pt idx="2683">
                  <c:v>3159.8157999999999</c:v>
                </c:pt>
                <c:pt idx="2684">
                  <c:v>3170.6091999999999</c:v>
                </c:pt>
                <c:pt idx="2685">
                  <c:v>3219.6923999999999</c:v>
                </c:pt>
                <c:pt idx="2686">
                  <c:v>3165.9108999999999</c:v>
                </c:pt>
                <c:pt idx="2687">
                  <c:v>3161.1966000000002</c:v>
                </c:pt>
                <c:pt idx="2688">
                  <c:v>3128.4265</c:v>
                </c:pt>
                <c:pt idx="2689">
                  <c:v>3091.1255000000001</c:v>
                </c:pt>
                <c:pt idx="2690">
                  <c:v>3067.4169000000002</c:v>
                </c:pt>
                <c:pt idx="2691">
                  <c:v>3029.3951000000002</c:v>
                </c:pt>
                <c:pt idx="2692">
                  <c:v>3038.1981000000001</c:v>
                </c:pt>
                <c:pt idx="2693">
                  <c:v>3017.2815000000001</c:v>
                </c:pt>
                <c:pt idx="2694">
                  <c:v>3002.0327000000002</c:v>
                </c:pt>
                <c:pt idx="2695">
                  <c:v>2990.5057000000002</c:v>
                </c:pt>
                <c:pt idx="2696">
                  <c:v>3010.6536000000001</c:v>
                </c:pt>
                <c:pt idx="2697">
                  <c:v>2969.5353</c:v>
                </c:pt>
                <c:pt idx="2698">
                  <c:v>2964.8420999999998</c:v>
                </c:pt>
                <c:pt idx="2699">
                  <c:v>3035.8741</c:v>
                </c:pt>
                <c:pt idx="2700">
                  <c:v>3054.3029999999999</c:v>
                </c:pt>
                <c:pt idx="2701">
                  <c:v>3047.7035000000001</c:v>
                </c:pt>
                <c:pt idx="2702">
                  <c:v>3078.4758999999999</c:v>
                </c:pt>
                <c:pt idx="2703">
                  <c:v>3072.6864</c:v>
                </c:pt>
                <c:pt idx="2704">
                  <c:v>3094.7782000000002</c:v>
                </c:pt>
                <c:pt idx="2705">
                  <c:v>3067.7845000000002</c:v>
                </c:pt>
                <c:pt idx="2706">
                  <c:v>3127.9904000000001</c:v>
                </c:pt>
                <c:pt idx="2707">
                  <c:v>3128.6516999999999</c:v>
                </c:pt>
                <c:pt idx="2708">
                  <c:v>3111.4168</c:v>
                </c:pt>
                <c:pt idx="2709">
                  <c:v>3168.1738999999998</c:v>
                </c:pt>
                <c:pt idx="2710">
                  <c:v>3185.6363999999999</c:v>
                </c:pt>
                <c:pt idx="2711">
                  <c:v>3143.3171000000002</c:v>
                </c:pt>
                <c:pt idx="2712">
                  <c:v>3141.0531999999998</c:v>
                </c:pt>
                <c:pt idx="2713">
                  <c:v>3158.7817</c:v>
                </c:pt>
                <c:pt idx="2714">
                  <c:v>3184.4695999999999</c:v>
                </c:pt>
                <c:pt idx="2715">
                  <c:v>3183.7777000000001</c:v>
                </c:pt>
                <c:pt idx="2716">
                  <c:v>3193.9697999999999</c:v>
                </c:pt>
                <c:pt idx="2717">
                  <c:v>3168.4829</c:v>
                </c:pt>
                <c:pt idx="2718">
                  <c:v>3201.6331</c:v>
                </c:pt>
                <c:pt idx="2719">
                  <c:v>3247.3971000000001</c:v>
                </c:pt>
                <c:pt idx="2720">
                  <c:v>3306.4724999999999</c:v>
                </c:pt>
                <c:pt idx="2721">
                  <c:v>3330.3353000000002</c:v>
                </c:pt>
                <c:pt idx="2722">
                  <c:v>3397.0275999999999</c:v>
                </c:pt>
                <c:pt idx="2723">
                  <c:v>3402.1403</c:v>
                </c:pt>
                <c:pt idx="2724">
                  <c:v>3338.7046999999998</c:v>
                </c:pt>
                <c:pt idx="2725">
                  <c:v>3445.7447999999999</c:v>
                </c:pt>
                <c:pt idx="2726">
                  <c:v>3439.6078000000002</c:v>
                </c:pt>
                <c:pt idx="2727">
                  <c:v>3451.9272999999998</c:v>
                </c:pt>
                <c:pt idx="2728">
                  <c:v>3442.7055999999998</c:v>
                </c:pt>
                <c:pt idx="2729">
                  <c:v>3520.1181999999999</c:v>
                </c:pt>
                <c:pt idx="2730">
                  <c:v>3729.4830999999999</c:v>
                </c:pt>
                <c:pt idx="2731">
                  <c:v>3684.6934999999999</c:v>
                </c:pt>
                <c:pt idx="2732">
                  <c:v>3678.3921</c:v>
                </c:pt>
                <c:pt idx="2733">
                  <c:v>3669.3703</c:v>
                </c:pt>
                <c:pt idx="2734">
                  <c:v>3749.7143000000001</c:v>
                </c:pt>
                <c:pt idx="2735">
                  <c:v>3794.1039999999998</c:v>
                </c:pt>
                <c:pt idx="2736">
                  <c:v>3816.0131999999999</c:v>
                </c:pt>
                <c:pt idx="2737">
                  <c:v>3848.0902999999998</c:v>
                </c:pt>
                <c:pt idx="2738">
                  <c:v>3808.8497000000002</c:v>
                </c:pt>
                <c:pt idx="2739">
                  <c:v>3657.5790000000002</c:v>
                </c:pt>
                <c:pt idx="2740">
                  <c:v>3729.9546</c:v>
                </c:pt>
                <c:pt idx="2741">
                  <c:v>3755.3519000000001</c:v>
                </c:pt>
                <c:pt idx="2742">
                  <c:v>3724.1941000000002</c:v>
                </c:pt>
                <c:pt idx="2743">
                  <c:v>3698.4857999999999</c:v>
                </c:pt>
                <c:pt idx="2744">
                  <c:v>3745.0050000000001</c:v>
                </c:pt>
                <c:pt idx="2745">
                  <c:v>3851.7478999999998</c:v>
                </c:pt>
                <c:pt idx="2746">
                  <c:v>3833.9625999999998</c:v>
                </c:pt>
                <c:pt idx="2747">
                  <c:v>3835.4396999999999</c:v>
                </c:pt>
                <c:pt idx="2748">
                  <c:v>3836.8912999999998</c:v>
                </c:pt>
                <c:pt idx="2749">
                  <c:v>3833.8013000000001</c:v>
                </c:pt>
                <c:pt idx="2750">
                  <c:v>3742.8252000000002</c:v>
                </c:pt>
                <c:pt idx="2751">
                  <c:v>3700.4387999999999</c:v>
                </c:pt>
                <c:pt idx="2752">
                  <c:v>3743.3878</c:v>
                </c:pt>
                <c:pt idx="2753">
                  <c:v>3728.3953000000001</c:v>
                </c:pt>
                <c:pt idx="2754">
                  <c:v>3872.3411999999998</c:v>
                </c:pt>
                <c:pt idx="2755">
                  <c:v>3973.9279999999999</c:v>
                </c:pt>
                <c:pt idx="2756">
                  <c:v>3971.2851999999998</c:v>
                </c:pt>
                <c:pt idx="2757">
                  <c:v>4022.1565999999998</c:v>
                </c:pt>
                <c:pt idx="2758">
                  <c:v>4062.2309</c:v>
                </c:pt>
                <c:pt idx="2759">
                  <c:v>4057.2285999999999</c:v>
                </c:pt>
                <c:pt idx="2760">
                  <c:v>4075.4301</c:v>
                </c:pt>
                <c:pt idx="2761">
                  <c:v>4085.8470000000002</c:v>
                </c:pt>
                <c:pt idx="2762">
                  <c:v>3997.5778</c:v>
                </c:pt>
                <c:pt idx="2763">
                  <c:v>3988.6167999999998</c:v>
                </c:pt>
                <c:pt idx="2764">
                  <c:v>3975.5243999999998</c:v>
                </c:pt>
                <c:pt idx="2765">
                  <c:v>4085.7891</c:v>
                </c:pt>
                <c:pt idx="2766">
                  <c:v>4087.2397999999998</c:v>
                </c:pt>
                <c:pt idx="2767">
                  <c:v>4072.0753</c:v>
                </c:pt>
                <c:pt idx="2768">
                  <c:v>4120.6077999999998</c:v>
                </c:pt>
                <c:pt idx="2769">
                  <c:v>4025.6109000000001</c:v>
                </c:pt>
                <c:pt idx="2770">
                  <c:v>4019.0052999999998</c:v>
                </c:pt>
                <c:pt idx="2771">
                  <c:v>4030.0886999999998</c:v>
                </c:pt>
                <c:pt idx="2772">
                  <c:v>3941.8159999999998</c:v>
                </c:pt>
                <c:pt idx="2773">
                  <c:v>3889.2748000000001</c:v>
                </c:pt>
                <c:pt idx="2774">
                  <c:v>3900.3339000000001</c:v>
                </c:pt>
                <c:pt idx="2775">
                  <c:v>3913.2109999999998</c:v>
                </c:pt>
                <c:pt idx="2776">
                  <c:v>3684.6167999999998</c:v>
                </c:pt>
                <c:pt idx="2777">
                  <c:v>3720.6684</c:v>
                </c:pt>
                <c:pt idx="2778">
                  <c:v>3667.4573999999998</c:v>
                </c:pt>
                <c:pt idx="2779">
                  <c:v>3599.7001</c:v>
                </c:pt>
                <c:pt idx="2780">
                  <c:v>3730.4513000000002</c:v>
                </c:pt>
                <c:pt idx="2781">
                  <c:v>3668.7255</c:v>
                </c:pt>
                <c:pt idx="2782">
                  <c:v>3645.1502999999998</c:v>
                </c:pt>
                <c:pt idx="2783">
                  <c:v>3727.0922999999998</c:v>
                </c:pt>
                <c:pt idx="2784">
                  <c:v>3743.9634999999998</c:v>
                </c:pt>
                <c:pt idx="2785">
                  <c:v>3648.7609000000002</c:v>
                </c:pt>
                <c:pt idx="2786">
                  <c:v>3617.7923999999998</c:v>
                </c:pt>
                <c:pt idx="2787">
                  <c:v>3666.7761999999998</c:v>
                </c:pt>
                <c:pt idx="2788">
                  <c:v>3649.3796000000002</c:v>
                </c:pt>
                <c:pt idx="2789">
                  <c:v>3583.9645999999998</c:v>
                </c:pt>
                <c:pt idx="2790">
                  <c:v>3593.9139</c:v>
                </c:pt>
                <c:pt idx="2791">
                  <c:v>3637.1970999999999</c:v>
                </c:pt>
                <c:pt idx="2792">
                  <c:v>3672.2604999999999</c:v>
                </c:pt>
                <c:pt idx="2793">
                  <c:v>3663.9090000000001</c:v>
                </c:pt>
                <c:pt idx="2794">
                  <c:v>3641.1833000000001</c:v>
                </c:pt>
                <c:pt idx="2795">
                  <c:v>3629.7892999999999</c:v>
                </c:pt>
                <c:pt idx="2796">
                  <c:v>3632.0127000000002</c:v>
                </c:pt>
                <c:pt idx="2797">
                  <c:v>3598.4666000000002</c:v>
                </c:pt>
                <c:pt idx="2798">
                  <c:v>3597.105</c:v>
                </c:pt>
                <c:pt idx="2799">
                  <c:v>3564.6777999999999</c:v>
                </c:pt>
                <c:pt idx="2800">
                  <c:v>3610.7435</c:v>
                </c:pt>
                <c:pt idx="2801">
                  <c:v>3719.2759000000001</c:v>
                </c:pt>
                <c:pt idx="2802">
                  <c:v>3691.0956999999999</c:v>
                </c:pt>
                <c:pt idx="2803">
                  <c:v>3685.3933000000002</c:v>
                </c:pt>
                <c:pt idx="2804">
                  <c:v>3654.8798999999999</c:v>
                </c:pt>
                <c:pt idx="2805">
                  <c:v>3654.8247999999999</c:v>
                </c:pt>
                <c:pt idx="2806">
                  <c:v>3667.6185</c:v>
                </c:pt>
                <c:pt idx="2807">
                  <c:v>3715.9380999999998</c:v>
                </c:pt>
                <c:pt idx="2808">
                  <c:v>3828.5183000000002</c:v>
                </c:pt>
                <c:pt idx="2809">
                  <c:v>3833.9382999999998</c:v>
                </c:pt>
                <c:pt idx="2810">
                  <c:v>3841.2658999999999</c:v>
                </c:pt>
                <c:pt idx="2811">
                  <c:v>3801.3098</c:v>
                </c:pt>
                <c:pt idx="2812">
                  <c:v>3794.3310000000001</c:v>
                </c:pt>
                <c:pt idx="2813">
                  <c:v>3834.8172</c:v>
                </c:pt>
                <c:pt idx="2814">
                  <c:v>3825.5873000000001</c:v>
                </c:pt>
                <c:pt idx="2815">
                  <c:v>3935.8116</c:v>
                </c:pt>
                <c:pt idx="2816">
                  <c:v>3937.1691000000001</c:v>
                </c:pt>
                <c:pt idx="2817">
                  <c:v>3893.5340999999999</c:v>
                </c:pt>
                <c:pt idx="2818">
                  <c:v>3873.1019000000001</c:v>
                </c:pt>
                <c:pt idx="2819">
                  <c:v>3893.2024999999999</c:v>
                </c:pt>
                <c:pt idx="2820">
                  <c:v>3802.7896999999998</c:v>
                </c:pt>
                <c:pt idx="2821">
                  <c:v>3793.1297</c:v>
                </c:pt>
                <c:pt idx="2822">
                  <c:v>3786.739</c:v>
                </c:pt>
                <c:pt idx="2823">
                  <c:v>3785.221</c:v>
                </c:pt>
                <c:pt idx="2824">
                  <c:v>3808.7311</c:v>
                </c:pt>
                <c:pt idx="2825">
                  <c:v>3824.1878000000002</c:v>
                </c:pt>
                <c:pt idx="2826">
                  <c:v>3806.8449000000001</c:v>
                </c:pt>
                <c:pt idx="2827">
                  <c:v>3804.6383999999998</c:v>
                </c:pt>
                <c:pt idx="2828">
                  <c:v>3768.4018999999998</c:v>
                </c:pt>
                <c:pt idx="2829">
                  <c:v>3807.9551000000001</c:v>
                </c:pt>
                <c:pt idx="2830">
                  <c:v>3781.6831999999999</c:v>
                </c:pt>
                <c:pt idx="2831">
                  <c:v>3789.9135000000001</c:v>
                </c:pt>
                <c:pt idx="2832">
                  <c:v>3819.8325</c:v>
                </c:pt>
                <c:pt idx="2833">
                  <c:v>3851.0664999999999</c:v>
                </c:pt>
                <c:pt idx="2834">
                  <c:v>3858.5688</c:v>
                </c:pt>
                <c:pt idx="2835">
                  <c:v>3854.2703999999999</c:v>
                </c:pt>
                <c:pt idx="2836">
                  <c:v>3870.3175999999999</c:v>
                </c:pt>
                <c:pt idx="2837">
                  <c:v>3835.3589000000002</c:v>
                </c:pt>
                <c:pt idx="2838">
                  <c:v>3803.4694</c:v>
                </c:pt>
                <c:pt idx="2839">
                  <c:v>3747.4378999999999</c:v>
                </c:pt>
                <c:pt idx="2840">
                  <c:v>3675.6884</c:v>
                </c:pt>
                <c:pt idx="2841">
                  <c:v>3636.3289</c:v>
                </c:pt>
                <c:pt idx="2842">
                  <c:v>3621.431</c:v>
                </c:pt>
                <c:pt idx="2843">
                  <c:v>3669.2936</c:v>
                </c:pt>
                <c:pt idx="2844">
                  <c:v>3633.5295999999998</c:v>
                </c:pt>
                <c:pt idx="2845">
                  <c:v>3699.1046999999999</c:v>
                </c:pt>
                <c:pt idx="2846">
                  <c:v>3665.7514999999999</c:v>
                </c:pt>
                <c:pt idx="2847">
                  <c:v>3682.4014999999999</c:v>
                </c:pt>
                <c:pt idx="2848">
                  <c:v>3694.0005999999998</c:v>
                </c:pt>
                <c:pt idx="2849">
                  <c:v>3710.5385999999999</c:v>
                </c:pt>
                <c:pt idx="2850">
                  <c:v>3791.0945999999999</c:v>
                </c:pt>
                <c:pt idx="2851">
                  <c:v>3787.7323999999999</c:v>
                </c:pt>
                <c:pt idx="2852">
                  <c:v>3781.7579000000001</c:v>
                </c:pt>
                <c:pt idx="2853">
                  <c:v>3793.5061000000001</c:v>
                </c:pt>
                <c:pt idx="2854">
                  <c:v>3820.8638000000001</c:v>
                </c:pt>
                <c:pt idx="2855">
                  <c:v>3765.9105</c:v>
                </c:pt>
                <c:pt idx="2856">
                  <c:v>3816.9459000000002</c:v>
                </c:pt>
                <c:pt idx="2857">
                  <c:v>3802.5844000000002</c:v>
                </c:pt>
                <c:pt idx="2858">
                  <c:v>3790.1867000000002</c:v>
                </c:pt>
                <c:pt idx="2859">
                  <c:v>3799.5862999999999</c:v>
                </c:pt>
                <c:pt idx="2860">
                  <c:v>3848.3198000000002</c:v>
                </c:pt>
                <c:pt idx="2861">
                  <c:v>3853.6106</c:v>
                </c:pt>
                <c:pt idx="2862">
                  <c:v>3886.0012000000002</c:v>
                </c:pt>
                <c:pt idx="2863">
                  <c:v>3925.3229999999999</c:v>
                </c:pt>
                <c:pt idx="2864">
                  <c:v>3948.5075000000002</c:v>
                </c:pt>
                <c:pt idx="2865">
                  <c:v>3972.9484000000002</c:v>
                </c:pt>
                <c:pt idx="2866">
                  <c:v>3959.2649999999999</c:v>
                </c:pt>
                <c:pt idx="2867">
                  <c:v>3930.0999000000002</c:v>
                </c:pt>
                <c:pt idx="2868">
                  <c:v>3972.3798999999999</c:v>
                </c:pt>
                <c:pt idx="2869">
                  <c:v>3957.7154</c:v>
                </c:pt>
                <c:pt idx="2870">
                  <c:v>3891.2208000000001</c:v>
                </c:pt>
                <c:pt idx="2871">
                  <c:v>3910.0837000000001</c:v>
                </c:pt>
                <c:pt idx="2872">
                  <c:v>3924.3823000000002</c:v>
                </c:pt>
                <c:pt idx="2873">
                  <c:v>3935.6511</c:v>
                </c:pt>
                <c:pt idx="2874">
                  <c:v>3890.6615999999999</c:v>
                </c:pt>
                <c:pt idx="2875">
                  <c:v>3901.0758000000001</c:v>
                </c:pt>
                <c:pt idx="2876">
                  <c:v>3870.9837000000002</c:v>
                </c:pt>
                <c:pt idx="2877">
                  <c:v>3841.1388000000002</c:v>
                </c:pt>
                <c:pt idx="2878">
                  <c:v>3852.6534000000001</c:v>
                </c:pt>
                <c:pt idx="2879">
                  <c:v>3814.5282000000002</c:v>
                </c:pt>
                <c:pt idx="2880">
                  <c:v>3837.6790999999998</c:v>
                </c:pt>
                <c:pt idx="2881">
                  <c:v>3843.2392</c:v>
                </c:pt>
                <c:pt idx="2882">
                  <c:v>3874.6390999999999</c:v>
                </c:pt>
                <c:pt idx="2883">
                  <c:v>3911.7253000000001</c:v>
                </c:pt>
                <c:pt idx="2884">
                  <c:v>3953.2411000000002</c:v>
                </c:pt>
                <c:pt idx="2885">
                  <c:v>3936.2498000000001</c:v>
                </c:pt>
                <c:pt idx="2886">
                  <c:v>3922.6853999999998</c:v>
                </c:pt>
                <c:pt idx="2887">
                  <c:v>3925.2215999999999</c:v>
                </c:pt>
                <c:pt idx="2888">
                  <c:v>3869.3777</c:v>
                </c:pt>
                <c:pt idx="2889">
                  <c:v>3880.8398000000002</c:v>
                </c:pt>
                <c:pt idx="2890">
                  <c:v>3895.8809000000001</c:v>
                </c:pt>
                <c:pt idx="2891">
                  <c:v>3871.0848000000001</c:v>
                </c:pt>
                <c:pt idx="2892">
                  <c:v>3870.6678000000002</c:v>
                </c:pt>
                <c:pt idx="2893">
                  <c:v>3896.7923000000001</c:v>
                </c:pt>
                <c:pt idx="2894">
                  <c:v>3926.585</c:v>
                </c:pt>
                <c:pt idx="2895">
                  <c:v>3910.2260000000001</c:v>
                </c:pt>
                <c:pt idx="2896">
                  <c:v>3891.2255</c:v>
                </c:pt>
                <c:pt idx="2897">
                  <c:v>3886.7519000000002</c:v>
                </c:pt>
                <c:pt idx="2898">
                  <c:v>3952.3872000000001</c:v>
                </c:pt>
                <c:pt idx="2899">
                  <c:v>3978.1215999999999</c:v>
                </c:pt>
                <c:pt idx="2900">
                  <c:v>4002.8128000000002</c:v>
                </c:pt>
                <c:pt idx="2901">
                  <c:v>3984.8816000000002</c:v>
                </c:pt>
                <c:pt idx="2902">
                  <c:v>3991.8748999999998</c:v>
                </c:pt>
                <c:pt idx="2903">
                  <c:v>3973.0106999999998</c:v>
                </c:pt>
                <c:pt idx="2904">
                  <c:v>3902.9783000000002</c:v>
                </c:pt>
                <c:pt idx="2905">
                  <c:v>3903.6887999999999</c:v>
                </c:pt>
                <c:pt idx="2906">
                  <c:v>3899.9814999999999</c:v>
                </c:pt>
                <c:pt idx="2907">
                  <c:v>3905.857</c:v>
                </c:pt>
                <c:pt idx="2908">
                  <c:v>3877.0891999999999</c:v>
                </c:pt>
                <c:pt idx="2909">
                  <c:v>3907.9290999999998</c:v>
                </c:pt>
                <c:pt idx="2910">
                  <c:v>3947.0392000000002</c:v>
                </c:pt>
                <c:pt idx="2911">
                  <c:v>3907.8640999999998</c:v>
                </c:pt>
                <c:pt idx="2912">
                  <c:v>3889.598</c:v>
                </c:pt>
                <c:pt idx="2913">
                  <c:v>3849.9947999999999</c:v>
                </c:pt>
                <c:pt idx="2914">
                  <c:v>3878.2060999999999</c:v>
                </c:pt>
                <c:pt idx="2915">
                  <c:v>3891.6532999999999</c:v>
                </c:pt>
                <c:pt idx="2916">
                  <c:v>3875.6185999999998</c:v>
                </c:pt>
                <c:pt idx="2917">
                  <c:v>3862.3029000000001</c:v>
                </c:pt>
                <c:pt idx="2918">
                  <c:v>3828.6705999999999</c:v>
                </c:pt>
                <c:pt idx="2919">
                  <c:v>3836.0589</c:v>
                </c:pt>
                <c:pt idx="2920">
                  <c:v>3851.0873000000001</c:v>
                </c:pt>
                <c:pt idx="2921">
                  <c:v>3849.819</c:v>
                </c:pt>
                <c:pt idx="2922">
                  <c:v>3879.3638000000001</c:v>
                </c:pt>
                <c:pt idx="2923">
                  <c:v>3902.3852999999999</c:v>
                </c:pt>
                <c:pt idx="2924">
                  <c:v>3895.4468000000002</c:v>
                </c:pt>
                <c:pt idx="2925">
                  <c:v>3900.3843000000002</c:v>
                </c:pt>
                <c:pt idx="2926">
                  <c:v>3902.7492000000002</c:v>
                </c:pt>
                <c:pt idx="2927">
                  <c:v>3891.0241999999998</c:v>
                </c:pt>
                <c:pt idx="2928">
                  <c:v>3968.2211000000002</c:v>
                </c:pt>
                <c:pt idx="2929">
                  <c:v>3987.5464000000002</c:v>
                </c:pt>
                <c:pt idx="2930">
                  <c:v>4041.7995999999998</c:v>
                </c:pt>
                <c:pt idx="2931">
                  <c:v>4032.7826</c:v>
                </c:pt>
                <c:pt idx="2932">
                  <c:v>4027.1495</c:v>
                </c:pt>
                <c:pt idx="2933">
                  <c:v>4017.2527</c:v>
                </c:pt>
                <c:pt idx="2934">
                  <c:v>3967.0962</c:v>
                </c:pt>
                <c:pt idx="2935">
                  <c:v>3992.9580999999998</c:v>
                </c:pt>
                <c:pt idx="2936">
                  <c:v>3990.8670999999999</c:v>
                </c:pt>
                <c:pt idx="2937">
                  <c:v>4025.9879000000001</c:v>
                </c:pt>
                <c:pt idx="2938">
                  <c:v>4022.0277999999998</c:v>
                </c:pt>
                <c:pt idx="2939">
                  <c:v>4081.6334000000002</c:v>
                </c:pt>
                <c:pt idx="2940">
                  <c:v>4096.5820999999996</c:v>
                </c:pt>
                <c:pt idx="2941">
                  <c:v>4152.2407999999996</c:v>
                </c:pt>
                <c:pt idx="2942">
                  <c:v>4144.9648999999999</c:v>
                </c:pt>
                <c:pt idx="2943">
                  <c:v>4129.2954</c:v>
                </c:pt>
                <c:pt idx="2944">
                  <c:v>4160.2273999999998</c:v>
                </c:pt>
                <c:pt idx="2945">
                  <c:v>4112.3172000000004</c:v>
                </c:pt>
                <c:pt idx="2946">
                  <c:v>4164.3697000000002</c:v>
                </c:pt>
                <c:pt idx="2947">
                  <c:v>4163.1849000000002</c:v>
                </c:pt>
                <c:pt idx="2948">
                  <c:v>4203.9883</c:v>
                </c:pt>
                <c:pt idx="2949">
                  <c:v>4189.8861999999999</c:v>
                </c:pt>
                <c:pt idx="2950">
                  <c:v>4166.7344000000003</c:v>
                </c:pt>
                <c:pt idx="2951">
                  <c:v>4149.0433999999996</c:v>
                </c:pt>
                <c:pt idx="2952">
                  <c:v>4154.8530000000001</c:v>
                </c:pt>
                <c:pt idx="2953">
                  <c:v>4185.8303999999998</c:v>
                </c:pt>
                <c:pt idx="2954">
                  <c:v>4114.3085000000001</c:v>
                </c:pt>
                <c:pt idx="2955">
                  <c:v>4131.9310999999998</c:v>
                </c:pt>
                <c:pt idx="2956">
                  <c:v>4003.9013</c:v>
                </c:pt>
                <c:pt idx="2957">
                  <c:v>3688.3578000000002</c:v>
                </c:pt>
                <c:pt idx="2958">
                  <c:v>3785.6376</c:v>
                </c:pt>
                <c:pt idx="2959">
                  <c:v>3828.5272</c:v>
                </c:pt>
                <c:pt idx="2960">
                  <c:v>3899.7750999999998</c:v>
                </c:pt>
                <c:pt idx="2961">
                  <c:v>3899.8692999999998</c:v>
                </c:pt>
                <c:pt idx="2962">
                  <c:v>3916.0052000000001</c:v>
                </c:pt>
                <c:pt idx="2963">
                  <c:v>3952.4643000000001</c:v>
                </c:pt>
                <c:pt idx="2964">
                  <c:v>3984.4324999999999</c:v>
                </c:pt>
                <c:pt idx="2965">
                  <c:v>3959.9187999999999</c:v>
                </c:pt>
                <c:pt idx="2966">
                  <c:v>3987.7341999999999</c:v>
                </c:pt>
                <c:pt idx="2967">
                  <c:v>4077.4241000000002</c:v>
                </c:pt>
                <c:pt idx="2968">
                  <c:v>4057.5108</c:v>
                </c:pt>
                <c:pt idx="2969">
                  <c:v>4051.3107</c:v>
                </c:pt>
                <c:pt idx="2970">
                  <c:v>4144.6561000000002</c:v>
                </c:pt>
                <c:pt idx="2971">
                  <c:v>4149.4903000000004</c:v>
                </c:pt>
                <c:pt idx="2972">
                  <c:v>4132.8388000000004</c:v>
                </c:pt>
                <c:pt idx="2973">
                  <c:v>4123.8543</c:v>
                </c:pt>
                <c:pt idx="2974">
                  <c:v>4073.0151999999998</c:v>
                </c:pt>
                <c:pt idx="2975">
                  <c:v>4084.8759</c:v>
                </c:pt>
                <c:pt idx="2976">
                  <c:v>3940.0488</c:v>
                </c:pt>
                <c:pt idx="2977">
                  <c:v>4069.6662000000001</c:v>
                </c:pt>
                <c:pt idx="2978">
                  <c:v>4091.3615</c:v>
                </c:pt>
                <c:pt idx="2979">
                  <c:v>4115.0523999999996</c:v>
                </c:pt>
                <c:pt idx="2980">
                  <c:v>4206.7250999999997</c:v>
                </c:pt>
                <c:pt idx="2981">
                  <c:v>4138.5072</c:v>
                </c:pt>
                <c:pt idx="2982">
                  <c:v>3997.1325000000002</c:v>
                </c:pt>
                <c:pt idx="2983">
                  <c:v>4082.7314999999999</c:v>
                </c:pt>
                <c:pt idx="2984">
                  <c:v>4028.4288999999999</c:v>
                </c:pt>
                <c:pt idx="2985">
                  <c:v>3950.9110999999998</c:v>
                </c:pt>
                <c:pt idx="2986">
                  <c:v>3895.3128000000002</c:v>
                </c:pt>
                <c:pt idx="2987">
                  <c:v>3727.8398000000002</c:v>
                </c:pt>
                <c:pt idx="2988">
                  <c:v>3709.6822000000002</c:v>
                </c:pt>
                <c:pt idx="2989">
                  <c:v>3636.2565</c:v>
                </c:pt>
                <c:pt idx="2990">
                  <c:v>3589.0925999999999</c:v>
                </c:pt>
                <c:pt idx="2991">
                  <c:v>3653.2239</c:v>
                </c:pt>
                <c:pt idx="2992">
                  <c:v>3530.3058000000001</c:v>
                </c:pt>
                <c:pt idx="2993">
                  <c:v>3625.1145999999999</c:v>
                </c:pt>
                <c:pt idx="2994">
                  <c:v>3722.5180999999998</c:v>
                </c:pt>
                <c:pt idx="2995">
                  <c:v>3698.0472</c:v>
                </c:pt>
                <c:pt idx="2996">
                  <c:v>3710.0605</c:v>
                </c:pt>
                <c:pt idx="2997">
                  <c:v>3674.1107999999999</c:v>
                </c:pt>
                <c:pt idx="2998">
                  <c:v>3686.1550999999999</c:v>
                </c:pt>
                <c:pt idx="2999">
                  <c:v>3675.0758000000001</c:v>
                </c:pt>
                <c:pt idx="3000">
                  <c:v>3734.5306</c:v>
                </c:pt>
                <c:pt idx="3001">
                  <c:v>3713.2183</c:v>
                </c:pt>
                <c:pt idx="3002">
                  <c:v>3798.0214000000001</c:v>
                </c:pt>
                <c:pt idx="3003">
                  <c:v>3780.3445000000002</c:v>
                </c:pt>
                <c:pt idx="3004">
                  <c:v>3792.8105</c:v>
                </c:pt>
                <c:pt idx="3005">
                  <c:v>3769.1781999999998</c:v>
                </c:pt>
                <c:pt idx="3006">
                  <c:v>3753.2566000000002</c:v>
                </c:pt>
                <c:pt idx="3007">
                  <c:v>3825.6990999999998</c:v>
                </c:pt>
                <c:pt idx="3008">
                  <c:v>3797.3622999999998</c:v>
                </c:pt>
                <c:pt idx="3009">
                  <c:v>3802.3806</c:v>
                </c:pt>
                <c:pt idx="3010">
                  <c:v>3839.4870999999998</c:v>
                </c:pt>
                <c:pt idx="3011">
                  <c:v>3853.4551000000001</c:v>
                </c:pt>
                <c:pt idx="3012">
                  <c:v>3808.0473999999999</c:v>
                </c:pt>
                <c:pt idx="3013">
                  <c:v>3839.3834000000002</c:v>
                </c:pt>
                <c:pt idx="3014">
                  <c:v>3829.7525000000001</c:v>
                </c:pt>
                <c:pt idx="3015">
                  <c:v>3796.9721</c:v>
                </c:pt>
                <c:pt idx="3016">
                  <c:v>3822.7689999999998</c:v>
                </c:pt>
                <c:pt idx="3017">
                  <c:v>3849.1464999999998</c:v>
                </c:pt>
                <c:pt idx="3018">
                  <c:v>3867.0320000000002</c:v>
                </c:pt>
                <c:pt idx="3019">
                  <c:v>3912.5772000000002</c:v>
                </c:pt>
                <c:pt idx="3020">
                  <c:v>3936.2539000000002</c:v>
                </c:pt>
                <c:pt idx="3021">
                  <c:v>3924.8946000000001</c:v>
                </c:pt>
                <c:pt idx="3022">
                  <c:v>3963.6217000000001</c:v>
                </c:pt>
                <c:pt idx="3023">
                  <c:v>3960.1803</c:v>
                </c:pt>
                <c:pt idx="3024">
                  <c:v>3960.2377999999999</c:v>
                </c:pt>
                <c:pt idx="3025">
                  <c:v>3968.2529</c:v>
                </c:pt>
                <c:pt idx="3026">
                  <c:v>3925.2177000000001</c:v>
                </c:pt>
                <c:pt idx="3027">
                  <c:v>3912.8159000000001</c:v>
                </c:pt>
                <c:pt idx="3028">
                  <c:v>3922.9117000000001</c:v>
                </c:pt>
                <c:pt idx="3029">
                  <c:v>3956.2494999999999</c:v>
                </c:pt>
                <c:pt idx="3030">
                  <c:v>3935.2220000000002</c:v>
                </c:pt>
                <c:pt idx="3031">
                  <c:v>3913.7948999999999</c:v>
                </c:pt>
                <c:pt idx="3032">
                  <c:v>3824.0639999999999</c:v>
                </c:pt>
                <c:pt idx="3033">
                  <c:v>3829.3245000000002</c:v>
                </c:pt>
                <c:pt idx="3034">
                  <c:v>3872.7701000000002</c:v>
                </c:pt>
                <c:pt idx="3035">
                  <c:v>3845.6134999999999</c:v>
                </c:pt>
                <c:pt idx="3036">
                  <c:v>3856.6324</c:v>
                </c:pt>
                <c:pt idx="3037">
                  <c:v>3867.0232000000001</c:v>
                </c:pt>
                <c:pt idx="3038">
                  <c:v>3971.3402000000001</c:v>
                </c:pt>
                <c:pt idx="3039">
                  <c:v>3983.5677000000001</c:v>
                </c:pt>
                <c:pt idx="3040">
                  <c:v>3983.6477</c:v>
                </c:pt>
                <c:pt idx="3041">
                  <c:v>3982.1851000000001</c:v>
                </c:pt>
                <c:pt idx="3042">
                  <c:v>4001.2509</c:v>
                </c:pt>
                <c:pt idx="3043">
                  <c:v>4021.9549000000002</c:v>
                </c:pt>
                <c:pt idx="3044">
                  <c:v>4047.0293000000001</c:v>
                </c:pt>
                <c:pt idx="3045">
                  <c:v>4039.7051000000001</c:v>
                </c:pt>
                <c:pt idx="3046">
                  <c:v>3995.8845999999999</c:v>
                </c:pt>
                <c:pt idx="3047">
                  <c:v>4003.0828999999999</c:v>
                </c:pt>
                <c:pt idx="3048">
                  <c:v>3954.9883</c:v>
                </c:pt>
                <c:pt idx="3049">
                  <c:v>4014.5702000000001</c:v>
                </c:pt>
                <c:pt idx="3050">
                  <c:v>4017.5940999999998</c:v>
                </c:pt>
                <c:pt idx="3051">
                  <c:v>4044.3842</c:v>
                </c:pt>
                <c:pt idx="3052">
                  <c:v>4098.7094999999999</c:v>
                </c:pt>
                <c:pt idx="3053">
                  <c:v>4102.0459000000001</c:v>
                </c:pt>
                <c:pt idx="3054">
                  <c:v>4121.7943999999998</c:v>
                </c:pt>
                <c:pt idx="3055">
                  <c:v>4138.9894999999997</c:v>
                </c:pt>
                <c:pt idx="3056">
                  <c:v>4109.7164000000002</c:v>
                </c:pt>
                <c:pt idx="3057">
                  <c:v>4163.9637000000002</c:v>
                </c:pt>
                <c:pt idx="3058">
                  <c:v>4247.7834999999995</c:v>
                </c:pt>
                <c:pt idx="3059">
                  <c:v>4335.8445000000002</c:v>
                </c:pt>
                <c:pt idx="3060">
                  <c:v>4419.5955000000004</c:v>
                </c:pt>
                <c:pt idx="3061">
                  <c:v>4670.0949000000001</c:v>
                </c:pt>
                <c:pt idx="3062">
                  <c:v>4698.1264000000001</c:v>
                </c:pt>
                <c:pt idx="3063">
                  <c:v>4774.0042000000003</c:v>
                </c:pt>
                <c:pt idx="3064">
                  <c:v>4840.7712000000001</c:v>
                </c:pt>
                <c:pt idx="3065">
                  <c:v>4753.1333000000004</c:v>
                </c:pt>
                <c:pt idx="3066">
                  <c:v>4852.9611999999997</c:v>
                </c:pt>
                <c:pt idx="3067">
                  <c:v>4806.6902</c:v>
                </c:pt>
              </c:numCache>
            </c:numRef>
          </c:val>
          <c:smooth val="0"/>
          <c:extLst>
            <c:ext xmlns:c16="http://schemas.microsoft.com/office/drawing/2014/chart" uri="{C3380CC4-5D6E-409C-BE32-E72D297353CC}">
              <c16:uniqueId val="{00000003-F5DB-48C1-A897-55CC3048A01F}"/>
            </c:ext>
          </c:extLst>
        </c:ser>
        <c:dLbls>
          <c:showLegendKey val="0"/>
          <c:showVal val="0"/>
          <c:showCatName val="0"/>
          <c:showSerName val="0"/>
          <c:showPercent val="0"/>
          <c:showBubbleSize val="0"/>
        </c:dLbls>
        <c:marker val="1"/>
        <c:smooth val="0"/>
        <c:axId val="3"/>
        <c:axId val="4"/>
      </c:lineChart>
      <c:dateAx>
        <c:axId val="659855344"/>
        <c:scaling>
          <c:orientation val="minMax"/>
        </c:scaling>
        <c:delete val="0"/>
        <c:axPos val="b"/>
        <c:numFmt formatCode="m/d/yyyy" sourceLinked="0"/>
        <c:majorTickMark val="out"/>
        <c:minorTickMark val="none"/>
        <c:tickLblPos val="nextTo"/>
        <c:spPr>
          <a:noFill/>
          <a:ln w="9525" cap="flat" cmpd="sng" algn="ctr">
            <a:solidFill>
              <a:schemeClr val="tx1">
                <a:lumMod val="15000"/>
                <a:lumOff val="85000"/>
              </a:schemeClr>
            </a:solidFill>
            <a:round/>
          </a:ln>
          <a:effectLst/>
        </c:spPr>
        <c:txPr>
          <a:bodyPr rot="0" vert="horz"/>
          <a:lstStyle/>
          <a:p>
            <a:pPr>
              <a:defRPr sz="900" b="0" i="0" u="none" strike="noStrike" baseline="0">
                <a:solidFill>
                  <a:srgbClr val="333333"/>
                </a:solidFill>
                <a:latin typeface="Gill Sans MT Light" panose="020B0302020104020203" pitchFamily="34" charset="0"/>
                <a:ea typeface="等线"/>
                <a:cs typeface="等线"/>
              </a:defRPr>
            </a:pPr>
            <a:endParaRPr lang="de-DE"/>
          </a:p>
        </c:txPr>
        <c:crossAx val="1"/>
        <c:crosses val="autoZero"/>
        <c:auto val="1"/>
        <c:lblOffset val="100"/>
        <c:baseTimeUnit val="days"/>
      </c:dateAx>
      <c:valAx>
        <c:axId val="1"/>
        <c:scaling>
          <c:orientation val="minMax"/>
        </c:scaling>
        <c:delete val="0"/>
        <c:axPos val="l"/>
        <c:majorGridlines>
          <c:spPr>
            <a:ln w="9525" cap="flat" cmpd="sng" algn="ctr">
              <a:solidFill>
                <a:schemeClr val="bg1"/>
              </a:solidFill>
              <a:round/>
            </a:ln>
            <a:effectLst/>
          </c:spPr>
        </c:majorGridlines>
        <c:numFmt formatCode="General" sourceLinked="1"/>
        <c:majorTickMark val="none"/>
        <c:minorTickMark val="none"/>
        <c:tickLblPos val="nextTo"/>
        <c:spPr>
          <a:ln w="6350">
            <a:noFill/>
          </a:ln>
        </c:spPr>
        <c:txPr>
          <a:bodyPr rot="0" vert="horz"/>
          <a:lstStyle/>
          <a:p>
            <a:pPr>
              <a:defRPr sz="900" b="0" i="0" u="none" strike="noStrike" baseline="0">
                <a:solidFill>
                  <a:srgbClr val="333333"/>
                </a:solidFill>
                <a:latin typeface="Gill Sans MT Light" panose="020B0302020104020203" pitchFamily="34" charset="0"/>
                <a:ea typeface="等线"/>
                <a:cs typeface="等线"/>
              </a:defRPr>
            </a:pPr>
            <a:endParaRPr lang="de-DE"/>
          </a:p>
        </c:txPr>
        <c:crossAx val="659855344"/>
        <c:crosses val="autoZero"/>
        <c:crossBetween val="between"/>
      </c:valAx>
      <c:dateAx>
        <c:axId val="3"/>
        <c:scaling>
          <c:orientation val="minMax"/>
        </c:scaling>
        <c:delete val="1"/>
        <c:axPos val="b"/>
        <c:numFmt formatCode="m/d/yyyy" sourceLinked="1"/>
        <c:majorTickMark val="out"/>
        <c:minorTickMark val="none"/>
        <c:tickLblPos val="nextTo"/>
        <c:crossAx val="4"/>
        <c:crosses val="autoZero"/>
        <c:auto val="1"/>
        <c:lblOffset val="100"/>
        <c:baseTimeUnit val="days"/>
      </c:dateAx>
      <c:valAx>
        <c:axId val="4"/>
        <c:scaling>
          <c:orientation val="minMax"/>
        </c:scaling>
        <c:delete val="0"/>
        <c:axPos val="r"/>
        <c:numFmt formatCode="0.0000" sourceLinked="1"/>
        <c:majorTickMark val="out"/>
        <c:minorTickMark val="none"/>
        <c:tickLblPos val="nextTo"/>
        <c:spPr>
          <a:ln w="6350">
            <a:noFill/>
          </a:ln>
        </c:spPr>
        <c:txPr>
          <a:bodyPr rot="0" vert="horz"/>
          <a:lstStyle/>
          <a:p>
            <a:pPr>
              <a:defRPr sz="900" b="0" i="0" u="none" strike="noStrike" baseline="0">
                <a:solidFill>
                  <a:srgbClr val="333333"/>
                </a:solidFill>
                <a:latin typeface="Gill Sans MT Light" panose="020B0302020104020203" pitchFamily="34" charset="0"/>
                <a:ea typeface="等线"/>
                <a:cs typeface="等线"/>
              </a:defRPr>
            </a:pPr>
            <a:endParaRPr lang="de-DE"/>
          </a:p>
        </c:txPr>
        <c:crossAx val="3"/>
        <c:crosses val="max"/>
        <c:crossBetween val="between"/>
      </c:valAx>
      <c: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25400">
          <a:noFill/>
        </a:ln>
      </c:spPr>
    </c:plotArea>
    <c:plotVisOnly val="1"/>
    <c:dispBlanksAs val="gap"/>
    <c:showDLblsOverMax val="0"/>
  </c:chart>
  <c:spPr>
    <a:solidFill>
      <a:schemeClr val="bg1"/>
    </a:solidFill>
    <a:ln w="9525" cap="flat" cmpd="sng" algn="ctr">
      <a:noFill/>
      <a:round/>
    </a:ln>
    <a:effectLst/>
  </c:spPr>
  <c:txPr>
    <a:bodyPr/>
    <a:lstStyle/>
    <a:p>
      <a:pPr>
        <a:defRPr sz="1000" b="0" i="0" u="none" strike="noStrike" baseline="0">
          <a:solidFill>
            <a:srgbClr val="000000"/>
          </a:solidFill>
          <a:latin typeface="等线"/>
          <a:ea typeface="等线"/>
          <a:cs typeface="等线"/>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OE</c:v>
                </c:pt>
              </c:strCache>
            </c:strRef>
          </c:tx>
          <c:spPr>
            <a:ln w="28575" cap="rnd">
              <a:solidFill>
                <a:schemeClr val="bg1">
                  <a:lumMod val="65000"/>
                </a:schemeClr>
              </a:solidFill>
              <a:round/>
            </a:ln>
            <a:effectLst/>
          </c:spPr>
          <c:marker>
            <c:symbol val="none"/>
          </c:marker>
          <c:cat>
            <c:numRef>
              <c:f>Sheet1!$A$2:$A$1454</c:f>
              <c:numCache>
                <c:formatCode>yyyy/mm/dd;@</c:formatCode>
                <c:ptCount val="1453"/>
                <c:pt idx="0">
                  <c:v>41681</c:v>
                </c:pt>
                <c:pt idx="1">
                  <c:v>41682</c:v>
                </c:pt>
                <c:pt idx="2">
                  <c:v>41683</c:v>
                </c:pt>
                <c:pt idx="3">
                  <c:v>41684</c:v>
                </c:pt>
                <c:pt idx="4">
                  <c:v>41687</c:v>
                </c:pt>
                <c:pt idx="5">
                  <c:v>41688</c:v>
                </c:pt>
                <c:pt idx="6">
                  <c:v>41689</c:v>
                </c:pt>
                <c:pt idx="7">
                  <c:v>41690</c:v>
                </c:pt>
                <c:pt idx="8">
                  <c:v>41691</c:v>
                </c:pt>
                <c:pt idx="9">
                  <c:v>41694</c:v>
                </c:pt>
                <c:pt idx="10">
                  <c:v>41695</c:v>
                </c:pt>
                <c:pt idx="11">
                  <c:v>41696</c:v>
                </c:pt>
                <c:pt idx="12">
                  <c:v>41697</c:v>
                </c:pt>
                <c:pt idx="13">
                  <c:v>41698</c:v>
                </c:pt>
                <c:pt idx="14">
                  <c:v>41701</c:v>
                </c:pt>
                <c:pt idx="15">
                  <c:v>41702</c:v>
                </c:pt>
                <c:pt idx="16">
                  <c:v>41703</c:v>
                </c:pt>
                <c:pt idx="17">
                  <c:v>41704</c:v>
                </c:pt>
                <c:pt idx="18">
                  <c:v>41705</c:v>
                </c:pt>
                <c:pt idx="19">
                  <c:v>41708</c:v>
                </c:pt>
                <c:pt idx="20">
                  <c:v>41709</c:v>
                </c:pt>
                <c:pt idx="21">
                  <c:v>41710</c:v>
                </c:pt>
                <c:pt idx="22">
                  <c:v>41711</c:v>
                </c:pt>
                <c:pt idx="23">
                  <c:v>41712</c:v>
                </c:pt>
                <c:pt idx="24">
                  <c:v>41715</c:v>
                </c:pt>
                <c:pt idx="25">
                  <c:v>41716</c:v>
                </c:pt>
                <c:pt idx="26">
                  <c:v>41717</c:v>
                </c:pt>
                <c:pt idx="27">
                  <c:v>41718</c:v>
                </c:pt>
                <c:pt idx="28">
                  <c:v>41719</c:v>
                </c:pt>
                <c:pt idx="29">
                  <c:v>41722</c:v>
                </c:pt>
                <c:pt idx="30">
                  <c:v>41723</c:v>
                </c:pt>
                <c:pt idx="31">
                  <c:v>41724</c:v>
                </c:pt>
                <c:pt idx="32">
                  <c:v>41725</c:v>
                </c:pt>
                <c:pt idx="33">
                  <c:v>41726</c:v>
                </c:pt>
                <c:pt idx="34">
                  <c:v>41729</c:v>
                </c:pt>
                <c:pt idx="35">
                  <c:v>41730</c:v>
                </c:pt>
                <c:pt idx="36">
                  <c:v>41731</c:v>
                </c:pt>
                <c:pt idx="37">
                  <c:v>41732</c:v>
                </c:pt>
                <c:pt idx="38">
                  <c:v>41733</c:v>
                </c:pt>
                <c:pt idx="39">
                  <c:v>41737</c:v>
                </c:pt>
                <c:pt idx="40">
                  <c:v>41738</c:v>
                </c:pt>
                <c:pt idx="41">
                  <c:v>41739</c:v>
                </c:pt>
                <c:pt idx="42">
                  <c:v>41740</c:v>
                </c:pt>
                <c:pt idx="43">
                  <c:v>41743</c:v>
                </c:pt>
                <c:pt idx="44">
                  <c:v>41744</c:v>
                </c:pt>
                <c:pt idx="45">
                  <c:v>41745</c:v>
                </c:pt>
                <c:pt idx="46">
                  <c:v>41746</c:v>
                </c:pt>
                <c:pt idx="47">
                  <c:v>41747</c:v>
                </c:pt>
                <c:pt idx="48">
                  <c:v>41750</c:v>
                </c:pt>
                <c:pt idx="49">
                  <c:v>41751</c:v>
                </c:pt>
                <c:pt idx="50">
                  <c:v>41752</c:v>
                </c:pt>
                <c:pt idx="51">
                  <c:v>41753</c:v>
                </c:pt>
                <c:pt idx="52">
                  <c:v>41754</c:v>
                </c:pt>
                <c:pt idx="53">
                  <c:v>41757</c:v>
                </c:pt>
                <c:pt idx="54">
                  <c:v>41758</c:v>
                </c:pt>
                <c:pt idx="55">
                  <c:v>41759</c:v>
                </c:pt>
                <c:pt idx="56">
                  <c:v>41764</c:v>
                </c:pt>
                <c:pt idx="57">
                  <c:v>41765</c:v>
                </c:pt>
                <c:pt idx="58">
                  <c:v>41766</c:v>
                </c:pt>
                <c:pt idx="59">
                  <c:v>41767</c:v>
                </c:pt>
                <c:pt idx="60">
                  <c:v>41768</c:v>
                </c:pt>
                <c:pt idx="61">
                  <c:v>41771</c:v>
                </c:pt>
                <c:pt idx="62">
                  <c:v>41772</c:v>
                </c:pt>
                <c:pt idx="63">
                  <c:v>41773</c:v>
                </c:pt>
                <c:pt idx="64">
                  <c:v>41774</c:v>
                </c:pt>
                <c:pt idx="65">
                  <c:v>41775</c:v>
                </c:pt>
                <c:pt idx="66">
                  <c:v>41778</c:v>
                </c:pt>
                <c:pt idx="67">
                  <c:v>41779</c:v>
                </c:pt>
                <c:pt idx="68">
                  <c:v>41780</c:v>
                </c:pt>
                <c:pt idx="69">
                  <c:v>41781</c:v>
                </c:pt>
                <c:pt idx="70">
                  <c:v>41782</c:v>
                </c:pt>
                <c:pt idx="71">
                  <c:v>41785</c:v>
                </c:pt>
                <c:pt idx="72">
                  <c:v>41786</c:v>
                </c:pt>
                <c:pt idx="73">
                  <c:v>41787</c:v>
                </c:pt>
                <c:pt idx="74">
                  <c:v>41788</c:v>
                </c:pt>
                <c:pt idx="75">
                  <c:v>41789</c:v>
                </c:pt>
                <c:pt idx="76">
                  <c:v>41793</c:v>
                </c:pt>
                <c:pt idx="77">
                  <c:v>41794</c:v>
                </c:pt>
                <c:pt idx="78">
                  <c:v>41795</c:v>
                </c:pt>
                <c:pt idx="79">
                  <c:v>41796</c:v>
                </c:pt>
                <c:pt idx="80">
                  <c:v>41799</c:v>
                </c:pt>
                <c:pt idx="81">
                  <c:v>41800</c:v>
                </c:pt>
                <c:pt idx="82">
                  <c:v>41801</c:v>
                </c:pt>
                <c:pt idx="83">
                  <c:v>41802</c:v>
                </c:pt>
                <c:pt idx="84">
                  <c:v>41803</c:v>
                </c:pt>
                <c:pt idx="85">
                  <c:v>41806</c:v>
                </c:pt>
                <c:pt idx="86">
                  <c:v>41807</c:v>
                </c:pt>
                <c:pt idx="87">
                  <c:v>41808</c:v>
                </c:pt>
                <c:pt idx="88">
                  <c:v>41809</c:v>
                </c:pt>
                <c:pt idx="89">
                  <c:v>41810</c:v>
                </c:pt>
                <c:pt idx="90">
                  <c:v>41813</c:v>
                </c:pt>
                <c:pt idx="91">
                  <c:v>41814</c:v>
                </c:pt>
                <c:pt idx="92">
                  <c:v>41815</c:v>
                </c:pt>
                <c:pt idx="93">
                  <c:v>41816</c:v>
                </c:pt>
                <c:pt idx="94">
                  <c:v>41817</c:v>
                </c:pt>
                <c:pt idx="95">
                  <c:v>41820</c:v>
                </c:pt>
                <c:pt idx="96">
                  <c:v>41821</c:v>
                </c:pt>
                <c:pt idx="97">
                  <c:v>41822</c:v>
                </c:pt>
                <c:pt idx="98">
                  <c:v>41823</c:v>
                </c:pt>
                <c:pt idx="99">
                  <c:v>41824</c:v>
                </c:pt>
                <c:pt idx="100">
                  <c:v>41827</c:v>
                </c:pt>
                <c:pt idx="101">
                  <c:v>41828</c:v>
                </c:pt>
                <c:pt idx="102">
                  <c:v>41829</c:v>
                </c:pt>
                <c:pt idx="103">
                  <c:v>41830</c:v>
                </c:pt>
                <c:pt idx="104">
                  <c:v>41831</c:v>
                </c:pt>
                <c:pt idx="105">
                  <c:v>41834</c:v>
                </c:pt>
                <c:pt idx="106">
                  <c:v>41835</c:v>
                </c:pt>
                <c:pt idx="107">
                  <c:v>41836</c:v>
                </c:pt>
                <c:pt idx="108">
                  <c:v>41837</c:v>
                </c:pt>
                <c:pt idx="109">
                  <c:v>41838</c:v>
                </c:pt>
                <c:pt idx="110">
                  <c:v>41841</c:v>
                </c:pt>
                <c:pt idx="111">
                  <c:v>41842</c:v>
                </c:pt>
                <c:pt idx="112">
                  <c:v>41843</c:v>
                </c:pt>
                <c:pt idx="113">
                  <c:v>41844</c:v>
                </c:pt>
                <c:pt idx="114">
                  <c:v>41845</c:v>
                </c:pt>
                <c:pt idx="115">
                  <c:v>41848</c:v>
                </c:pt>
                <c:pt idx="116">
                  <c:v>41849</c:v>
                </c:pt>
                <c:pt idx="117">
                  <c:v>41850</c:v>
                </c:pt>
                <c:pt idx="118">
                  <c:v>41851</c:v>
                </c:pt>
                <c:pt idx="119">
                  <c:v>41852</c:v>
                </c:pt>
                <c:pt idx="120">
                  <c:v>41855</c:v>
                </c:pt>
                <c:pt idx="121">
                  <c:v>41856</c:v>
                </c:pt>
                <c:pt idx="122">
                  <c:v>41857</c:v>
                </c:pt>
                <c:pt idx="123">
                  <c:v>41858</c:v>
                </c:pt>
                <c:pt idx="124">
                  <c:v>41859</c:v>
                </c:pt>
                <c:pt idx="125">
                  <c:v>41862</c:v>
                </c:pt>
                <c:pt idx="126">
                  <c:v>41863</c:v>
                </c:pt>
                <c:pt idx="127">
                  <c:v>41864</c:v>
                </c:pt>
                <c:pt idx="128">
                  <c:v>41865</c:v>
                </c:pt>
                <c:pt idx="129">
                  <c:v>41866</c:v>
                </c:pt>
                <c:pt idx="130">
                  <c:v>41869</c:v>
                </c:pt>
                <c:pt idx="131">
                  <c:v>41870</c:v>
                </c:pt>
                <c:pt idx="132">
                  <c:v>41871</c:v>
                </c:pt>
                <c:pt idx="133">
                  <c:v>41872</c:v>
                </c:pt>
                <c:pt idx="134">
                  <c:v>41873</c:v>
                </c:pt>
                <c:pt idx="135">
                  <c:v>41876</c:v>
                </c:pt>
                <c:pt idx="136">
                  <c:v>41877</c:v>
                </c:pt>
                <c:pt idx="137">
                  <c:v>41878</c:v>
                </c:pt>
                <c:pt idx="138">
                  <c:v>41879</c:v>
                </c:pt>
                <c:pt idx="139">
                  <c:v>41880</c:v>
                </c:pt>
                <c:pt idx="140">
                  <c:v>41883</c:v>
                </c:pt>
                <c:pt idx="141">
                  <c:v>41884</c:v>
                </c:pt>
                <c:pt idx="142">
                  <c:v>41885</c:v>
                </c:pt>
                <c:pt idx="143">
                  <c:v>41886</c:v>
                </c:pt>
                <c:pt idx="144">
                  <c:v>41887</c:v>
                </c:pt>
                <c:pt idx="145">
                  <c:v>41891</c:v>
                </c:pt>
                <c:pt idx="146">
                  <c:v>41892</c:v>
                </c:pt>
                <c:pt idx="147">
                  <c:v>41893</c:v>
                </c:pt>
                <c:pt idx="148">
                  <c:v>41894</c:v>
                </c:pt>
                <c:pt idx="149">
                  <c:v>41897</c:v>
                </c:pt>
                <c:pt idx="150">
                  <c:v>41898</c:v>
                </c:pt>
                <c:pt idx="151">
                  <c:v>41899</c:v>
                </c:pt>
                <c:pt idx="152">
                  <c:v>41900</c:v>
                </c:pt>
                <c:pt idx="153">
                  <c:v>41901</c:v>
                </c:pt>
                <c:pt idx="154">
                  <c:v>41904</c:v>
                </c:pt>
                <c:pt idx="155">
                  <c:v>41905</c:v>
                </c:pt>
                <c:pt idx="156">
                  <c:v>41906</c:v>
                </c:pt>
                <c:pt idx="157">
                  <c:v>41907</c:v>
                </c:pt>
                <c:pt idx="158">
                  <c:v>41908</c:v>
                </c:pt>
                <c:pt idx="159">
                  <c:v>41911</c:v>
                </c:pt>
                <c:pt idx="160">
                  <c:v>41912</c:v>
                </c:pt>
                <c:pt idx="161">
                  <c:v>41920</c:v>
                </c:pt>
                <c:pt idx="162">
                  <c:v>41921</c:v>
                </c:pt>
                <c:pt idx="163">
                  <c:v>41922</c:v>
                </c:pt>
                <c:pt idx="164">
                  <c:v>41925</c:v>
                </c:pt>
                <c:pt idx="165">
                  <c:v>41926</c:v>
                </c:pt>
                <c:pt idx="166">
                  <c:v>41927</c:v>
                </c:pt>
                <c:pt idx="167">
                  <c:v>41928</c:v>
                </c:pt>
                <c:pt idx="168">
                  <c:v>41929</c:v>
                </c:pt>
                <c:pt idx="169">
                  <c:v>41932</c:v>
                </c:pt>
                <c:pt idx="170">
                  <c:v>41933</c:v>
                </c:pt>
                <c:pt idx="171">
                  <c:v>41934</c:v>
                </c:pt>
                <c:pt idx="172">
                  <c:v>41935</c:v>
                </c:pt>
                <c:pt idx="173">
                  <c:v>41936</c:v>
                </c:pt>
                <c:pt idx="174">
                  <c:v>41939</c:v>
                </c:pt>
                <c:pt idx="175">
                  <c:v>41940</c:v>
                </c:pt>
                <c:pt idx="176">
                  <c:v>41941</c:v>
                </c:pt>
                <c:pt idx="177">
                  <c:v>41942</c:v>
                </c:pt>
                <c:pt idx="178">
                  <c:v>41943</c:v>
                </c:pt>
                <c:pt idx="179">
                  <c:v>41946</c:v>
                </c:pt>
                <c:pt idx="180">
                  <c:v>41947</c:v>
                </c:pt>
                <c:pt idx="181">
                  <c:v>41948</c:v>
                </c:pt>
                <c:pt idx="182">
                  <c:v>41949</c:v>
                </c:pt>
                <c:pt idx="183">
                  <c:v>41950</c:v>
                </c:pt>
                <c:pt idx="184">
                  <c:v>41953</c:v>
                </c:pt>
                <c:pt idx="185">
                  <c:v>41954</c:v>
                </c:pt>
                <c:pt idx="186">
                  <c:v>41955</c:v>
                </c:pt>
                <c:pt idx="187">
                  <c:v>41956</c:v>
                </c:pt>
                <c:pt idx="188">
                  <c:v>41957</c:v>
                </c:pt>
                <c:pt idx="189">
                  <c:v>41960</c:v>
                </c:pt>
                <c:pt idx="190">
                  <c:v>41961</c:v>
                </c:pt>
                <c:pt idx="191">
                  <c:v>41962</c:v>
                </c:pt>
                <c:pt idx="192">
                  <c:v>41963</c:v>
                </c:pt>
                <c:pt idx="193">
                  <c:v>41964</c:v>
                </c:pt>
                <c:pt idx="194">
                  <c:v>41967</c:v>
                </c:pt>
                <c:pt idx="195">
                  <c:v>41968</c:v>
                </c:pt>
                <c:pt idx="196">
                  <c:v>41969</c:v>
                </c:pt>
                <c:pt idx="197">
                  <c:v>41970</c:v>
                </c:pt>
                <c:pt idx="198">
                  <c:v>41971</c:v>
                </c:pt>
                <c:pt idx="199">
                  <c:v>41974</c:v>
                </c:pt>
                <c:pt idx="200">
                  <c:v>41975</c:v>
                </c:pt>
                <c:pt idx="201">
                  <c:v>41976</c:v>
                </c:pt>
                <c:pt idx="202">
                  <c:v>41977</c:v>
                </c:pt>
                <c:pt idx="203">
                  <c:v>41978</c:v>
                </c:pt>
                <c:pt idx="204">
                  <c:v>41981</c:v>
                </c:pt>
                <c:pt idx="205">
                  <c:v>41982</c:v>
                </c:pt>
                <c:pt idx="206">
                  <c:v>41983</c:v>
                </c:pt>
                <c:pt idx="207">
                  <c:v>41984</c:v>
                </c:pt>
                <c:pt idx="208">
                  <c:v>41985</c:v>
                </c:pt>
                <c:pt idx="209">
                  <c:v>41988</c:v>
                </c:pt>
                <c:pt idx="210">
                  <c:v>41989</c:v>
                </c:pt>
                <c:pt idx="211">
                  <c:v>41990</c:v>
                </c:pt>
                <c:pt idx="212">
                  <c:v>41991</c:v>
                </c:pt>
                <c:pt idx="213">
                  <c:v>41992</c:v>
                </c:pt>
                <c:pt idx="214">
                  <c:v>41995</c:v>
                </c:pt>
                <c:pt idx="215">
                  <c:v>41996</c:v>
                </c:pt>
                <c:pt idx="216">
                  <c:v>41997</c:v>
                </c:pt>
                <c:pt idx="217">
                  <c:v>41998</c:v>
                </c:pt>
                <c:pt idx="218">
                  <c:v>41999</c:v>
                </c:pt>
                <c:pt idx="219">
                  <c:v>42002</c:v>
                </c:pt>
                <c:pt idx="220">
                  <c:v>42003</c:v>
                </c:pt>
                <c:pt idx="221">
                  <c:v>42004</c:v>
                </c:pt>
                <c:pt idx="222">
                  <c:v>42009</c:v>
                </c:pt>
                <c:pt idx="223">
                  <c:v>42010</c:v>
                </c:pt>
                <c:pt idx="224">
                  <c:v>42011</c:v>
                </c:pt>
                <c:pt idx="225">
                  <c:v>42012</c:v>
                </c:pt>
                <c:pt idx="226">
                  <c:v>42013</c:v>
                </c:pt>
                <c:pt idx="227">
                  <c:v>42016</c:v>
                </c:pt>
                <c:pt idx="228">
                  <c:v>42017</c:v>
                </c:pt>
                <c:pt idx="229">
                  <c:v>42018</c:v>
                </c:pt>
                <c:pt idx="230">
                  <c:v>42019</c:v>
                </c:pt>
                <c:pt idx="231">
                  <c:v>42020</c:v>
                </c:pt>
                <c:pt idx="232">
                  <c:v>42023</c:v>
                </c:pt>
                <c:pt idx="233">
                  <c:v>42024</c:v>
                </c:pt>
                <c:pt idx="234">
                  <c:v>42025</c:v>
                </c:pt>
                <c:pt idx="235">
                  <c:v>42026</c:v>
                </c:pt>
                <c:pt idx="236">
                  <c:v>42027</c:v>
                </c:pt>
                <c:pt idx="237">
                  <c:v>42030</c:v>
                </c:pt>
                <c:pt idx="238">
                  <c:v>42031</c:v>
                </c:pt>
                <c:pt idx="239">
                  <c:v>42032</c:v>
                </c:pt>
                <c:pt idx="240">
                  <c:v>42033</c:v>
                </c:pt>
                <c:pt idx="241">
                  <c:v>42034</c:v>
                </c:pt>
                <c:pt idx="242">
                  <c:v>42037</c:v>
                </c:pt>
                <c:pt idx="243">
                  <c:v>42038</c:v>
                </c:pt>
                <c:pt idx="244">
                  <c:v>42039</c:v>
                </c:pt>
                <c:pt idx="245">
                  <c:v>42040</c:v>
                </c:pt>
                <c:pt idx="246">
                  <c:v>42041</c:v>
                </c:pt>
                <c:pt idx="247">
                  <c:v>42044</c:v>
                </c:pt>
                <c:pt idx="248">
                  <c:v>42045</c:v>
                </c:pt>
                <c:pt idx="249">
                  <c:v>42046</c:v>
                </c:pt>
                <c:pt idx="250">
                  <c:v>42047</c:v>
                </c:pt>
                <c:pt idx="251">
                  <c:v>42048</c:v>
                </c:pt>
                <c:pt idx="252">
                  <c:v>42051</c:v>
                </c:pt>
                <c:pt idx="253">
                  <c:v>42052</c:v>
                </c:pt>
                <c:pt idx="254">
                  <c:v>42060</c:v>
                </c:pt>
                <c:pt idx="255">
                  <c:v>42061</c:v>
                </c:pt>
                <c:pt idx="256">
                  <c:v>42062</c:v>
                </c:pt>
                <c:pt idx="257">
                  <c:v>42065</c:v>
                </c:pt>
                <c:pt idx="258">
                  <c:v>42066</c:v>
                </c:pt>
                <c:pt idx="259">
                  <c:v>42067</c:v>
                </c:pt>
                <c:pt idx="260">
                  <c:v>42068</c:v>
                </c:pt>
                <c:pt idx="261">
                  <c:v>42069</c:v>
                </c:pt>
                <c:pt idx="262">
                  <c:v>42072</c:v>
                </c:pt>
                <c:pt idx="263">
                  <c:v>42073</c:v>
                </c:pt>
                <c:pt idx="264">
                  <c:v>42074</c:v>
                </c:pt>
                <c:pt idx="265">
                  <c:v>42075</c:v>
                </c:pt>
                <c:pt idx="266">
                  <c:v>42076</c:v>
                </c:pt>
                <c:pt idx="267">
                  <c:v>42079</c:v>
                </c:pt>
                <c:pt idx="268">
                  <c:v>42080</c:v>
                </c:pt>
                <c:pt idx="269">
                  <c:v>42081</c:v>
                </c:pt>
                <c:pt idx="270">
                  <c:v>42082</c:v>
                </c:pt>
                <c:pt idx="271">
                  <c:v>42083</c:v>
                </c:pt>
                <c:pt idx="272">
                  <c:v>42086</c:v>
                </c:pt>
                <c:pt idx="273">
                  <c:v>42087</c:v>
                </c:pt>
                <c:pt idx="274">
                  <c:v>42088</c:v>
                </c:pt>
                <c:pt idx="275">
                  <c:v>42089</c:v>
                </c:pt>
                <c:pt idx="276">
                  <c:v>42090</c:v>
                </c:pt>
                <c:pt idx="277">
                  <c:v>42093</c:v>
                </c:pt>
                <c:pt idx="278">
                  <c:v>42094</c:v>
                </c:pt>
                <c:pt idx="279">
                  <c:v>42095</c:v>
                </c:pt>
                <c:pt idx="280">
                  <c:v>42096</c:v>
                </c:pt>
                <c:pt idx="281">
                  <c:v>42097</c:v>
                </c:pt>
                <c:pt idx="282">
                  <c:v>42101</c:v>
                </c:pt>
                <c:pt idx="283">
                  <c:v>42102</c:v>
                </c:pt>
                <c:pt idx="284">
                  <c:v>42103</c:v>
                </c:pt>
                <c:pt idx="285">
                  <c:v>42104</c:v>
                </c:pt>
                <c:pt idx="286">
                  <c:v>42107</c:v>
                </c:pt>
                <c:pt idx="287">
                  <c:v>42108</c:v>
                </c:pt>
                <c:pt idx="288">
                  <c:v>42109</c:v>
                </c:pt>
                <c:pt idx="289">
                  <c:v>42110</c:v>
                </c:pt>
                <c:pt idx="290">
                  <c:v>42111</c:v>
                </c:pt>
                <c:pt idx="291">
                  <c:v>42114</c:v>
                </c:pt>
                <c:pt idx="292">
                  <c:v>42115</c:v>
                </c:pt>
                <c:pt idx="293">
                  <c:v>42116</c:v>
                </c:pt>
                <c:pt idx="294">
                  <c:v>42117</c:v>
                </c:pt>
                <c:pt idx="295">
                  <c:v>42118</c:v>
                </c:pt>
                <c:pt idx="296">
                  <c:v>42121</c:v>
                </c:pt>
                <c:pt idx="297">
                  <c:v>42122</c:v>
                </c:pt>
                <c:pt idx="298">
                  <c:v>42123</c:v>
                </c:pt>
                <c:pt idx="299">
                  <c:v>42124</c:v>
                </c:pt>
                <c:pt idx="300">
                  <c:v>42128</c:v>
                </c:pt>
                <c:pt idx="301">
                  <c:v>42129</c:v>
                </c:pt>
                <c:pt idx="302">
                  <c:v>42130</c:v>
                </c:pt>
                <c:pt idx="303">
                  <c:v>42131</c:v>
                </c:pt>
                <c:pt idx="304">
                  <c:v>42132</c:v>
                </c:pt>
                <c:pt idx="305">
                  <c:v>42135</c:v>
                </c:pt>
                <c:pt idx="306">
                  <c:v>42136</c:v>
                </c:pt>
                <c:pt idx="307">
                  <c:v>42137</c:v>
                </c:pt>
                <c:pt idx="308">
                  <c:v>42138</c:v>
                </c:pt>
                <c:pt idx="309">
                  <c:v>42139</c:v>
                </c:pt>
                <c:pt idx="310">
                  <c:v>42142</c:v>
                </c:pt>
                <c:pt idx="311">
                  <c:v>42143</c:v>
                </c:pt>
                <c:pt idx="312">
                  <c:v>42144</c:v>
                </c:pt>
                <c:pt idx="313">
                  <c:v>42145</c:v>
                </c:pt>
                <c:pt idx="314">
                  <c:v>42146</c:v>
                </c:pt>
                <c:pt idx="315">
                  <c:v>42149</c:v>
                </c:pt>
                <c:pt idx="316">
                  <c:v>42150</c:v>
                </c:pt>
                <c:pt idx="317">
                  <c:v>42151</c:v>
                </c:pt>
                <c:pt idx="318">
                  <c:v>42152</c:v>
                </c:pt>
                <c:pt idx="319">
                  <c:v>42153</c:v>
                </c:pt>
                <c:pt idx="320">
                  <c:v>42156</c:v>
                </c:pt>
                <c:pt idx="321">
                  <c:v>42157</c:v>
                </c:pt>
                <c:pt idx="322">
                  <c:v>42158</c:v>
                </c:pt>
                <c:pt idx="323">
                  <c:v>42159</c:v>
                </c:pt>
                <c:pt idx="324">
                  <c:v>42160</c:v>
                </c:pt>
                <c:pt idx="325">
                  <c:v>42163</c:v>
                </c:pt>
                <c:pt idx="326">
                  <c:v>42164</c:v>
                </c:pt>
                <c:pt idx="327">
                  <c:v>42165</c:v>
                </c:pt>
                <c:pt idx="328">
                  <c:v>42166</c:v>
                </c:pt>
                <c:pt idx="329">
                  <c:v>42167</c:v>
                </c:pt>
                <c:pt idx="330">
                  <c:v>42170</c:v>
                </c:pt>
                <c:pt idx="331">
                  <c:v>42171</c:v>
                </c:pt>
                <c:pt idx="332">
                  <c:v>42172</c:v>
                </c:pt>
                <c:pt idx="333">
                  <c:v>42173</c:v>
                </c:pt>
                <c:pt idx="334">
                  <c:v>42174</c:v>
                </c:pt>
                <c:pt idx="335">
                  <c:v>42178</c:v>
                </c:pt>
                <c:pt idx="336">
                  <c:v>42179</c:v>
                </c:pt>
                <c:pt idx="337">
                  <c:v>42180</c:v>
                </c:pt>
                <c:pt idx="338">
                  <c:v>42181</c:v>
                </c:pt>
                <c:pt idx="339">
                  <c:v>42184</c:v>
                </c:pt>
                <c:pt idx="340">
                  <c:v>42185</c:v>
                </c:pt>
                <c:pt idx="341">
                  <c:v>42186</c:v>
                </c:pt>
                <c:pt idx="342">
                  <c:v>42187</c:v>
                </c:pt>
                <c:pt idx="343">
                  <c:v>42188</c:v>
                </c:pt>
                <c:pt idx="344">
                  <c:v>42191</c:v>
                </c:pt>
                <c:pt idx="345">
                  <c:v>42192</c:v>
                </c:pt>
                <c:pt idx="346">
                  <c:v>42193</c:v>
                </c:pt>
                <c:pt idx="347">
                  <c:v>42194</c:v>
                </c:pt>
                <c:pt idx="348">
                  <c:v>42195</c:v>
                </c:pt>
                <c:pt idx="349">
                  <c:v>42198</c:v>
                </c:pt>
                <c:pt idx="350">
                  <c:v>42199</c:v>
                </c:pt>
                <c:pt idx="351">
                  <c:v>42200</c:v>
                </c:pt>
                <c:pt idx="352">
                  <c:v>42201</c:v>
                </c:pt>
                <c:pt idx="353">
                  <c:v>42202</c:v>
                </c:pt>
                <c:pt idx="354">
                  <c:v>42205</c:v>
                </c:pt>
                <c:pt idx="355">
                  <c:v>42206</c:v>
                </c:pt>
                <c:pt idx="356">
                  <c:v>42207</c:v>
                </c:pt>
                <c:pt idx="357">
                  <c:v>42208</c:v>
                </c:pt>
                <c:pt idx="358">
                  <c:v>42209</c:v>
                </c:pt>
                <c:pt idx="359">
                  <c:v>42212</c:v>
                </c:pt>
                <c:pt idx="360">
                  <c:v>42213</c:v>
                </c:pt>
                <c:pt idx="361">
                  <c:v>42214</c:v>
                </c:pt>
                <c:pt idx="362">
                  <c:v>42215</c:v>
                </c:pt>
                <c:pt idx="363">
                  <c:v>42216</c:v>
                </c:pt>
                <c:pt idx="364">
                  <c:v>42219</c:v>
                </c:pt>
                <c:pt idx="365">
                  <c:v>42220</c:v>
                </c:pt>
                <c:pt idx="366">
                  <c:v>42221</c:v>
                </c:pt>
                <c:pt idx="367">
                  <c:v>42222</c:v>
                </c:pt>
                <c:pt idx="368">
                  <c:v>42223</c:v>
                </c:pt>
                <c:pt idx="369">
                  <c:v>42226</c:v>
                </c:pt>
                <c:pt idx="370">
                  <c:v>42227</c:v>
                </c:pt>
                <c:pt idx="371">
                  <c:v>42228</c:v>
                </c:pt>
                <c:pt idx="372">
                  <c:v>42229</c:v>
                </c:pt>
                <c:pt idx="373">
                  <c:v>42230</c:v>
                </c:pt>
                <c:pt idx="374">
                  <c:v>42233</c:v>
                </c:pt>
                <c:pt idx="375">
                  <c:v>42234</c:v>
                </c:pt>
                <c:pt idx="376">
                  <c:v>42235</c:v>
                </c:pt>
                <c:pt idx="377">
                  <c:v>42236</c:v>
                </c:pt>
                <c:pt idx="378">
                  <c:v>42237</c:v>
                </c:pt>
                <c:pt idx="379">
                  <c:v>42240</c:v>
                </c:pt>
                <c:pt idx="380">
                  <c:v>42241</c:v>
                </c:pt>
                <c:pt idx="381">
                  <c:v>42242</c:v>
                </c:pt>
                <c:pt idx="382">
                  <c:v>42243</c:v>
                </c:pt>
                <c:pt idx="383">
                  <c:v>42244</c:v>
                </c:pt>
                <c:pt idx="384">
                  <c:v>42247</c:v>
                </c:pt>
                <c:pt idx="385">
                  <c:v>42248</c:v>
                </c:pt>
                <c:pt idx="386">
                  <c:v>42249</c:v>
                </c:pt>
                <c:pt idx="387">
                  <c:v>42254</c:v>
                </c:pt>
                <c:pt idx="388">
                  <c:v>42255</c:v>
                </c:pt>
                <c:pt idx="389">
                  <c:v>42256</c:v>
                </c:pt>
                <c:pt idx="390">
                  <c:v>42257</c:v>
                </c:pt>
                <c:pt idx="391">
                  <c:v>42258</c:v>
                </c:pt>
                <c:pt idx="392">
                  <c:v>42261</c:v>
                </c:pt>
                <c:pt idx="393">
                  <c:v>42262</c:v>
                </c:pt>
                <c:pt idx="394">
                  <c:v>42263</c:v>
                </c:pt>
                <c:pt idx="395">
                  <c:v>42264</c:v>
                </c:pt>
                <c:pt idx="396">
                  <c:v>42265</c:v>
                </c:pt>
                <c:pt idx="397">
                  <c:v>42268</c:v>
                </c:pt>
                <c:pt idx="398">
                  <c:v>42269</c:v>
                </c:pt>
                <c:pt idx="399">
                  <c:v>42270</c:v>
                </c:pt>
                <c:pt idx="400">
                  <c:v>42271</c:v>
                </c:pt>
                <c:pt idx="401">
                  <c:v>42272</c:v>
                </c:pt>
                <c:pt idx="402">
                  <c:v>42275</c:v>
                </c:pt>
                <c:pt idx="403">
                  <c:v>42276</c:v>
                </c:pt>
                <c:pt idx="404">
                  <c:v>42277</c:v>
                </c:pt>
                <c:pt idx="405">
                  <c:v>42285</c:v>
                </c:pt>
                <c:pt idx="406">
                  <c:v>42286</c:v>
                </c:pt>
                <c:pt idx="407">
                  <c:v>42289</c:v>
                </c:pt>
                <c:pt idx="408">
                  <c:v>42290</c:v>
                </c:pt>
                <c:pt idx="409">
                  <c:v>42291</c:v>
                </c:pt>
                <c:pt idx="410">
                  <c:v>42292</c:v>
                </c:pt>
                <c:pt idx="411">
                  <c:v>42293</c:v>
                </c:pt>
                <c:pt idx="412">
                  <c:v>42296</c:v>
                </c:pt>
                <c:pt idx="413">
                  <c:v>42297</c:v>
                </c:pt>
                <c:pt idx="414">
                  <c:v>42298</c:v>
                </c:pt>
                <c:pt idx="415">
                  <c:v>42299</c:v>
                </c:pt>
                <c:pt idx="416">
                  <c:v>42300</c:v>
                </c:pt>
                <c:pt idx="417">
                  <c:v>42303</c:v>
                </c:pt>
                <c:pt idx="418">
                  <c:v>42304</c:v>
                </c:pt>
                <c:pt idx="419">
                  <c:v>42305</c:v>
                </c:pt>
                <c:pt idx="420">
                  <c:v>42306</c:v>
                </c:pt>
                <c:pt idx="421">
                  <c:v>42307</c:v>
                </c:pt>
                <c:pt idx="422">
                  <c:v>42310</c:v>
                </c:pt>
                <c:pt idx="423">
                  <c:v>42311</c:v>
                </c:pt>
                <c:pt idx="424">
                  <c:v>42312</c:v>
                </c:pt>
                <c:pt idx="425">
                  <c:v>42313</c:v>
                </c:pt>
                <c:pt idx="426">
                  <c:v>42314</c:v>
                </c:pt>
                <c:pt idx="427">
                  <c:v>42317</c:v>
                </c:pt>
                <c:pt idx="428">
                  <c:v>42318</c:v>
                </c:pt>
                <c:pt idx="429">
                  <c:v>42319</c:v>
                </c:pt>
                <c:pt idx="430">
                  <c:v>42320</c:v>
                </c:pt>
                <c:pt idx="431">
                  <c:v>42321</c:v>
                </c:pt>
                <c:pt idx="432">
                  <c:v>42324</c:v>
                </c:pt>
                <c:pt idx="433">
                  <c:v>42325</c:v>
                </c:pt>
                <c:pt idx="434">
                  <c:v>42326</c:v>
                </c:pt>
                <c:pt idx="435">
                  <c:v>42327</c:v>
                </c:pt>
                <c:pt idx="436">
                  <c:v>42328</c:v>
                </c:pt>
                <c:pt idx="437">
                  <c:v>42331</c:v>
                </c:pt>
                <c:pt idx="438">
                  <c:v>42332</c:v>
                </c:pt>
                <c:pt idx="439">
                  <c:v>42333</c:v>
                </c:pt>
                <c:pt idx="440">
                  <c:v>42334</c:v>
                </c:pt>
                <c:pt idx="441">
                  <c:v>42335</c:v>
                </c:pt>
                <c:pt idx="442">
                  <c:v>42338</c:v>
                </c:pt>
                <c:pt idx="443">
                  <c:v>42339</c:v>
                </c:pt>
                <c:pt idx="444">
                  <c:v>42340</c:v>
                </c:pt>
                <c:pt idx="445">
                  <c:v>42341</c:v>
                </c:pt>
                <c:pt idx="446">
                  <c:v>42342</c:v>
                </c:pt>
                <c:pt idx="447">
                  <c:v>42345</c:v>
                </c:pt>
                <c:pt idx="448">
                  <c:v>42346</c:v>
                </c:pt>
                <c:pt idx="449">
                  <c:v>42347</c:v>
                </c:pt>
                <c:pt idx="450">
                  <c:v>42348</c:v>
                </c:pt>
                <c:pt idx="451">
                  <c:v>42349</c:v>
                </c:pt>
                <c:pt idx="452">
                  <c:v>42352</c:v>
                </c:pt>
                <c:pt idx="453">
                  <c:v>42353</c:v>
                </c:pt>
                <c:pt idx="454">
                  <c:v>42354</c:v>
                </c:pt>
                <c:pt idx="455">
                  <c:v>42355</c:v>
                </c:pt>
                <c:pt idx="456">
                  <c:v>42356</c:v>
                </c:pt>
                <c:pt idx="457">
                  <c:v>42359</c:v>
                </c:pt>
                <c:pt idx="458">
                  <c:v>42360</c:v>
                </c:pt>
                <c:pt idx="459">
                  <c:v>42361</c:v>
                </c:pt>
                <c:pt idx="460">
                  <c:v>42362</c:v>
                </c:pt>
                <c:pt idx="461">
                  <c:v>42363</c:v>
                </c:pt>
                <c:pt idx="462">
                  <c:v>42366</c:v>
                </c:pt>
                <c:pt idx="463">
                  <c:v>42367</c:v>
                </c:pt>
                <c:pt idx="464">
                  <c:v>42368</c:v>
                </c:pt>
                <c:pt idx="465">
                  <c:v>42369</c:v>
                </c:pt>
                <c:pt idx="466">
                  <c:v>42373</c:v>
                </c:pt>
                <c:pt idx="467">
                  <c:v>42374</c:v>
                </c:pt>
                <c:pt idx="468">
                  <c:v>42375</c:v>
                </c:pt>
                <c:pt idx="469">
                  <c:v>42376</c:v>
                </c:pt>
                <c:pt idx="470">
                  <c:v>42377</c:v>
                </c:pt>
                <c:pt idx="471">
                  <c:v>42380</c:v>
                </c:pt>
                <c:pt idx="472">
                  <c:v>42381</c:v>
                </c:pt>
                <c:pt idx="473">
                  <c:v>42382</c:v>
                </c:pt>
                <c:pt idx="474">
                  <c:v>42383</c:v>
                </c:pt>
                <c:pt idx="475">
                  <c:v>42384</c:v>
                </c:pt>
                <c:pt idx="476">
                  <c:v>42387</c:v>
                </c:pt>
                <c:pt idx="477">
                  <c:v>42388</c:v>
                </c:pt>
                <c:pt idx="478">
                  <c:v>42389</c:v>
                </c:pt>
                <c:pt idx="479">
                  <c:v>42390</c:v>
                </c:pt>
                <c:pt idx="480">
                  <c:v>42391</c:v>
                </c:pt>
                <c:pt idx="481">
                  <c:v>42394</c:v>
                </c:pt>
                <c:pt idx="482">
                  <c:v>42395</c:v>
                </c:pt>
                <c:pt idx="483">
                  <c:v>42396</c:v>
                </c:pt>
                <c:pt idx="484">
                  <c:v>42397</c:v>
                </c:pt>
                <c:pt idx="485">
                  <c:v>42398</c:v>
                </c:pt>
                <c:pt idx="486">
                  <c:v>42401</c:v>
                </c:pt>
                <c:pt idx="487">
                  <c:v>42402</c:v>
                </c:pt>
                <c:pt idx="488">
                  <c:v>42403</c:v>
                </c:pt>
                <c:pt idx="489">
                  <c:v>42404</c:v>
                </c:pt>
                <c:pt idx="490">
                  <c:v>42405</c:v>
                </c:pt>
                <c:pt idx="491">
                  <c:v>42415</c:v>
                </c:pt>
                <c:pt idx="492">
                  <c:v>42416</c:v>
                </c:pt>
                <c:pt idx="493">
                  <c:v>42417</c:v>
                </c:pt>
                <c:pt idx="494">
                  <c:v>42418</c:v>
                </c:pt>
                <c:pt idx="495">
                  <c:v>42419</c:v>
                </c:pt>
                <c:pt idx="496">
                  <c:v>42422</c:v>
                </c:pt>
                <c:pt idx="497">
                  <c:v>42423</c:v>
                </c:pt>
                <c:pt idx="498">
                  <c:v>42424</c:v>
                </c:pt>
                <c:pt idx="499">
                  <c:v>42425</c:v>
                </c:pt>
                <c:pt idx="500">
                  <c:v>42426</c:v>
                </c:pt>
                <c:pt idx="501">
                  <c:v>42429</c:v>
                </c:pt>
                <c:pt idx="502">
                  <c:v>42430</c:v>
                </c:pt>
                <c:pt idx="503">
                  <c:v>42431</c:v>
                </c:pt>
                <c:pt idx="504">
                  <c:v>42432</c:v>
                </c:pt>
                <c:pt idx="505">
                  <c:v>42433</c:v>
                </c:pt>
                <c:pt idx="506">
                  <c:v>42436</c:v>
                </c:pt>
                <c:pt idx="507">
                  <c:v>42437</c:v>
                </c:pt>
                <c:pt idx="508">
                  <c:v>42438</c:v>
                </c:pt>
                <c:pt idx="509">
                  <c:v>42439</c:v>
                </c:pt>
                <c:pt idx="510">
                  <c:v>42440</c:v>
                </c:pt>
                <c:pt idx="511">
                  <c:v>42443</c:v>
                </c:pt>
                <c:pt idx="512">
                  <c:v>42444</c:v>
                </c:pt>
                <c:pt idx="513">
                  <c:v>42445</c:v>
                </c:pt>
                <c:pt idx="514">
                  <c:v>42446</c:v>
                </c:pt>
                <c:pt idx="515">
                  <c:v>42447</c:v>
                </c:pt>
                <c:pt idx="516">
                  <c:v>42450</c:v>
                </c:pt>
                <c:pt idx="517">
                  <c:v>42451</c:v>
                </c:pt>
                <c:pt idx="518">
                  <c:v>42452</c:v>
                </c:pt>
                <c:pt idx="519">
                  <c:v>42453</c:v>
                </c:pt>
                <c:pt idx="520">
                  <c:v>42454</c:v>
                </c:pt>
                <c:pt idx="521">
                  <c:v>42457</c:v>
                </c:pt>
                <c:pt idx="522">
                  <c:v>42458</c:v>
                </c:pt>
                <c:pt idx="523">
                  <c:v>42459</c:v>
                </c:pt>
                <c:pt idx="524">
                  <c:v>42460</c:v>
                </c:pt>
                <c:pt idx="525">
                  <c:v>42461</c:v>
                </c:pt>
                <c:pt idx="526">
                  <c:v>42465</c:v>
                </c:pt>
                <c:pt idx="527">
                  <c:v>42466</c:v>
                </c:pt>
                <c:pt idx="528">
                  <c:v>42467</c:v>
                </c:pt>
                <c:pt idx="529">
                  <c:v>42468</c:v>
                </c:pt>
                <c:pt idx="530">
                  <c:v>42471</c:v>
                </c:pt>
                <c:pt idx="531">
                  <c:v>42472</c:v>
                </c:pt>
                <c:pt idx="532">
                  <c:v>42473</c:v>
                </c:pt>
                <c:pt idx="533">
                  <c:v>42474</c:v>
                </c:pt>
                <c:pt idx="534">
                  <c:v>42475</c:v>
                </c:pt>
                <c:pt idx="535">
                  <c:v>42478</c:v>
                </c:pt>
                <c:pt idx="536">
                  <c:v>42479</c:v>
                </c:pt>
                <c:pt idx="537">
                  <c:v>42480</c:v>
                </c:pt>
                <c:pt idx="538">
                  <c:v>42481</c:v>
                </c:pt>
                <c:pt idx="539">
                  <c:v>42482</c:v>
                </c:pt>
                <c:pt idx="540">
                  <c:v>42485</c:v>
                </c:pt>
                <c:pt idx="541">
                  <c:v>42486</c:v>
                </c:pt>
                <c:pt idx="542">
                  <c:v>42487</c:v>
                </c:pt>
                <c:pt idx="543">
                  <c:v>42488</c:v>
                </c:pt>
                <c:pt idx="544">
                  <c:v>42489</c:v>
                </c:pt>
                <c:pt idx="545">
                  <c:v>42493</c:v>
                </c:pt>
                <c:pt idx="546">
                  <c:v>42494</c:v>
                </c:pt>
                <c:pt idx="547">
                  <c:v>42495</c:v>
                </c:pt>
                <c:pt idx="548">
                  <c:v>42496</c:v>
                </c:pt>
                <c:pt idx="549">
                  <c:v>42499</c:v>
                </c:pt>
                <c:pt idx="550">
                  <c:v>42500</c:v>
                </c:pt>
                <c:pt idx="551">
                  <c:v>42501</c:v>
                </c:pt>
                <c:pt idx="552">
                  <c:v>42502</c:v>
                </c:pt>
                <c:pt idx="553">
                  <c:v>42503</c:v>
                </c:pt>
                <c:pt idx="554">
                  <c:v>42506</c:v>
                </c:pt>
                <c:pt idx="555">
                  <c:v>42507</c:v>
                </c:pt>
                <c:pt idx="556">
                  <c:v>42508</c:v>
                </c:pt>
                <c:pt idx="557">
                  <c:v>42509</c:v>
                </c:pt>
                <c:pt idx="558">
                  <c:v>42510</c:v>
                </c:pt>
                <c:pt idx="559">
                  <c:v>42513</c:v>
                </c:pt>
                <c:pt idx="560">
                  <c:v>42514</c:v>
                </c:pt>
                <c:pt idx="561">
                  <c:v>42515</c:v>
                </c:pt>
                <c:pt idx="562">
                  <c:v>42516</c:v>
                </c:pt>
                <c:pt idx="563">
                  <c:v>42517</c:v>
                </c:pt>
                <c:pt idx="564">
                  <c:v>42520</c:v>
                </c:pt>
                <c:pt idx="565">
                  <c:v>42521</c:v>
                </c:pt>
                <c:pt idx="566">
                  <c:v>42522</c:v>
                </c:pt>
                <c:pt idx="567">
                  <c:v>42523</c:v>
                </c:pt>
                <c:pt idx="568">
                  <c:v>42524</c:v>
                </c:pt>
                <c:pt idx="569">
                  <c:v>42527</c:v>
                </c:pt>
                <c:pt idx="570">
                  <c:v>42528</c:v>
                </c:pt>
                <c:pt idx="571">
                  <c:v>42529</c:v>
                </c:pt>
                <c:pt idx="572">
                  <c:v>42534</c:v>
                </c:pt>
                <c:pt idx="573">
                  <c:v>42535</c:v>
                </c:pt>
                <c:pt idx="574">
                  <c:v>42536</c:v>
                </c:pt>
                <c:pt idx="575">
                  <c:v>42537</c:v>
                </c:pt>
                <c:pt idx="576">
                  <c:v>42538</c:v>
                </c:pt>
                <c:pt idx="577">
                  <c:v>42541</c:v>
                </c:pt>
                <c:pt idx="578">
                  <c:v>42542</c:v>
                </c:pt>
                <c:pt idx="579">
                  <c:v>42543</c:v>
                </c:pt>
                <c:pt idx="580">
                  <c:v>42544</c:v>
                </c:pt>
                <c:pt idx="581">
                  <c:v>42545</c:v>
                </c:pt>
                <c:pt idx="582">
                  <c:v>42548</c:v>
                </c:pt>
                <c:pt idx="583">
                  <c:v>42549</c:v>
                </c:pt>
                <c:pt idx="584">
                  <c:v>42550</c:v>
                </c:pt>
                <c:pt idx="585">
                  <c:v>42551</c:v>
                </c:pt>
                <c:pt idx="586">
                  <c:v>42552</c:v>
                </c:pt>
                <c:pt idx="587">
                  <c:v>42555</c:v>
                </c:pt>
                <c:pt idx="588">
                  <c:v>42556</c:v>
                </c:pt>
                <c:pt idx="589">
                  <c:v>42557</c:v>
                </c:pt>
                <c:pt idx="590">
                  <c:v>42558</c:v>
                </c:pt>
                <c:pt idx="591">
                  <c:v>42559</c:v>
                </c:pt>
                <c:pt idx="592">
                  <c:v>42562</c:v>
                </c:pt>
                <c:pt idx="593">
                  <c:v>42563</c:v>
                </c:pt>
                <c:pt idx="594">
                  <c:v>42564</c:v>
                </c:pt>
                <c:pt idx="595">
                  <c:v>42565</c:v>
                </c:pt>
                <c:pt idx="596">
                  <c:v>42566</c:v>
                </c:pt>
                <c:pt idx="597">
                  <c:v>42569</c:v>
                </c:pt>
                <c:pt idx="598">
                  <c:v>42570</c:v>
                </c:pt>
                <c:pt idx="599">
                  <c:v>42571</c:v>
                </c:pt>
                <c:pt idx="600">
                  <c:v>42572</c:v>
                </c:pt>
                <c:pt idx="601">
                  <c:v>42573</c:v>
                </c:pt>
                <c:pt idx="602">
                  <c:v>42576</c:v>
                </c:pt>
                <c:pt idx="603">
                  <c:v>42577</c:v>
                </c:pt>
                <c:pt idx="604">
                  <c:v>42578</c:v>
                </c:pt>
                <c:pt idx="605">
                  <c:v>42579</c:v>
                </c:pt>
                <c:pt idx="606">
                  <c:v>42580</c:v>
                </c:pt>
                <c:pt idx="607">
                  <c:v>42583</c:v>
                </c:pt>
                <c:pt idx="608">
                  <c:v>42584</c:v>
                </c:pt>
                <c:pt idx="609">
                  <c:v>42585</c:v>
                </c:pt>
                <c:pt idx="610">
                  <c:v>42586</c:v>
                </c:pt>
                <c:pt idx="611">
                  <c:v>42587</c:v>
                </c:pt>
                <c:pt idx="612">
                  <c:v>42590</c:v>
                </c:pt>
                <c:pt idx="613">
                  <c:v>42591</c:v>
                </c:pt>
                <c:pt idx="614">
                  <c:v>42592</c:v>
                </c:pt>
                <c:pt idx="615">
                  <c:v>42593</c:v>
                </c:pt>
                <c:pt idx="616">
                  <c:v>42594</c:v>
                </c:pt>
                <c:pt idx="617">
                  <c:v>42597</c:v>
                </c:pt>
                <c:pt idx="618">
                  <c:v>42598</c:v>
                </c:pt>
                <c:pt idx="619">
                  <c:v>42599</c:v>
                </c:pt>
                <c:pt idx="620">
                  <c:v>42600</c:v>
                </c:pt>
                <c:pt idx="621">
                  <c:v>42601</c:v>
                </c:pt>
                <c:pt idx="622">
                  <c:v>42604</c:v>
                </c:pt>
                <c:pt idx="623">
                  <c:v>42605</c:v>
                </c:pt>
                <c:pt idx="624">
                  <c:v>42606</c:v>
                </c:pt>
                <c:pt idx="625">
                  <c:v>42607</c:v>
                </c:pt>
                <c:pt idx="626">
                  <c:v>42608</c:v>
                </c:pt>
                <c:pt idx="627">
                  <c:v>42611</c:v>
                </c:pt>
                <c:pt idx="628">
                  <c:v>42612</c:v>
                </c:pt>
                <c:pt idx="629">
                  <c:v>42613</c:v>
                </c:pt>
                <c:pt idx="630">
                  <c:v>42614</c:v>
                </c:pt>
                <c:pt idx="631">
                  <c:v>42615</c:v>
                </c:pt>
                <c:pt idx="632">
                  <c:v>42618</c:v>
                </c:pt>
                <c:pt idx="633">
                  <c:v>42619</c:v>
                </c:pt>
                <c:pt idx="634">
                  <c:v>42620</c:v>
                </c:pt>
                <c:pt idx="635">
                  <c:v>42621</c:v>
                </c:pt>
                <c:pt idx="636">
                  <c:v>42622</c:v>
                </c:pt>
                <c:pt idx="637">
                  <c:v>42625</c:v>
                </c:pt>
                <c:pt idx="638">
                  <c:v>42626</c:v>
                </c:pt>
                <c:pt idx="639">
                  <c:v>42627</c:v>
                </c:pt>
                <c:pt idx="640">
                  <c:v>42632</c:v>
                </c:pt>
                <c:pt idx="641">
                  <c:v>42633</c:v>
                </c:pt>
                <c:pt idx="642">
                  <c:v>42634</c:v>
                </c:pt>
                <c:pt idx="643">
                  <c:v>42635</c:v>
                </c:pt>
                <c:pt idx="644">
                  <c:v>42636</c:v>
                </c:pt>
                <c:pt idx="645">
                  <c:v>42639</c:v>
                </c:pt>
                <c:pt idx="646">
                  <c:v>42640</c:v>
                </c:pt>
                <c:pt idx="647">
                  <c:v>42641</c:v>
                </c:pt>
                <c:pt idx="648">
                  <c:v>42642</c:v>
                </c:pt>
                <c:pt idx="649">
                  <c:v>42643</c:v>
                </c:pt>
                <c:pt idx="650">
                  <c:v>42653</c:v>
                </c:pt>
                <c:pt idx="651">
                  <c:v>42654</c:v>
                </c:pt>
                <c:pt idx="652">
                  <c:v>42655</c:v>
                </c:pt>
                <c:pt idx="653">
                  <c:v>42656</c:v>
                </c:pt>
                <c:pt idx="654">
                  <c:v>42657</c:v>
                </c:pt>
                <c:pt idx="655">
                  <c:v>42660</c:v>
                </c:pt>
                <c:pt idx="656">
                  <c:v>42661</c:v>
                </c:pt>
                <c:pt idx="657">
                  <c:v>42662</c:v>
                </c:pt>
                <c:pt idx="658">
                  <c:v>42663</c:v>
                </c:pt>
                <c:pt idx="659">
                  <c:v>42664</c:v>
                </c:pt>
                <c:pt idx="660">
                  <c:v>42667</c:v>
                </c:pt>
                <c:pt idx="661">
                  <c:v>42668</c:v>
                </c:pt>
                <c:pt idx="662">
                  <c:v>42669</c:v>
                </c:pt>
                <c:pt idx="663">
                  <c:v>42670</c:v>
                </c:pt>
                <c:pt idx="664">
                  <c:v>42671</c:v>
                </c:pt>
                <c:pt idx="665">
                  <c:v>42674</c:v>
                </c:pt>
                <c:pt idx="666">
                  <c:v>42675</c:v>
                </c:pt>
                <c:pt idx="667">
                  <c:v>42676</c:v>
                </c:pt>
                <c:pt idx="668">
                  <c:v>42677</c:v>
                </c:pt>
                <c:pt idx="669">
                  <c:v>42678</c:v>
                </c:pt>
                <c:pt idx="670">
                  <c:v>42681</c:v>
                </c:pt>
                <c:pt idx="671">
                  <c:v>42682</c:v>
                </c:pt>
                <c:pt idx="672">
                  <c:v>42683</c:v>
                </c:pt>
                <c:pt idx="673">
                  <c:v>42684</c:v>
                </c:pt>
                <c:pt idx="674">
                  <c:v>42685</c:v>
                </c:pt>
                <c:pt idx="675">
                  <c:v>42688</c:v>
                </c:pt>
                <c:pt idx="676">
                  <c:v>42689</c:v>
                </c:pt>
                <c:pt idx="677">
                  <c:v>42690</c:v>
                </c:pt>
                <c:pt idx="678">
                  <c:v>42691</c:v>
                </c:pt>
                <c:pt idx="679">
                  <c:v>42692</c:v>
                </c:pt>
                <c:pt idx="680">
                  <c:v>42695</c:v>
                </c:pt>
                <c:pt idx="681">
                  <c:v>42696</c:v>
                </c:pt>
                <c:pt idx="682">
                  <c:v>42697</c:v>
                </c:pt>
                <c:pt idx="683">
                  <c:v>42698</c:v>
                </c:pt>
                <c:pt idx="684">
                  <c:v>42699</c:v>
                </c:pt>
                <c:pt idx="685">
                  <c:v>42702</c:v>
                </c:pt>
                <c:pt idx="686">
                  <c:v>42703</c:v>
                </c:pt>
                <c:pt idx="687">
                  <c:v>42704</c:v>
                </c:pt>
                <c:pt idx="688">
                  <c:v>42705</c:v>
                </c:pt>
                <c:pt idx="689">
                  <c:v>42706</c:v>
                </c:pt>
                <c:pt idx="690">
                  <c:v>42709</c:v>
                </c:pt>
                <c:pt idx="691">
                  <c:v>42710</c:v>
                </c:pt>
                <c:pt idx="692">
                  <c:v>42711</c:v>
                </c:pt>
                <c:pt idx="693">
                  <c:v>42712</c:v>
                </c:pt>
                <c:pt idx="694">
                  <c:v>42713</c:v>
                </c:pt>
                <c:pt idx="695">
                  <c:v>42716</c:v>
                </c:pt>
                <c:pt idx="696">
                  <c:v>42717</c:v>
                </c:pt>
                <c:pt idx="697">
                  <c:v>42718</c:v>
                </c:pt>
                <c:pt idx="698">
                  <c:v>42719</c:v>
                </c:pt>
                <c:pt idx="699">
                  <c:v>42720</c:v>
                </c:pt>
                <c:pt idx="700">
                  <c:v>42723</c:v>
                </c:pt>
                <c:pt idx="701">
                  <c:v>42724</c:v>
                </c:pt>
                <c:pt idx="702">
                  <c:v>42725</c:v>
                </c:pt>
                <c:pt idx="703">
                  <c:v>42726</c:v>
                </c:pt>
                <c:pt idx="704">
                  <c:v>42727</c:v>
                </c:pt>
                <c:pt idx="705">
                  <c:v>42730</c:v>
                </c:pt>
                <c:pt idx="706">
                  <c:v>42731</c:v>
                </c:pt>
                <c:pt idx="707">
                  <c:v>42732</c:v>
                </c:pt>
                <c:pt idx="708">
                  <c:v>42733</c:v>
                </c:pt>
                <c:pt idx="709">
                  <c:v>42734</c:v>
                </c:pt>
                <c:pt idx="710">
                  <c:v>42738</c:v>
                </c:pt>
                <c:pt idx="711">
                  <c:v>42739</c:v>
                </c:pt>
                <c:pt idx="712">
                  <c:v>42740</c:v>
                </c:pt>
                <c:pt idx="713">
                  <c:v>42741</c:v>
                </c:pt>
                <c:pt idx="714">
                  <c:v>42744</c:v>
                </c:pt>
                <c:pt idx="715">
                  <c:v>42745</c:v>
                </c:pt>
                <c:pt idx="716">
                  <c:v>42746</c:v>
                </c:pt>
                <c:pt idx="717">
                  <c:v>42747</c:v>
                </c:pt>
                <c:pt idx="718">
                  <c:v>42748</c:v>
                </c:pt>
                <c:pt idx="719">
                  <c:v>42751</c:v>
                </c:pt>
                <c:pt idx="720">
                  <c:v>42752</c:v>
                </c:pt>
                <c:pt idx="721">
                  <c:v>42753</c:v>
                </c:pt>
                <c:pt idx="722">
                  <c:v>42754</c:v>
                </c:pt>
                <c:pt idx="723">
                  <c:v>42755</c:v>
                </c:pt>
                <c:pt idx="724">
                  <c:v>42758</c:v>
                </c:pt>
                <c:pt idx="725">
                  <c:v>42759</c:v>
                </c:pt>
                <c:pt idx="726">
                  <c:v>42760</c:v>
                </c:pt>
                <c:pt idx="727">
                  <c:v>42761</c:v>
                </c:pt>
                <c:pt idx="728">
                  <c:v>42769</c:v>
                </c:pt>
                <c:pt idx="729">
                  <c:v>42772</c:v>
                </c:pt>
                <c:pt idx="730">
                  <c:v>42773</c:v>
                </c:pt>
                <c:pt idx="731">
                  <c:v>42774</c:v>
                </c:pt>
                <c:pt idx="732">
                  <c:v>42775</c:v>
                </c:pt>
                <c:pt idx="733">
                  <c:v>42776</c:v>
                </c:pt>
                <c:pt idx="734">
                  <c:v>42779</c:v>
                </c:pt>
                <c:pt idx="735">
                  <c:v>42780</c:v>
                </c:pt>
                <c:pt idx="736">
                  <c:v>42781</c:v>
                </c:pt>
                <c:pt idx="737">
                  <c:v>42782</c:v>
                </c:pt>
                <c:pt idx="738">
                  <c:v>42783</c:v>
                </c:pt>
                <c:pt idx="739">
                  <c:v>42786</c:v>
                </c:pt>
                <c:pt idx="740">
                  <c:v>42787</c:v>
                </c:pt>
                <c:pt idx="741">
                  <c:v>42788</c:v>
                </c:pt>
                <c:pt idx="742">
                  <c:v>42789</c:v>
                </c:pt>
                <c:pt idx="743">
                  <c:v>42790</c:v>
                </c:pt>
                <c:pt idx="744">
                  <c:v>42793</c:v>
                </c:pt>
                <c:pt idx="745">
                  <c:v>42794</c:v>
                </c:pt>
                <c:pt idx="746">
                  <c:v>42795</c:v>
                </c:pt>
                <c:pt idx="747">
                  <c:v>42796</c:v>
                </c:pt>
                <c:pt idx="748">
                  <c:v>42797</c:v>
                </c:pt>
                <c:pt idx="749">
                  <c:v>42800</c:v>
                </c:pt>
                <c:pt idx="750">
                  <c:v>42801</c:v>
                </c:pt>
                <c:pt idx="751">
                  <c:v>42802</c:v>
                </c:pt>
                <c:pt idx="752">
                  <c:v>42803</c:v>
                </c:pt>
                <c:pt idx="753">
                  <c:v>42804</c:v>
                </c:pt>
                <c:pt idx="754">
                  <c:v>42807</c:v>
                </c:pt>
                <c:pt idx="755">
                  <c:v>42808</c:v>
                </c:pt>
                <c:pt idx="756">
                  <c:v>42809</c:v>
                </c:pt>
                <c:pt idx="757">
                  <c:v>42810</c:v>
                </c:pt>
                <c:pt idx="758">
                  <c:v>42811</c:v>
                </c:pt>
                <c:pt idx="759">
                  <c:v>42814</c:v>
                </c:pt>
                <c:pt idx="760">
                  <c:v>42815</c:v>
                </c:pt>
                <c:pt idx="761">
                  <c:v>42816</c:v>
                </c:pt>
                <c:pt idx="762">
                  <c:v>42817</c:v>
                </c:pt>
                <c:pt idx="763">
                  <c:v>42818</c:v>
                </c:pt>
                <c:pt idx="764">
                  <c:v>42821</c:v>
                </c:pt>
                <c:pt idx="765">
                  <c:v>42822</c:v>
                </c:pt>
                <c:pt idx="766">
                  <c:v>42823</c:v>
                </c:pt>
                <c:pt idx="767">
                  <c:v>42824</c:v>
                </c:pt>
                <c:pt idx="768">
                  <c:v>42825</c:v>
                </c:pt>
                <c:pt idx="769">
                  <c:v>42830</c:v>
                </c:pt>
                <c:pt idx="770">
                  <c:v>42831</c:v>
                </c:pt>
                <c:pt idx="771">
                  <c:v>42832</c:v>
                </c:pt>
                <c:pt idx="772">
                  <c:v>42835</c:v>
                </c:pt>
                <c:pt idx="773">
                  <c:v>42836</c:v>
                </c:pt>
                <c:pt idx="774">
                  <c:v>42837</c:v>
                </c:pt>
                <c:pt idx="775">
                  <c:v>42838</c:v>
                </c:pt>
                <c:pt idx="776">
                  <c:v>42839</c:v>
                </c:pt>
                <c:pt idx="777">
                  <c:v>42842</c:v>
                </c:pt>
                <c:pt idx="778">
                  <c:v>42843</c:v>
                </c:pt>
                <c:pt idx="779">
                  <c:v>42844</c:v>
                </c:pt>
                <c:pt idx="780">
                  <c:v>42845</c:v>
                </c:pt>
                <c:pt idx="781">
                  <c:v>42846</c:v>
                </c:pt>
                <c:pt idx="782">
                  <c:v>42849</c:v>
                </c:pt>
                <c:pt idx="783">
                  <c:v>42850</c:v>
                </c:pt>
                <c:pt idx="784">
                  <c:v>42851</c:v>
                </c:pt>
                <c:pt idx="785">
                  <c:v>42852</c:v>
                </c:pt>
                <c:pt idx="786">
                  <c:v>42853</c:v>
                </c:pt>
                <c:pt idx="787">
                  <c:v>42857</c:v>
                </c:pt>
                <c:pt idx="788">
                  <c:v>42858</c:v>
                </c:pt>
                <c:pt idx="789">
                  <c:v>42859</c:v>
                </c:pt>
                <c:pt idx="790">
                  <c:v>42860</c:v>
                </c:pt>
                <c:pt idx="791">
                  <c:v>42863</c:v>
                </c:pt>
                <c:pt idx="792">
                  <c:v>42864</c:v>
                </c:pt>
                <c:pt idx="793">
                  <c:v>42865</c:v>
                </c:pt>
                <c:pt idx="794">
                  <c:v>42866</c:v>
                </c:pt>
                <c:pt idx="795">
                  <c:v>42867</c:v>
                </c:pt>
                <c:pt idx="796">
                  <c:v>42870</c:v>
                </c:pt>
                <c:pt idx="797">
                  <c:v>42871</c:v>
                </c:pt>
                <c:pt idx="798">
                  <c:v>42872</c:v>
                </c:pt>
                <c:pt idx="799">
                  <c:v>42873</c:v>
                </c:pt>
                <c:pt idx="800">
                  <c:v>42874</c:v>
                </c:pt>
                <c:pt idx="801">
                  <c:v>42877</c:v>
                </c:pt>
                <c:pt idx="802">
                  <c:v>42878</c:v>
                </c:pt>
                <c:pt idx="803">
                  <c:v>42879</c:v>
                </c:pt>
                <c:pt idx="804">
                  <c:v>42880</c:v>
                </c:pt>
                <c:pt idx="805">
                  <c:v>42881</c:v>
                </c:pt>
                <c:pt idx="806">
                  <c:v>42886</c:v>
                </c:pt>
                <c:pt idx="807">
                  <c:v>42887</c:v>
                </c:pt>
                <c:pt idx="808">
                  <c:v>42888</c:v>
                </c:pt>
                <c:pt idx="809">
                  <c:v>42891</c:v>
                </c:pt>
                <c:pt idx="810">
                  <c:v>42892</c:v>
                </c:pt>
                <c:pt idx="811">
                  <c:v>42893</c:v>
                </c:pt>
                <c:pt idx="812">
                  <c:v>42894</c:v>
                </c:pt>
                <c:pt idx="813">
                  <c:v>42895</c:v>
                </c:pt>
                <c:pt idx="814">
                  <c:v>42898</c:v>
                </c:pt>
                <c:pt idx="815">
                  <c:v>42899</c:v>
                </c:pt>
                <c:pt idx="816">
                  <c:v>42900</c:v>
                </c:pt>
                <c:pt idx="817">
                  <c:v>42901</c:v>
                </c:pt>
                <c:pt idx="818">
                  <c:v>42902</c:v>
                </c:pt>
                <c:pt idx="819">
                  <c:v>42905</c:v>
                </c:pt>
                <c:pt idx="820">
                  <c:v>42906</c:v>
                </c:pt>
                <c:pt idx="821">
                  <c:v>42907</c:v>
                </c:pt>
                <c:pt idx="822">
                  <c:v>42908</c:v>
                </c:pt>
                <c:pt idx="823">
                  <c:v>42909</c:v>
                </c:pt>
                <c:pt idx="824">
                  <c:v>42912</c:v>
                </c:pt>
                <c:pt idx="825">
                  <c:v>42913</c:v>
                </c:pt>
                <c:pt idx="826">
                  <c:v>42914</c:v>
                </c:pt>
                <c:pt idx="827">
                  <c:v>42915</c:v>
                </c:pt>
                <c:pt idx="828">
                  <c:v>42916</c:v>
                </c:pt>
                <c:pt idx="829">
                  <c:v>42919</c:v>
                </c:pt>
                <c:pt idx="830">
                  <c:v>42920</c:v>
                </c:pt>
                <c:pt idx="831">
                  <c:v>42921</c:v>
                </c:pt>
                <c:pt idx="832">
                  <c:v>42922</c:v>
                </c:pt>
                <c:pt idx="833">
                  <c:v>42923</c:v>
                </c:pt>
                <c:pt idx="834">
                  <c:v>42926</c:v>
                </c:pt>
                <c:pt idx="835">
                  <c:v>42927</c:v>
                </c:pt>
                <c:pt idx="836">
                  <c:v>42928</c:v>
                </c:pt>
                <c:pt idx="837">
                  <c:v>42929</c:v>
                </c:pt>
                <c:pt idx="838">
                  <c:v>42930</c:v>
                </c:pt>
                <c:pt idx="839">
                  <c:v>42933</c:v>
                </c:pt>
                <c:pt idx="840">
                  <c:v>42934</c:v>
                </c:pt>
                <c:pt idx="841">
                  <c:v>42935</c:v>
                </c:pt>
                <c:pt idx="842">
                  <c:v>42936</c:v>
                </c:pt>
                <c:pt idx="843">
                  <c:v>42937</c:v>
                </c:pt>
                <c:pt idx="844">
                  <c:v>42940</c:v>
                </c:pt>
                <c:pt idx="845">
                  <c:v>42941</c:v>
                </c:pt>
                <c:pt idx="846">
                  <c:v>42942</c:v>
                </c:pt>
                <c:pt idx="847">
                  <c:v>42943</c:v>
                </c:pt>
                <c:pt idx="848">
                  <c:v>42944</c:v>
                </c:pt>
                <c:pt idx="849">
                  <c:v>42947</c:v>
                </c:pt>
                <c:pt idx="850">
                  <c:v>42948</c:v>
                </c:pt>
                <c:pt idx="851">
                  <c:v>42949</c:v>
                </c:pt>
                <c:pt idx="852">
                  <c:v>42950</c:v>
                </c:pt>
                <c:pt idx="853">
                  <c:v>42951</c:v>
                </c:pt>
                <c:pt idx="854">
                  <c:v>42954</c:v>
                </c:pt>
                <c:pt idx="855">
                  <c:v>42955</c:v>
                </c:pt>
                <c:pt idx="856">
                  <c:v>42956</c:v>
                </c:pt>
                <c:pt idx="857">
                  <c:v>42957</c:v>
                </c:pt>
                <c:pt idx="858">
                  <c:v>42958</c:v>
                </c:pt>
                <c:pt idx="859">
                  <c:v>42961</c:v>
                </c:pt>
                <c:pt idx="860">
                  <c:v>42962</c:v>
                </c:pt>
                <c:pt idx="861">
                  <c:v>42963</c:v>
                </c:pt>
                <c:pt idx="862">
                  <c:v>42964</c:v>
                </c:pt>
                <c:pt idx="863">
                  <c:v>42965</c:v>
                </c:pt>
                <c:pt idx="864">
                  <c:v>42968</c:v>
                </c:pt>
                <c:pt idx="865">
                  <c:v>42969</c:v>
                </c:pt>
                <c:pt idx="866">
                  <c:v>42970</c:v>
                </c:pt>
                <c:pt idx="867">
                  <c:v>42971</c:v>
                </c:pt>
                <c:pt idx="868">
                  <c:v>42972</c:v>
                </c:pt>
                <c:pt idx="869">
                  <c:v>42975</c:v>
                </c:pt>
                <c:pt idx="870">
                  <c:v>42976</c:v>
                </c:pt>
                <c:pt idx="871">
                  <c:v>42977</c:v>
                </c:pt>
                <c:pt idx="872">
                  <c:v>42978</c:v>
                </c:pt>
                <c:pt idx="873">
                  <c:v>42979</c:v>
                </c:pt>
                <c:pt idx="874">
                  <c:v>42982</c:v>
                </c:pt>
                <c:pt idx="875">
                  <c:v>42983</c:v>
                </c:pt>
                <c:pt idx="876">
                  <c:v>42984</c:v>
                </c:pt>
                <c:pt idx="877">
                  <c:v>42985</c:v>
                </c:pt>
                <c:pt idx="878">
                  <c:v>42986</c:v>
                </c:pt>
                <c:pt idx="879">
                  <c:v>42989</c:v>
                </c:pt>
                <c:pt idx="880">
                  <c:v>42990</c:v>
                </c:pt>
                <c:pt idx="881">
                  <c:v>42991</c:v>
                </c:pt>
                <c:pt idx="882">
                  <c:v>42992</c:v>
                </c:pt>
                <c:pt idx="883">
                  <c:v>42993</c:v>
                </c:pt>
                <c:pt idx="884">
                  <c:v>42996</c:v>
                </c:pt>
                <c:pt idx="885">
                  <c:v>42997</c:v>
                </c:pt>
                <c:pt idx="886">
                  <c:v>42998</c:v>
                </c:pt>
                <c:pt idx="887">
                  <c:v>42999</c:v>
                </c:pt>
                <c:pt idx="888">
                  <c:v>43000</c:v>
                </c:pt>
                <c:pt idx="889">
                  <c:v>43003</c:v>
                </c:pt>
                <c:pt idx="890">
                  <c:v>43004</c:v>
                </c:pt>
                <c:pt idx="891">
                  <c:v>43005</c:v>
                </c:pt>
                <c:pt idx="892">
                  <c:v>43006</c:v>
                </c:pt>
                <c:pt idx="893">
                  <c:v>43007</c:v>
                </c:pt>
                <c:pt idx="894">
                  <c:v>43017</c:v>
                </c:pt>
                <c:pt idx="895">
                  <c:v>43018</c:v>
                </c:pt>
                <c:pt idx="896">
                  <c:v>43019</c:v>
                </c:pt>
                <c:pt idx="897">
                  <c:v>43020</c:v>
                </c:pt>
                <c:pt idx="898">
                  <c:v>43021</c:v>
                </c:pt>
                <c:pt idx="899">
                  <c:v>43024</c:v>
                </c:pt>
                <c:pt idx="900">
                  <c:v>43025</c:v>
                </c:pt>
                <c:pt idx="901">
                  <c:v>43026</c:v>
                </c:pt>
                <c:pt idx="902">
                  <c:v>43027</c:v>
                </c:pt>
                <c:pt idx="903">
                  <c:v>43028</c:v>
                </c:pt>
                <c:pt idx="904">
                  <c:v>43031</c:v>
                </c:pt>
                <c:pt idx="905">
                  <c:v>43032</c:v>
                </c:pt>
                <c:pt idx="906">
                  <c:v>43033</c:v>
                </c:pt>
                <c:pt idx="907">
                  <c:v>43034</c:v>
                </c:pt>
                <c:pt idx="908">
                  <c:v>43035</c:v>
                </c:pt>
                <c:pt idx="909">
                  <c:v>43038</c:v>
                </c:pt>
                <c:pt idx="910">
                  <c:v>43039</c:v>
                </c:pt>
                <c:pt idx="911">
                  <c:v>43040</c:v>
                </c:pt>
                <c:pt idx="912">
                  <c:v>43041</c:v>
                </c:pt>
                <c:pt idx="913">
                  <c:v>43042</c:v>
                </c:pt>
                <c:pt idx="914">
                  <c:v>43045</c:v>
                </c:pt>
                <c:pt idx="915">
                  <c:v>43046</c:v>
                </c:pt>
                <c:pt idx="916">
                  <c:v>43047</c:v>
                </c:pt>
                <c:pt idx="917">
                  <c:v>43048</c:v>
                </c:pt>
                <c:pt idx="918">
                  <c:v>43049</c:v>
                </c:pt>
                <c:pt idx="919">
                  <c:v>43052</c:v>
                </c:pt>
                <c:pt idx="920">
                  <c:v>43053</c:v>
                </c:pt>
                <c:pt idx="921">
                  <c:v>43054</c:v>
                </c:pt>
                <c:pt idx="922">
                  <c:v>43055</c:v>
                </c:pt>
                <c:pt idx="923">
                  <c:v>43056</c:v>
                </c:pt>
                <c:pt idx="924">
                  <c:v>43059</c:v>
                </c:pt>
                <c:pt idx="925">
                  <c:v>43060</c:v>
                </c:pt>
                <c:pt idx="926">
                  <c:v>43061</c:v>
                </c:pt>
                <c:pt idx="927">
                  <c:v>43062</c:v>
                </c:pt>
                <c:pt idx="928">
                  <c:v>43063</c:v>
                </c:pt>
                <c:pt idx="929">
                  <c:v>43066</c:v>
                </c:pt>
                <c:pt idx="930">
                  <c:v>43067</c:v>
                </c:pt>
                <c:pt idx="931">
                  <c:v>43068</c:v>
                </c:pt>
                <c:pt idx="932">
                  <c:v>43069</c:v>
                </c:pt>
                <c:pt idx="933">
                  <c:v>43070</c:v>
                </c:pt>
                <c:pt idx="934">
                  <c:v>43073</c:v>
                </c:pt>
                <c:pt idx="935">
                  <c:v>43074</c:v>
                </c:pt>
                <c:pt idx="936">
                  <c:v>43075</c:v>
                </c:pt>
                <c:pt idx="937">
                  <c:v>43076</c:v>
                </c:pt>
                <c:pt idx="938">
                  <c:v>43077</c:v>
                </c:pt>
                <c:pt idx="939">
                  <c:v>43080</c:v>
                </c:pt>
                <c:pt idx="940">
                  <c:v>43081</c:v>
                </c:pt>
                <c:pt idx="941">
                  <c:v>43082</c:v>
                </c:pt>
                <c:pt idx="942">
                  <c:v>43083</c:v>
                </c:pt>
                <c:pt idx="943">
                  <c:v>43084</c:v>
                </c:pt>
                <c:pt idx="944">
                  <c:v>43087</c:v>
                </c:pt>
                <c:pt idx="945">
                  <c:v>43088</c:v>
                </c:pt>
                <c:pt idx="946">
                  <c:v>43089</c:v>
                </c:pt>
                <c:pt idx="947">
                  <c:v>43090</c:v>
                </c:pt>
                <c:pt idx="948">
                  <c:v>43091</c:v>
                </c:pt>
                <c:pt idx="949">
                  <c:v>43094</c:v>
                </c:pt>
                <c:pt idx="950">
                  <c:v>43095</c:v>
                </c:pt>
                <c:pt idx="951">
                  <c:v>43096</c:v>
                </c:pt>
                <c:pt idx="952">
                  <c:v>43097</c:v>
                </c:pt>
                <c:pt idx="953">
                  <c:v>43098</c:v>
                </c:pt>
                <c:pt idx="954">
                  <c:v>43102</c:v>
                </c:pt>
                <c:pt idx="955">
                  <c:v>43103</c:v>
                </c:pt>
                <c:pt idx="956">
                  <c:v>43104</c:v>
                </c:pt>
                <c:pt idx="957">
                  <c:v>43105</c:v>
                </c:pt>
                <c:pt idx="958">
                  <c:v>43108</c:v>
                </c:pt>
                <c:pt idx="959">
                  <c:v>43109</c:v>
                </c:pt>
                <c:pt idx="960">
                  <c:v>43110</c:v>
                </c:pt>
                <c:pt idx="961">
                  <c:v>43111</c:v>
                </c:pt>
                <c:pt idx="962">
                  <c:v>43112</c:v>
                </c:pt>
                <c:pt idx="963">
                  <c:v>43115</c:v>
                </c:pt>
                <c:pt idx="964">
                  <c:v>43116</c:v>
                </c:pt>
                <c:pt idx="965">
                  <c:v>43117</c:v>
                </c:pt>
                <c:pt idx="966">
                  <c:v>43118</c:v>
                </c:pt>
                <c:pt idx="967">
                  <c:v>43119</c:v>
                </c:pt>
                <c:pt idx="968">
                  <c:v>43122</c:v>
                </c:pt>
                <c:pt idx="969">
                  <c:v>43123</c:v>
                </c:pt>
                <c:pt idx="970">
                  <c:v>43124</c:v>
                </c:pt>
                <c:pt idx="971">
                  <c:v>43125</c:v>
                </c:pt>
                <c:pt idx="972">
                  <c:v>43126</c:v>
                </c:pt>
                <c:pt idx="973">
                  <c:v>43129</c:v>
                </c:pt>
                <c:pt idx="974">
                  <c:v>43130</c:v>
                </c:pt>
                <c:pt idx="975">
                  <c:v>43131</c:v>
                </c:pt>
                <c:pt idx="976">
                  <c:v>43132</c:v>
                </c:pt>
                <c:pt idx="977">
                  <c:v>43133</c:v>
                </c:pt>
                <c:pt idx="978">
                  <c:v>43136</c:v>
                </c:pt>
                <c:pt idx="979">
                  <c:v>43137</c:v>
                </c:pt>
                <c:pt idx="980">
                  <c:v>43138</c:v>
                </c:pt>
                <c:pt idx="981">
                  <c:v>43139</c:v>
                </c:pt>
                <c:pt idx="982">
                  <c:v>43140</c:v>
                </c:pt>
                <c:pt idx="983">
                  <c:v>43143</c:v>
                </c:pt>
                <c:pt idx="984">
                  <c:v>43144</c:v>
                </c:pt>
                <c:pt idx="985">
                  <c:v>43145</c:v>
                </c:pt>
                <c:pt idx="986">
                  <c:v>43153</c:v>
                </c:pt>
                <c:pt idx="987">
                  <c:v>43154</c:v>
                </c:pt>
                <c:pt idx="988">
                  <c:v>43157</c:v>
                </c:pt>
                <c:pt idx="989">
                  <c:v>43158</c:v>
                </c:pt>
                <c:pt idx="990">
                  <c:v>43159</c:v>
                </c:pt>
                <c:pt idx="991">
                  <c:v>43160</c:v>
                </c:pt>
                <c:pt idx="992">
                  <c:v>43161</c:v>
                </c:pt>
                <c:pt idx="993">
                  <c:v>43164</c:v>
                </c:pt>
                <c:pt idx="994">
                  <c:v>43165</c:v>
                </c:pt>
                <c:pt idx="995">
                  <c:v>43166</c:v>
                </c:pt>
                <c:pt idx="996">
                  <c:v>43167</c:v>
                </c:pt>
                <c:pt idx="997">
                  <c:v>43168</c:v>
                </c:pt>
                <c:pt idx="998">
                  <c:v>43171</c:v>
                </c:pt>
                <c:pt idx="999">
                  <c:v>43172</c:v>
                </c:pt>
                <c:pt idx="1000">
                  <c:v>43173</c:v>
                </c:pt>
                <c:pt idx="1001">
                  <c:v>43174</c:v>
                </c:pt>
                <c:pt idx="1002">
                  <c:v>43175</c:v>
                </c:pt>
                <c:pt idx="1003">
                  <c:v>43178</c:v>
                </c:pt>
                <c:pt idx="1004">
                  <c:v>43179</c:v>
                </c:pt>
                <c:pt idx="1005">
                  <c:v>43180</c:v>
                </c:pt>
                <c:pt idx="1006">
                  <c:v>43181</c:v>
                </c:pt>
                <c:pt idx="1007">
                  <c:v>43182</c:v>
                </c:pt>
                <c:pt idx="1008">
                  <c:v>43185</c:v>
                </c:pt>
                <c:pt idx="1009">
                  <c:v>43186</c:v>
                </c:pt>
                <c:pt idx="1010">
                  <c:v>43187</c:v>
                </c:pt>
                <c:pt idx="1011">
                  <c:v>43188</c:v>
                </c:pt>
                <c:pt idx="1012">
                  <c:v>43189</c:v>
                </c:pt>
                <c:pt idx="1013">
                  <c:v>43192</c:v>
                </c:pt>
                <c:pt idx="1014">
                  <c:v>43193</c:v>
                </c:pt>
                <c:pt idx="1015">
                  <c:v>43194</c:v>
                </c:pt>
                <c:pt idx="1016">
                  <c:v>43199</c:v>
                </c:pt>
                <c:pt idx="1017">
                  <c:v>43200</c:v>
                </c:pt>
                <c:pt idx="1018">
                  <c:v>43201</c:v>
                </c:pt>
                <c:pt idx="1019">
                  <c:v>43202</c:v>
                </c:pt>
                <c:pt idx="1020">
                  <c:v>43203</c:v>
                </c:pt>
                <c:pt idx="1021">
                  <c:v>43206</c:v>
                </c:pt>
                <c:pt idx="1022">
                  <c:v>43207</c:v>
                </c:pt>
                <c:pt idx="1023">
                  <c:v>43208</c:v>
                </c:pt>
                <c:pt idx="1024">
                  <c:v>43209</c:v>
                </c:pt>
                <c:pt idx="1025">
                  <c:v>43210</c:v>
                </c:pt>
                <c:pt idx="1026">
                  <c:v>43213</c:v>
                </c:pt>
                <c:pt idx="1027">
                  <c:v>43214</c:v>
                </c:pt>
                <c:pt idx="1028">
                  <c:v>43215</c:v>
                </c:pt>
                <c:pt idx="1029">
                  <c:v>43216</c:v>
                </c:pt>
                <c:pt idx="1030">
                  <c:v>43217</c:v>
                </c:pt>
                <c:pt idx="1031">
                  <c:v>43222</c:v>
                </c:pt>
                <c:pt idx="1032">
                  <c:v>43223</c:v>
                </c:pt>
                <c:pt idx="1033">
                  <c:v>43224</c:v>
                </c:pt>
                <c:pt idx="1034">
                  <c:v>43227</c:v>
                </c:pt>
                <c:pt idx="1035">
                  <c:v>43228</c:v>
                </c:pt>
                <c:pt idx="1036">
                  <c:v>43229</c:v>
                </c:pt>
                <c:pt idx="1037">
                  <c:v>43230</c:v>
                </c:pt>
                <c:pt idx="1038">
                  <c:v>43231</c:v>
                </c:pt>
                <c:pt idx="1039">
                  <c:v>43234</c:v>
                </c:pt>
                <c:pt idx="1040">
                  <c:v>43235</c:v>
                </c:pt>
                <c:pt idx="1041">
                  <c:v>43236</c:v>
                </c:pt>
                <c:pt idx="1042">
                  <c:v>43237</c:v>
                </c:pt>
                <c:pt idx="1043">
                  <c:v>43238</c:v>
                </c:pt>
                <c:pt idx="1044">
                  <c:v>43241</c:v>
                </c:pt>
                <c:pt idx="1045">
                  <c:v>43242</c:v>
                </c:pt>
                <c:pt idx="1046">
                  <c:v>43243</c:v>
                </c:pt>
                <c:pt idx="1047">
                  <c:v>43244</c:v>
                </c:pt>
                <c:pt idx="1048">
                  <c:v>43245</c:v>
                </c:pt>
                <c:pt idx="1049">
                  <c:v>43248</c:v>
                </c:pt>
                <c:pt idx="1050">
                  <c:v>43249</c:v>
                </c:pt>
                <c:pt idx="1051">
                  <c:v>43250</c:v>
                </c:pt>
                <c:pt idx="1052">
                  <c:v>43251</c:v>
                </c:pt>
                <c:pt idx="1053">
                  <c:v>43252</c:v>
                </c:pt>
                <c:pt idx="1054">
                  <c:v>43255</c:v>
                </c:pt>
                <c:pt idx="1055">
                  <c:v>43256</c:v>
                </c:pt>
                <c:pt idx="1056">
                  <c:v>43257</c:v>
                </c:pt>
                <c:pt idx="1057">
                  <c:v>43258</c:v>
                </c:pt>
                <c:pt idx="1058">
                  <c:v>43259</c:v>
                </c:pt>
                <c:pt idx="1059">
                  <c:v>43262</c:v>
                </c:pt>
                <c:pt idx="1060">
                  <c:v>43263</c:v>
                </c:pt>
                <c:pt idx="1061">
                  <c:v>43264</c:v>
                </c:pt>
                <c:pt idx="1062">
                  <c:v>43265</c:v>
                </c:pt>
                <c:pt idx="1063">
                  <c:v>43266</c:v>
                </c:pt>
                <c:pt idx="1064">
                  <c:v>43270</c:v>
                </c:pt>
                <c:pt idx="1065">
                  <c:v>43271</c:v>
                </c:pt>
                <c:pt idx="1066">
                  <c:v>43272</c:v>
                </c:pt>
                <c:pt idx="1067">
                  <c:v>43273</c:v>
                </c:pt>
                <c:pt idx="1068">
                  <c:v>43276</c:v>
                </c:pt>
                <c:pt idx="1069">
                  <c:v>43277</c:v>
                </c:pt>
                <c:pt idx="1070">
                  <c:v>43278</c:v>
                </c:pt>
                <c:pt idx="1071">
                  <c:v>43279</c:v>
                </c:pt>
                <c:pt idx="1072">
                  <c:v>43280</c:v>
                </c:pt>
                <c:pt idx="1073">
                  <c:v>43283</c:v>
                </c:pt>
                <c:pt idx="1074">
                  <c:v>43284</c:v>
                </c:pt>
                <c:pt idx="1075">
                  <c:v>43285</c:v>
                </c:pt>
                <c:pt idx="1076">
                  <c:v>43286</c:v>
                </c:pt>
                <c:pt idx="1077">
                  <c:v>43287</c:v>
                </c:pt>
                <c:pt idx="1078">
                  <c:v>43290</c:v>
                </c:pt>
                <c:pt idx="1079">
                  <c:v>43291</c:v>
                </c:pt>
                <c:pt idx="1080">
                  <c:v>43292</c:v>
                </c:pt>
                <c:pt idx="1081">
                  <c:v>43293</c:v>
                </c:pt>
                <c:pt idx="1082">
                  <c:v>43294</c:v>
                </c:pt>
                <c:pt idx="1083">
                  <c:v>43297</c:v>
                </c:pt>
                <c:pt idx="1084">
                  <c:v>43298</c:v>
                </c:pt>
                <c:pt idx="1085">
                  <c:v>43299</c:v>
                </c:pt>
                <c:pt idx="1086">
                  <c:v>43300</c:v>
                </c:pt>
                <c:pt idx="1087">
                  <c:v>43301</c:v>
                </c:pt>
                <c:pt idx="1088">
                  <c:v>43304</c:v>
                </c:pt>
                <c:pt idx="1089">
                  <c:v>43305</c:v>
                </c:pt>
                <c:pt idx="1090">
                  <c:v>43306</c:v>
                </c:pt>
                <c:pt idx="1091">
                  <c:v>43307</c:v>
                </c:pt>
                <c:pt idx="1092">
                  <c:v>43308</c:v>
                </c:pt>
                <c:pt idx="1093">
                  <c:v>43311</c:v>
                </c:pt>
                <c:pt idx="1094">
                  <c:v>43312</c:v>
                </c:pt>
                <c:pt idx="1095">
                  <c:v>43313</c:v>
                </c:pt>
                <c:pt idx="1096">
                  <c:v>43314</c:v>
                </c:pt>
                <c:pt idx="1097">
                  <c:v>43315</c:v>
                </c:pt>
                <c:pt idx="1098">
                  <c:v>43318</c:v>
                </c:pt>
                <c:pt idx="1099">
                  <c:v>43319</c:v>
                </c:pt>
                <c:pt idx="1100">
                  <c:v>43320</c:v>
                </c:pt>
                <c:pt idx="1101">
                  <c:v>43321</c:v>
                </c:pt>
                <c:pt idx="1102">
                  <c:v>43322</c:v>
                </c:pt>
                <c:pt idx="1103">
                  <c:v>43325</c:v>
                </c:pt>
                <c:pt idx="1104">
                  <c:v>43326</c:v>
                </c:pt>
                <c:pt idx="1105">
                  <c:v>43327</c:v>
                </c:pt>
                <c:pt idx="1106">
                  <c:v>43328</c:v>
                </c:pt>
                <c:pt idx="1107">
                  <c:v>43329</c:v>
                </c:pt>
                <c:pt idx="1108">
                  <c:v>43332</c:v>
                </c:pt>
                <c:pt idx="1109">
                  <c:v>43333</c:v>
                </c:pt>
                <c:pt idx="1110">
                  <c:v>43334</c:v>
                </c:pt>
                <c:pt idx="1111">
                  <c:v>43335</c:v>
                </c:pt>
                <c:pt idx="1112">
                  <c:v>43336</c:v>
                </c:pt>
                <c:pt idx="1113">
                  <c:v>43339</c:v>
                </c:pt>
                <c:pt idx="1114">
                  <c:v>43340</c:v>
                </c:pt>
                <c:pt idx="1115">
                  <c:v>43341</c:v>
                </c:pt>
                <c:pt idx="1116">
                  <c:v>43342</c:v>
                </c:pt>
                <c:pt idx="1117">
                  <c:v>43343</c:v>
                </c:pt>
                <c:pt idx="1118">
                  <c:v>43346</c:v>
                </c:pt>
                <c:pt idx="1119">
                  <c:v>43347</c:v>
                </c:pt>
                <c:pt idx="1120">
                  <c:v>43348</c:v>
                </c:pt>
                <c:pt idx="1121">
                  <c:v>43349</c:v>
                </c:pt>
                <c:pt idx="1122">
                  <c:v>43350</c:v>
                </c:pt>
                <c:pt idx="1123">
                  <c:v>43353</c:v>
                </c:pt>
                <c:pt idx="1124">
                  <c:v>43354</c:v>
                </c:pt>
                <c:pt idx="1125">
                  <c:v>43355</c:v>
                </c:pt>
                <c:pt idx="1126">
                  <c:v>43356</c:v>
                </c:pt>
                <c:pt idx="1127">
                  <c:v>43357</c:v>
                </c:pt>
                <c:pt idx="1128">
                  <c:v>43360</c:v>
                </c:pt>
                <c:pt idx="1129">
                  <c:v>43361</c:v>
                </c:pt>
                <c:pt idx="1130">
                  <c:v>43362</c:v>
                </c:pt>
                <c:pt idx="1131">
                  <c:v>43363</c:v>
                </c:pt>
                <c:pt idx="1132">
                  <c:v>43364</c:v>
                </c:pt>
                <c:pt idx="1133">
                  <c:v>43368</c:v>
                </c:pt>
                <c:pt idx="1134">
                  <c:v>43369</c:v>
                </c:pt>
                <c:pt idx="1135">
                  <c:v>43370</c:v>
                </c:pt>
                <c:pt idx="1136">
                  <c:v>43371</c:v>
                </c:pt>
                <c:pt idx="1137">
                  <c:v>43381</c:v>
                </c:pt>
                <c:pt idx="1138">
                  <c:v>43382</c:v>
                </c:pt>
                <c:pt idx="1139">
                  <c:v>43383</c:v>
                </c:pt>
                <c:pt idx="1140">
                  <c:v>43384</c:v>
                </c:pt>
                <c:pt idx="1141">
                  <c:v>43385</c:v>
                </c:pt>
                <c:pt idx="1142">
                  <c:v>43388</c:v>
                </c:pt>
                <c:pt idx="1143">
                  <c:v>43389</c:v>
                </c:pt>
                <c:pt idx="1144">
                  <c:v>43390</c:v>
                </c:pt>
                <c:pt idx="1145">
                  <c:v>43391</c:v>
                </c:pt>
                <c:pt idx="1146">
                  <c:v>43392</c:v>
                </c:pt>
                <c:pt idx="1147">
                  <c:v>43395</c:v>
                </c:pt>
                <c:pt idx="1148">
                  <c:v>43396</c:v>
                </c:pt>
                <c:pt idx="1149">
                  <c:v>43397</c:v>
                </c:pt>
                <c:pt idx="1150">
                  <c:v>43398</c:v>
                </c:pt>
                <c:pt idx="1151">
                  <c:v>43399</c:v>
                </c:pt>
                <c:pt idx="1152">
                  <c:v>43402</c:v>
                </c:pt>
                <c:pt idx="1153">
                  <c:v>43403</c:v>
                </c:pt>
                <c:pt idx="1154">
                  <c:v>43404</c:v>
                </c:pt>
                <c:pt idx="1155">
                  <c:v>43405</c:v>
                </c:pt>
                <c:pt idx="1156">
                  <c:v>43406</c:v>
                </c:pt>
                <c:pt idx="1157">
                  <c:v>43409</c:v>
                </c:pt>
                <c:pt idx="1158">
                  <c:v>43410</c:v>
                </c:pt>
                <c:pt idx="1159">
                  <c:v>43411</c:v>
                </c:pt>
                <c:pt idx="1160">
                  <c:v>43412</c:v>
                </c:pt>
                <c:pt idx="1161">
                  <c:v>43413</c:v>
                </c:pt>
                <c:pt idx="1162">
                  <c:v>43416</c:v>
                </c:pt>
                <c:pt idx="1163">
                  <c:v>43417</c:v>
                </c:pt>
                <c:pt idx="1164">
                  <c:v>43418</c:v>
                </c:pt>
                <c:pt idx="1165">
                  <c:v>43419</c:v>
                </c:pt>
                <c:pt idx="1166">
                  <c:v>43420</c:v>
                </c:pt>
                <c:pt idx="1167">
                  <c:v>43423</c:v>
                </c:pt>
                <c:pt idx="1168">
                  <c:v>43424</c:v>
                </c:pt>
                <c:pt idx="1169">
                  <c:v>43425</c:v>
                </c:pt>
                <c:pt idx="1170">
                  <c:v>43426</c:v>
                </c:pt>
                <c:pt idx="1171">
                  <c:v>43427</c:v>
                </c:pt>
                <c:pt idx="1172">
                  <c:v>43430</c:v>
                </c:pt>
                <c:pt idx="1173">
                  <c:v>43431</c:v>
                </c:pt>
                <c:pt idx="1174">
                  <c:v>43432</c:v>
                </c:pt>
                <c:pt idx="1175">
                  <c:v>43433</c:v>
                </c:pt>
                <c:pt idx="1176">
                  <c:v>43434</c:v>
                </c:pt>
                <c:pt idx="1177">
                  <c:v>43437</c:v>
                </c:pt>
                <c:pt idx="1178">
                  <c:v>43438</c:v>
                </c:pt>
                <c:pt idx="1179">
                  <c:v>43439</c:v>
                </c:pt>
                <c:pt idx="1180">
                  <c:v>43440</c:v>
                </c:pt>
                <c:pt idx="1181">
                  <c:v>43441</c:v>
                </c:pt>
                <c:pt idx="1182">
                  <c:v>43444</c:v>
                </c:pt>
                <c:pt idx="1183">
                  <c:v>43445</c:v>
                </c:pt>
                <c:pt idx="1184">
                  <c:v>43446</c:v>
                </c:pt>
                <c:pt idx="1185">
                  <c:v>43447</c:v>
                </c:pt>
                <c:pt idx="1186">
                  <c:v>43448</c:v>
                </c:pt>
                <c:pt idx="1187">
                  <c:v>43451</c:v>
                </c:pt>
                <c:pt idx="1188">
                  <c:v>43452</c:v>
                </c:pt>
                <c:pt idx="1189">
                  <c:v>43453</c:v>
                </c:pt>
                <c:pt idx="1190">
                  <c:v>43454</c:v>
                </c:pt>
                <c:pt idx="1191">
                  <c:v>43455</c:v>
                </c:pt>
                <c:pt idx="1192">
                  <c:v>43458</c:v>
                </c:pt>
                <c:pt idx="1193">
                  <c:v>43459</c:v>
                </c:pt>
                <c:pt idx="1194">
                  <c:v>43460</c:v>
                </c:pt>
                <c:pt idx="1195">
                  <c:v>43461</c:v>
                </c:pt>
                <c:pt idx="1196">
                  <c:v>43462</c:v>
                </c:pt>
                <c:pt idx="1197">
                  <c:v>43467</c:v>
                </c:pt>
                <c:pt idx="1198">
                  <c:v>43468</c:v>
                </c:pt>
                <c:pt idx="1199">
                  <c:v>43469</c:v>
                </c:pt>
                <c:pt idx="1200">
                  <c:v>43472</c:v>
                </c:pt>
                <c:pt idx="1201">
                  <c:v>43473</c:v>
                </c:pt>
                <c:pt idx="1202">
                  <c:v>43474</c:v>
                </c:pt>
                <c:pt idx="1203">
                  <c:v>43475</c:v>
                </c:pt>
                <c:pt idx="1204">
                  <c:v>43476</c:v>
                </c:pt>
                <c:pt idx="1205">
                  <c:v>43479</c:v>
                </c:pt>
                <c:pt idx="1206">
                  <c:v>43480</c:v>
                </c:pt>
                <c:pt idx="1207">
                  <c:v>43481</c:v>
                </c:pt>
                <c:pt idx="1208">
                  <c:v>43482</c:v>
                </c:pt>
                <c:pt idx="1209">
                  <c:v>43483</c:v>
                </c:pt>
                <c:pt idx="1210">
                  <c:v>43486</c:v>
                </c:pt>
                <c:pt idx="1211">
                  <c:v>43487</c:v>
                </c:pt>
                <c:pt idx="1212">
                  <c:v>43488</c:v>
                </c:pt>
                <c:pt idx="1213">
                  <c:v>43489</c:v>
                </c:pt>
                <c:pt idx="1214">
                  <c:v>43490</c:v>
                </c:pt>
                <c:pt idx="1215">
                  <c:v>43493</c:v>
                </c:pt>
                <c:pt idx="1216">
                  <c:v>43494</c:v>
                </c:pt>
                <c:pt idx="1217">
                  <c:v>43495</c:v>
                </c:pt>
                <c:pt idx="1218">
                  <c:v>43496</c:v>
                </c:pt>
                <c:pt idx="1219">
                  <c:v>43497</c:v>
                </c:pt>
                <c:pt idx="1220">
                  <c:v>43507</c:v>
                </c:pt>
                <c:pt idx="1221">
                  <c:v>43508</c:v>
                </c:pt>
                <c:pt idx="1222">
                  <c:v>43509</c:v>
                </c:pt>
                <c:pt idx="1223">
                  <c:v>43510</c:v>
                </c:pt>
                <c:pt idx="1224">
                  <c:v>43511</c:v>
                </c:pt>
                <c:pt idx="1225">
                  <c:v>43514</c:v>
                </c:pt>
                <c:pt idx="1226">
                  <c:v>43515</c:v>
                </c:pt>
                <c:pt idx="1227">
                  <c:v>43516</c:v>
                </c:pt>
                <c:pt idx="1228">
                  <c:v>43517</c:v>
                </c:pt>
                <c:pt idx="1229">
                  <c:v>43518</c:v>
                </c:pt>
                <c:pt idx="1230">
                  <c:v>43521</c:v>
                </c:pt>
                <c:pt idx="1231">
                  <c:v>43522</c:v>
                </c:pt>
                <c:pt idx="1232">
                  <c:v>43523</c:v>
                </c:pt>
                <c:pt idx="1233">
                  <c:v>43524</c:v>
                </c:pt>
                <c:pt idx="1234">
                  <c:v>43525</c:v>
                </c:pt>
                <c:pt idx="1235">
                  <c:v>43528</c:v>
                </c:pt>
                <c:pt idx="1236">
                  <c:v>43529</c:v>
                </c:pt>
                <c:pt idx="1237">
                  <c:v>43530</c:v>
                </c:pt>
                <c:pt idx="1238">
                  <c:v>43531</c:v>
                </c:pt>
                <c:pt idx="1239">
                  <c:v>43532</c:v>
                </c:pt>
                <c:pt idx="1240">
                  <c:v>43535</c:v>
                </c:pt>
                <c:pt idx="1241">
                  <c:v>43536</c:v>
                </c:pt>
                <c:pt idx="1242">
                  <c:v>43537</c:v>
                </c:pt>
                <c:pt idx="1243">
                  <c:v>43538</c:v>
                </c:pt>
                <c:pt idx="1244">
                  <c:v>43539</c:v>
                </c:pt>
                <c:pt idx="1245">
                  <c:v>43542</c:v>
                </c:pt>
                <c:pt idx="1246">
                  <c:v>43543</c:v>
                </c:pt>
                <c:pt idx="1247">
                  <c:v>43544</c:v>
                </c:pt>
                <c:pt idx="1248">
                  <c:v>43545</c:v>
                </c:pt>
                <c:pt idx="1249">
                  <c:v>43546</c:v>
                </c:pt>
                <c:pt idx="1250">
                  <c:v>43549</c:v>
                </c:pt>
                <c:pt idx="1251">
                  <c:v>43550</c:v>
                </c:pt>
                <c:pt idx="1252">
                  <c:v>43551</c:v>
                </c:pt>
                <c:pt idx="1253">
                  <c:v>43552</c:v>
                </c:pt>
                <c:pt idx="1254">
                  <c:v>43553</c:v>
                </c:pt>
                <c:pt idx="1255">
                  <c:v>43556</c:v>
                </c:pt>
                <c:pt idx="1256">
                  <c:v>43557</c:v>
                </c:pt>
                <c:pt idx="1257">
                  <c:v>43558</c:v>
                </c:pt>
                <c:pt idx="1258">
                  <c:v>43559</c:v>
                </c:pt>
                <c:pt idx="1259">
                  <c:v>43563</c:v>
                </c:pt>
                <c:pt idx="1260">
                  <c:v>43564</c:v>
                </c:pt>
                <c:pt idx="1261">
                  <c:v>43565</c:v>
                </c:pt>
                <c:pt idx="1262">
                  <c:v>43566</c:v>
                </c:pt>
                <c:pt idx="1263">
                  <c:v>43567</c:v>
                </c:pt>
                <c:pt idx="1264">
                  <c:v>43570</c:v>
                </c:pt>
                <c:pt idx="1265">
                  <c:v>43571</c:v>
                </c:pt>
                <c:pt idx="1266">
                  <c:v>43572</c:v>
                </c:pt>
                <c:pt idx="1267">
                  <c:v>43573</c:v>
                </c:pt>
                <c:pt idx="1268">
                  <c:v>43574</c:v>
                </c:pt>
                <c:pt idx="1269">
                  <c:v>43577</c:v>
                </c:pt>
                <c:pt idx="1270">
                  <c:v>43578</c:v>
                </c:pt>
                <c:pt idx="1271">
                  <c:v>43579</c:v>
                </c:pt>
                <c:pt idx="1272">
                  <c:v>43580</c:v>
                </c:pt>
                <c:pt idx="1273">
                  <c:v>43581</c:v>
                </c:pt>
                <c:pt idx="1274">
                  <c:v>43584</c:v>
                </c:pt>
                <c:pt idx="1275">
                  <c:v>43585</c:v>
                </c:pt>
                <c:pt idx="1276">
                  <c:v>43591</c:v>
                </c:pt>
                <c:pt idx="1277">
                  <c:v>43592</c:v>
                </c:pt>
                <c:pt idx="1278">
                  <c:v>43593</c:v>
                </c:pt>
                <c:pt idx="1279">
                  <c:v>43594</c:v>
                </c:pt>
                <c:pt idx="1280">
                  <c:v>43595</c:v>
                </c:pt>
                <c:pt idx="1281">
                  <c:v>43598</c:v>
                </c:pt>
                <c:pt idx="1282">
                  <c:v>43599</c:v>
                </c:pt>
                <c:pt idx="1283">
                  <c:v>43600</c:v>
                </c:pt>
                <c:pt idx="1284">
                  <c:v>43601</c:v>
                </c:pt>
                <c:pt idx="1285">
                  <c:v>43602</c:v>
                </c:pt>
                <c:pt idx="1286">
                  <c:v>43605</c:v>
                </c:pt>
                <c:pt idx="1287">
                  <c:v>43606</c:v>
                </c:pt>
                <c:pt idx="1288">
                  <c:v>43607</c:v>
                </c:pt>
                <c:pt idx="1289">
                  <c:v>43608</c:v>
                </c:pt>
                <c:pt idx="1290">
                  <c:v>43609</c:v>
                </c:pt>
                <c:pt idx="1291">
                  <c:v>43612</c:v>
                </c:pt>
                <c:pt idx="1292">
                  <c:v>43613</c:v>
                </c:pt>
                <c:pt idx="1293">
                  <c:v>43614</c:v>
                </c:pt>
                <c:pt idx="1294">
                  <c:v>43615</c:v>
                </c:pt>
                <c:pt idx="1295">
                  <c:v>43616</c:v>
                </c:pt>
                <c:pt idx="1296">
                  <c:v>43619</c:v>
                </c:pt>
                <c:pt idx="1297">
                  <c:v>43620</c:v>
                </c:pt>
                <c:pt idx="1298">
                  <c:v>43621</c:v>
                </c:pt>
                <c:pt idx="1299">
                  <c:v>43622</c:v>
                </c:pt>
                <c:pt idx="1300">
                  <c:v>43626</c:v>
                </c:pt>
                <c:pt idx="1301">
                  <c:v>43627</c:v>
                </c:pt>
                <c:pt idx="1302">
                  <c:v>43628</c:v>
                </c:pt>
                <c:pt idx="1303">
                  <c:v>43629</c:v>
                </c:pt>
                <c:pt idx="1304">
                  <c:v>43630</c:v>
                </c:pt>
                <c:pt idx="1305">
                  <c:v>43633</c:v>
                </c:pt>
                <c:pt idx="1306">
                  <c:v>43634</c:v>
                </c:pt>
                <c:pt idx="1307">
                  <c:v>43635</c:v>
                </c:pt>
                <c:pt idx="1308">
                  <c:v>43636</c:v>
                </c:pt>
                <c:pt idx="1309">
                  <c:v>43637</c:v>
                </c:pt>
                <c:pt idx="1310">
                  <c:v>43640</c:v>
                </c:pt>
                <c:pt idx="1311">
                  <c:v>43641</c:v>
                </c:pt>
                <c:pt idx="1312">
                  <c:v>43642</c:v>
                </c:pt>
                <c:pt idx="1313">
                  <c:v>43643</c:v>
                </c:pt>
                <c:pt idx="1314">
                  <c:v>43644</c:v>
                </c:pt>
                <c:pt idx="1315">
                  <c:v>43647</c:v>
                </c:pt>
                <c:pt idx="1316">
                  <c:v>43648</c:v>
                </c:pt>
                <c:pt idx="1317">
                  <c:v>43649</c:v>
                </c:pt>
                <c:pt idx="1318">
                  <c:v>43650</c:v>
                </c:pt>
                <c:pt idx="1319">
                  <c:v>43651</c:v>
                </c:pt>
                <c:pt idx="1320">
                  <c:v>43654</c:v>
                </c:pt>
                <c:pt idx="1321">
                  <c:v>43655</c:v>
                </c:pt>
                <c:pt idx="1322">
                  <c:v>43656</c:v>
                </c:pt>
                <c:pt idx="1323">
                  <c:v>43657</c:v>
                </c:pt>
                <c:pt idx="1324">
                  <c:v>43658</c:v>
                </c:pt>
                <c:pt idx="1325">
                  <c:v>43661</c:v>
                </c:pt>
                <c:pt idx="1326">
                  <c:v>43662</c:v>
                </c:pt>
                <c:pt idx="1327">
                  <c:v>43663</c:v>
                </c:pt>
                <c:pt idx="1328">
                  <c:v>43664</c:v>
                </c:pt>
                <c:pt idx="1329">
                  <c:v>43665</c:v>
                </c:pt>
                <c:pt idx="1330">
                  <c:v>43668</c:v>
                </c:pt>
                <c:pt idx="1331">
                  <c:v>43669</c:v>
                </c:pt>
                <c:pt idx="1332">
                  <c:v>43670</c:v>
                </c:pt>
                <c:pt idx="1333">
                  <c:v>43671</c:v>
                </c:pt>
                <c:pt idx="1334">
                  <c:v>43672</c:v>
                </c:pt>
                <c:pt idx="1335">
                  <c:v>43675</c:v>
                </c:pt>
                <c:pt idx="1336">
                  <c:v>43676</c:v>
                </c:pt>
                <c:pt idx="1337">
                  <c:v>43677</c:v>
                </c:pt>
                <c:pt idx="1338">
                  <c:v>43678</c:v>
                </c:pt>
                <c:pt idx="1339">
                  <c:v>43679</c:v>
                </c:pt>
                <c:pt idx="1340">
                  <c:v>43682</c:v>
                </c:pt>
                <c:pt idx="1341">
                  <c:v>43683</c:v>
                </c:pt>
                <c:pt idx="1342">
                  <c:v>43684</c:v>
                </c:pt>
                <c:pt idx="1343">
                  <c:v>43685</c:v>
                </c:pt>
                <c:pt idx="1344">
                  <c:v>43686</c:v>
                </c:pt>
                <c:pt idx="1345">
                  <c:v>43689</c:v>
                </c:pt>
                <c:pt idx="1346">
                  <c:v>43690</c:v>
                </c:pt>
                <c:pt idx="1347">
                  <c:v>43691</c:v>
                </c:pt>
                <c:pt idx="1348">
                  <c:v>43692</c:v>
                </c:pt>
                <c:pt idx="1349">
                  <c:v>43693</c:v>
                </c:pt>
                <c:pt idx="1350">
                  <c:v>43696</c:v>
                </c:pt>
                <c:pt idx="1351">
                  <c:v>43697</c:v>
                </c:pt>
                <c:pt idx="1352">
                  <c:v>43698</c:v>
                </c:pt>
                <c:pt idx="1353">
                  <c:v>43699</c:v>
                </c:pt>
                <c:pt idx="1354">
                  <c:v>43700</c:v>
                </c:pt>
                <c:pt idx="1355">
                  <c:v>43703</c:v>
                </c:pt>
                <c:pt idx="1356">
                  <c:v>43704</c:v>
                </c:pt>
                <c:pt idx="1357">
                  <c:v>43705</c:v>
                </c:pt>
                <c:pt idx="1358">
                  <c:v>43706</c:v>
                </c:pt>
                <c:pt idx="1359">
                  <c:v>43707</c:v>
                </c:pt>
                <c:pt idx="1360">
                  <c:v>43710</c:v>
                </c:pt>
                <c:pt idx="1361">
                  <c:v>43711</c:v>
                </c:pt>
                <c:pt idx="1362">
                  <c:v>43712</c:v>
                </c:pt>
                <c:pt idx="1363">
                  <c:v>43713</c:v>
                </c:pt>
                <c:pt idx="1364">
                  <c:v>43714</c:v>
                </c:pt>
                <c:pt idx="1365">
                  <c:v>43717</c:v>
                </c:pt>
                <c:pt idx="1366">
                  <c:v>43718</c:v>
                </c:pt>
                <c:pt idx="1367">
                  <c:v>43719</c:v>
                </c:pt>
                <c:pt idx="1368">
                  <c:v>43720</c:v>
                </c:pt>
                <c:pt idx="1369">
                  <c:v>43724</c:v>
                </c:pt>
                <c:pt idx="1370">
                  <c:v>43725</c:v>
                </c:pt>
                <c:pt idx="1371">
                  <c:v>43726</c:v>
                </c:pt>
                <c:pt idx="1372">
                  <c:v>43727</c:v>
                </c:pt>
                <c:pt idx="1373">
                  <c:v>43728</c:v>
                </c:pt>
                <c:pt idx="1374">
                  <c:v>43731</c:v>
                </c:pt>
                <c:pt idx="1375">
                  <c:v>43732</c:v>
                </c:pt>
                <c:pt idx="1376">
                  <c:v>43733</c:v>
                </c:pt>
                <c:pt idx="1377">
                  <c:v>43734</c:v>
                </c:pt>
                <c:pt idx="1378">
                  <c:v>43735</c:v>
                </c:pt>
                <c:pt idx="1379">
                  <c:v>43738</c:v>
                </c:pt>
                <c:pt idx="1380">
                  <c:v>43746</c:v>
                </c:pt>
                <c:pt idx="1381">
                  <c:v>43747</c:v>
                </c:pt>
                <c:pt idx="1382">
                  <c:v>43748</c:v>
                </c:pt>
                <c:pt idx="1383">
                  <c:v>43749</c:v>
                </c:pt>
                <c:pt idx="1384">
                  <c:v>43752</c:v>
                </c:pt>
                <c:pt idx="1385">
                  <c:v>43753</c:v>
                </c:pt>
                <c:pt idx="1386">
                  <c:v>43754</c:v>
                </c:pt>
                <c:pt idx="1387">
                  <c:v>43755</c:v>
                </c:pt>
                <c:pt idx="1388">
                  <c:v>43756</c:v>
                </c:pt>
                <c:pt idx="1389">
                  <c:v>43759</c:v>
                </c:pt>
                <c:pt idx="1390">
                  <c:v>43760</c:v>
                </c:pt>
                <c:pt idx="1391">
                  <c:v>43761</c:v>
                </c:pt>
                <c:pt idx="1392">
                  <c:v>43762</c:v>
                </c:pt>
                <c:pt idx="1393">
                  <c:v>43763</c:v>
                </c:pt>
                <c:pt idx="1394">
                  <c:v>43766</c:v>
                </c:pt>
                <c:pt idx="1395">
                  <c:v>43767</c:v>
                </c:pt>
                <c:pt idx="1396">
                  <c:v>43768</c:v>
                </c:pt>
                <c:pt idx="1397">
                  <c:v>43769</c:v>
                </c:pt>
                <c:pt idx="1398">
                  <c:v>43770</c:v>
                </c:pt>
                <c:pt idx="1399">
                  <c:v>43773</c:v>
                </c:pt>
                <c:pt idx="1400">
                  <c:v>43774</c:v>
                </c:pt>
                <c:pt idx="1401">
                  <c:v>43775</c:v>
                </c:pt>
                <c:pt idx="1402">
                  <c:v>43776</c:v>
                </c:pt>
                <c:pt idx="1403">
                  <c:v>43777</c:v>
                </c:pt>
                <c:pt idx="1404">
                  <c:v>43780</c:v>
                </c:pt>
                <c:pt idx="1405">
                  <c:v>43781</c:v>
                </c:pt>
                <c:pt idx="1406">
                  <c:v>43782</c:v>
                </c:pt>
                <c:pt idx="1407">
                  <c:v>43783</c:v>
                </c:pt>
                <c:pt idx="1408">
                  <c:v>43784</c:v>
                </c:pt>
                <c:pt idx="1409">
                  <c:v>43787</c:v>
                </c:pt>
                <c:pt idx="1410">
                  <c:v>43788</c:v>
                </c:pt>
                <c:pt idx="1411">
                  <c:v>43789</c:v>
                </c:pt>
                <c:pt idx="1412">
                  <c:v>43790</c:v>
                </c:pt>
                <c:pt idx="1413">
                  <c:v>43791</c:v>
                </c:pt>
                <c:pt idx="1414">
                  <c:v>43794</c:v>
                </c:pt>
                <c:pt idx="1415">
                  <c:v>43795</c:v>
                </c:pt>
                <c:pt idx="1416">
                  <c:v>43796</c:v>
                </c:pt>
                <c:pt idx="1417">
                  <c:v>43797</c:v>
                </c:pt>
                <c:pt idx="1418">
                  <c:v>43798</c:v>
                </c:pt>
                <c:pt idx="1419">
                  <c:v>43801</c:v>
                </c:pt>
                <c:pt idx="1420">
                  <c:v>43802</c:v>
                </c:pt>
                <c:pt idx="1421">
                  <c:v>43803</c:v>
                </c:pt>
                <c:pt idx="1422">
                  <c:v>43804</c:v>
                </c:pt>
                <c:pt idx="1423">
                  <c:v>43805</c:v>
                </c:pt>
                <c:pt idx="1424">
                  <c:v>43808</c:v>
                </c:pt>
                <c:pt idx="1425">
                  <c:v>43809</c:v>
                </c:pt>
                <c:pt idx="1426">
                  <c:v>43810</c:v>
                </c:pt>
                <c:pt idx="1427">
                  <c:v>43811</c:v>
                </c:pt>
                <c:pt idx="1428">
                  <c:v>43812</c:v>
                </c:pt>
                <c:pt idx="1429">
                  <c:v>43815</c:v>
                </c:pt>
                <c:pt idx="1430">
                  <c:v>43816</c:v>
                </c:pt>
                <c:pt idx="1431">
                  <c:v>43817</c:v>
                </c:pt>
                <c:pt idx="1432">
                  <c:v>43818</c:v>
                </c:pt>
                <c:pt idx="1433">
                  <c:v>43819</c:v>
                </c:pt>
                <c:pt idx="1434">
                  <c:v>43822</c:v>
                </c:pt>
                <c:pt idx="1435">
                  <c:v>43823</c:v>
                </c:pt>
                <c:pt idx="1436">
                  <c:v>43824</c:v>
                </c:pt>
                <c:pt idx="1437">
                  <c:v>43825</c:v>
                </c:pt>
                <c:pt idx="1438">
                  <c:v>43826</c:v>
                </c:pt>
                <c:pt idx="1439">
                  <c:v>43829</c:v>
                </c:pt>
                <c:pt idx="1440">
                  <c:v>43830</c:v>
                </c:pt>
                <c:pt idx="1441">
                  <c:v>43832</c:v>
                </c:pt>
                <c:pt idx="1442">
                  <c:v>43833</c:v>
                </c:pt>
                <c:pt idx="1443">
                  <c:v>43836</c:v>
                </c:pt>
                <c:pt idx="1444">
                  <c:v>43837</c:v>
                </c:pt>
                <c:pt idx="1445">
                  <c:v>43838</c:v>
                </c:pt>
                <c:pt idx="1446">
                  <c:v>43839</c:v>
                </c:pt>
                <c:pt idx="1447">
                  <c:v>43840</c:v>
                </c:pt>
                <c:pt idx="1448">
                  <c:v>43843</c:v>
                </c:pt>
                <c:pt idx="1449">
                  <c:v>43844</c:v>
                </c:pt>
                <c:pt idx="1450">
                  <c:v>43845</c:v>
                </c:pt>
                <c:pt idx="1451">
                  <c:v>43846</c:v>
                </c:pt>
                <c:pt idx="1452">
                  <c:v>43847</c:v>
                </c:pt>
              </c:numCache>
            </c:numRef>
          </c:cat>
          <c:val>
            <c:numRef>
              <c:f>Sheet1!$B$2:$B$1454</c:f>
              <c:numCache>
                <c:formatCode>###,###,###,###,##0.00</c:formatCode>
                <c:ptCount val="1453"/>
                <c:pt idx="0">
                  <c:v>1000</c:v>
                </c:pt>
                <c:pt idx="1">
                  <c:v>997.29033666132352</c:v>
                </c:pt>
                <c:pt idx="2">
                  <c:v>997.8769973799541</c:v>
                </c:pt>
                <c:pt idx="3">
                  <c:v>999.33871752390166</c:v>
                </c:pt>
                <c:pt idx="4">
                  <c:v>1005.5673762625958</c:v>
                </c:pt>
                <c:pt idx="5">
                  <c:v>995.39432430466081</c:v>
                </c:pt>
                <c:pt idx="6">
                  <c:v>1013.5820040863321</c:v>
                </c:pt>
                <c:pt idx="7">
                  <c:v>1023.1292243845655</c:v>
                </c:pt>
                <c:pt idx="8">
                  <c:v>1010.3744458845042</c:v>
                </c:pt>
                <c:pt idx="9">
                  <c:v>988.33101285337034</c:v>
                </c:pt>
                <c:pt idx="10">
                  <c:v>982.09504392033205</c:v>
                </c:pt>
                <c:pt idx="11">
                  <c:v>984.52827218612924</c:v>
                </c:pt>
                <c:pt idx="12">
                  <c:v>997.99639217044523</c:v>
                </c:pt>
                <c:pt idx="13">
                  <c:v>996.07580809246895</c:v>
                </c:pt>
                <c:pt idx="14">
                  <c:v>997.11483964138768</c:v>
                </c:pt>
                <c:pt idx="15">
                  <c:v>995.65150521034127</c:v>
                </c:pt>
                <c:pt idx="16">
                  <c:v>984.19546038103363</c:v>
                </c:pt>
                <c:pt idx="17">
                  <c:v>992.4264687553399</c:v>
                </c:pt>
                <c:pt idx="18">
                  <c:v>995.22547140372092</c:v>
                </c:pt>
                <c:pt idx="19">
                  <c:v>976.4199166884481</c:v>
                </c:pt>
                <c:pt idx="20">
                  <c:v>975.90455927140601</c:v>
                </c:pt>
                <c:pt idx="21">
                  <c:v>968.3091434875613</c:v>
                </c:pt>
                <c:pt idx="22">
                  <c:v>980.60217272794966</c:v>
                </c:pt>
                <c:pt idx="23">
                  <c:v>974.94526465826823</c:v>
                </c:pt>
                <c:pt idx="24">
                  <c:v>981.24033234536387</c:v>
                </c:pt>
                <c:pt idx="25">
                  <c:v>978.98541762170203</c:v>
                </c:pt>
                <c:pt idx="26">
                  <c:v>978.65354042851345</c:v>
                </c:pt>
                <c:pt idx="27">
                  <c:v>974.77694627356277</c:v>
                </c:pt>
                <c:pt idx="28">
                  <c:v>1001.9373475087679</c:v>
                </c:pt>
                <c:pt idx="29">
                  <c:v>1007.1037650625378</c:v>
                </c:pt>
                <c:pt idx="30">
                  <c:v>1001.3880481419772</c:v>
                </c:pt>
                <c:pt idx="31">
                  <c:v>999.44435105046728</c:v>
                </c:pt>
                <c:pt idx="32">
                  <c:v>994.57238290887994</c:v>
                </c:pt>
                <c:pt idx="33">
                  <c:v>1001.6895790359097</c:v>
                </c:pt>
                <c:pt idx="34">
                  <c:v>1002.7789891166699</c:v>
                </c:pt>
                <c:pt idx="35">
                  <c:v>1005.3700720976449</c:v>
                </c:pt>
                <c:pt idx="36">
                  <c:v>1012.4465154645543</c:v>
                </c:pt>
                <c:pt idx="37">
                  <c:v>1004.4032133122789</c:v>
                </c:pt>
                <c:pt idx="38">
                  <c:v>1007.9560764715695</c:v>
                </c:pt>
                <c:pt idx="39">
                  <c:v>1027.6567855555138</c:v>
                </c:pt>
                <c:pt idx="40">
                  <c:v>1029.9599412822454</c:v>
                </c:pt>
                <c:pt idx="41">
                  <c:v>1047.2833693016007</c:v>
                </c:pt>
                <c:pt idx="42">
                  <c:v>1045.817275174426</c:v>
                </c:pt>
                <c:pt idx="43">
                  <c:v>1043.1651860844524</c:v>
                </c:pt>
                <c:pt idx="44">
                  <c:v>1026.0861731001032</c:v>
                </c:pt>
                <c:pt idx="45">
                  <c:v>1029.0943225934054</c:v>
                </c:pt>
                <c:pt idx="46">
                  <c:v>1026.38050877209</c:v>
                </c:pt>
                <c:pt idx="47">
                  <c:v>1023.345195383854</c:v>
                </c:pt>
                <c:pt idx="48">
                  <c:v>1011.6768438979691</c:v>
                </c:pt>
                <c:pt idx="49">
                  <c:v>1019.5514886399767</c:v>
                </c:pt>
                <c:pt idx="50">
                  <c:v>1019.1623413166335</c:v>
                </c:pt>
                <c:pt idx="51">
                  <c:v>1016.6853216139847</c:v>
                </c:pt>
                <c:pt idx="52">
                  <c:v>1011.9418827570028</c:v>
                </c:pt>
                <c:pt idx="53">
                  <c:v>1007.2095637679878</c:v>
                </c:pt>
                <c:pt idx="54">
                  <c:v>1010.4439833451515</c:v>
                </c:pt>
                <c:pt idx="55">
                  <c:v>1009.8798790475164</c:v>
                </c:pt>
                <c:pt idx="56">
                  <c:v>1004.6494325090723</c:v>
                </c:pt>
                <c:pt idx="57">
                  <c:v>1002.3017519017992</c:v>
                </c:pt>
                <c:pt idx="58">
                  <c:v>999.72956161831576</c:v>
                </c:pt>
                <c:pt idx="59">
                  <c:v>1001.32582660703</c:v>
                </c:pt>
                <c:pt idx="60">
                  <c:v>1004.4864340539195</c:v>
                </c:pt>
                <c:pt idx="61">
                  <c:v>1018.1266325985877</c:v>
                </c:pt>
                <c:pt idx="62">
                  <c:v>1018.507257194414</c:v>
                </c:pt>
                <c:pt idx="63">
                  <c:v>1018.138224546106</c:v>
                </c:pt>
                <c:pt idx="64">
                  <c:v>1014.740390815015</c:v>
                </c:pt>
                <c:pt idx="65">
                  <c:v>1016.7590676739837</c:v>
                </c:pt>
                <c:pt idx="66">
                  <c:v>1006.9226270467118</c:v>
                </c:pt>
                <c:pt idx="67">
                  <c:v>1009.6290847057519</c:v>
                </c:pt>
                <c:pt idx="68">
                  <c:v>1017.5705883684708</c:v>
                </c:pt>
                <c:pt idx="69">
                  <c:v>1017.2218026250731</c:v>
                </c:pt>
                <c:pt idx="70">
                  <c:v>1022.4201312839364</c:v>
                </c:pt>
                <c:pt idx="71">
                  <c:v>1021.4512936048801</c:v>
                </c:pt>
                <c:pt idx="72">
                  <c:v>1020.8386830946348</c:v>
                </c:pt>
                <c:pt idx="73">
                  <c:v>1028.3024886153942</c:v>
                </c:pt>
                <c:pt idx="74">
                  <c:v>1029.3800452583737</c:v>
                </c:pt>
                <c:pt idx="75">
                  <c:v>1026.4485803665254</c:v>
                </c:pt>
                <c:pt idx="76">
                  <c:v>1030.0672021170342</c:v>
                </c:pt>
                <c:pt idx="77">
                  <c:v>1025.2168172405261</c:v>
                </c:pt>
                <c:pt idx="78">
                  <c:v>1030.8933203870738</c:v>
                </c:pt>
                <c:pt idx="79">
                  <c:v>1024.3474817073923</c:v>
                </c:pt>
                <c:pt idx="80">
                  <c:v>1028.7381913906468</c:v>
                </c:pt>
                <c:pt idx="81">
                  <c:v>1040.6494538513634</c:v>
                </c:pt>
                <c:pt idx="82">
                  <c:v>1039.3857129178953</c:v>
                </c:pt>
                <c:pt idx="83">
                  <c:v>1037.0575767715834</c:v>
                </c:pt>
                <c:pt idx="84">
                  <c:v>1047.8597500640171</c:v>
                </c:pt>
                <c:pt idx="85">
                  <c:v>1056.1595117774743</c:v>
                </c:pt>
                <c:pt idx="86">
                  <c:v>1046.7387376330694</c:v>
                </c:pt>
                <c:pt idx="87">
                  <c:v>1041.2104283596218</c:v>
                </c:pt>
                <c:pt idx="88">
                  <c:v>1032.0268167514907</c:v>
                </c:pt>
                <c:pt idx="89">
                  <c:v>1025.2021957941986</c:v>
                </c:pt>
                <c:pt idx="90">
                  <c:v>1019.4508267652852</c:v>
                </c:pt>
                <c:pt idx="91">
                  <c:v>1022.2860371719599</c:v>
                </c:pt>
                <c:pt idx="92">
                  <c:v>1019.6780901965586</c:v>
                </c:pt>
                <c:pt idx="93">
                  <c:v>1023.461808111985</c:v>
                </c:pt>
                <c:pt idx="94">
                  <c:v>1012.9835144640269</c:v>
                </c:pt>
                <c:pt idx="95">
                  <c:v>1017.0706577731976</c:v>
                </c:pt>
                <c:pt idx="96">
                  <c:v>1012.3905938032691</c:v>
                </c:pt>
                <c:pt idx="97">
                  <c:v>1015.6186805195057</c:v>
                </c:pt>
                <c:pt idx="98">
                  <c:v>1010.1800140585514</c:v>
                </c:pt>
                <c:pt idx="99">
                  <c:v>1011.065747980946</c:v>
                </c:pt>
                <c:pt idx="100">
                  <c:v>1013.7167229811191</c:v>
                </c:pt>
                <c:pt idx="101">
                  <c:v>1014.3799245571685</c:v>
                </c:pt>
                <c:pt idx="102">
                  <c:v>1003.100045845439</c:v>
                </c:pt>
                <c:pt idx="103">
                  <c:v>1003.0211795249926</c:v>
                </c:pt>
                <c:pt idx="104">
                  <c:v>1000.8373522045293</c:v>
                </c:pt>
                <c:pt idx="105">
                  <c:v>1005.5669233852758</c:v>
                </c:pt>
                <c:pt idx="106">
                  <c:v>1009.3352168964662</c:v>
                </c:pt>
                <c:pt idx="107">
                  <c:v>1009.0118223557978</c:v>
                </c:pt>
                <c:pt idx="108">
                  <c:v>1005.4921561037379</c:v>
                </c:pt>
                <c:pt idx="109">
                  <c:v>1006.7875034688491</c:v>
                </c:pt>
                <c:pt idx="110">
                  <c:v>1003.1930465505055</c:v>
                </c:pt>
                <c:pt idx="111">
                  <c:v>1011.1525405853096</c:v>
                </c:pt>
                <c:pt idx="112">
                  <c:v>1015.7555984076394</c:v>
                </c:pt>
                <c:pt idx="113">
                  <c:v>1032.6017876721221</c:v>
                </c:pt>
                <c:pt idx="114">
                  <c:v>1043.0330253311497</c:v>
                </c:pt>
                <c:pt idx="115">
                  <c:v>1072.1701870244876</c:v>
                </c:pt>
                <c:pt idx="116">
                  <c:v>1071.4978357626576</c:v>
                </c:pt>
                <c:pt idx="117">
                  <c:v>1072.998201475486</c:v>
                </c:pt>
                <c:pt idx="118">
                  <c:v>1081.8218580413982</c:v>
                </c:pt>
                <c:pt idx="119">
                  <c:v>1077.3230659913884</c:v>
                </c:pt>
                <c:pt idx="120">
                  <c:v>1091.5451042683474</c:v>
                </c:pt>
                <c:pt idx="121">
                  <c:v>1085.1745078904073</c:v>
                </c:pt>
                <c:pt idx="122">
                  <c:v>1077.2410108832621</c:v>
                </c:pt>
                <c:pt idx="123">
                  <c:v>1061.0306061118374</c:v>
                </c:pt>
                <c:pt idx="124">
                  <c:v>1064.529053695652</c:v>
                </c:pt>
                <c:pt idx="125">
                  <c:v>1078.0673153294706</c:v>
                </c:pt>
                <c:pt idx="126">
                  <c:v>1071.7944264822413</c:v>
                </c:pt>
                <c:pt idx="127">
                  <c:v>1071.2730737719278</c:v>
                </c:pt>
                <c:pt idx="128">
                  <c:v>1063.4130932305407</c:v>
                </c:pt>
                <c:pt idx="129">
                  <c:v>1071.8314720647538</c:v>
                </c:pt>
                <c:pt idx="130">
                  <c:v>1070.7625253123717</c:v>
                </c:pt>
                <c:pt idx="131">
                  <c:v>1074.6789831235124</c:v>
                </c:pt>
                <c:pt idx="132">
                  <c:v>1069.4735317180568</c:v>
                </c:pt>
                <c:pt idx="133">
                  <c:v>1061.424902909848</c:v>
                </c:pt>
                <c:pt idx="134">
                  <c:v>1064.7074035487956</c:v>
                </c:pt>
                <c:pt idx="135">
                  <c:v>1060.8868715612434</c:v>
                </c:pt>
                <c:pt idx="136">
                  <c:v>1058.0640412357182</c:v>
                </c:pt>
                <c:pt idx="137">
                  <c:v>1057.2838215014235</c:v>
                </c:pt>
                <c:pt idx="138">
                  <c:v>1050.8525550089225</c:v>
                </c:pt>
                <c:pt idx="139">
                  <c:v>1057.8999890455461</c:v>
                </c:pt>
                <c:pt idx="140">
                  <c:v>1060.6612781773222</c:v>
                </c:pt>
                <c:pt idx="141">
                  <c:v>1071.7433122962839</c:v>
                </c:pt>
                <c:pt idx="142">
                  <c:v>1084.6406189373008</c:v>
                </c:pt>
                <c:pt idx="143">
                  <c:v>1092.5915017673001</c:v>
                </c:pt>
                <c:pt idx="144">
                  <c:v>1098.3681679342862</c:v>
                </c:pt>
                <c:pt idx="145">
                  <c:v>1091.7097903803551</c:v>
                </c:pt>
                <c:pt idx="146">
                  <c:v>1082.0936165459425</c:v>
                </c:pt>
                <c:pt idx="147">
                  <c:v>1077.6699732274863</c:v>
                </c:pt>
                <c:pt idx="148">
                  <c:v>1083.0214987576608</c:v>
                </c:pt>
                <c:pt idx="149">
                  <c:v>1078.5686795490692</c:v>
                </c:pt>
                <c:pt idx="150">
                  <c:v>1071.0781596890042</c:v>
                </c:pt>
                <c:pt idx="151">
                  <c:v>1071.7240444496344</c:v>
                </c:pt>
                <c:pt idx="152">
                  <c:v>1073.5520024741618</c:v>
                </c:pt>
                <c:pt idx="153">
                  <c:v>1073.2426743750273</c:v>
                </c:pt>
                <c:pt idx="154">
                  <c:v>1050.3731825991399</c:v>
                </c:pt>
                <c:pt idx="155">
                  <c:v>1053.7044069905344</c:v>
                </c:pt>
                <c:pt idx="156">
                  <c:v>1066.2885767206656</c:v>
                </c:pt>
                <c:pt idx="157">
                  <c:v>1066.0560193091858</c:v>
                </c:pt>
                <c:pt idx="158">
                  <c:v>1064.0455654148618</c:v>
                </c:pt>
                <c:pt idx="159">
                  <c:v>1061.863773341541</c:v>
                </c:pt>
                <c:pt idx="160">
                  <c:v>1062.6267712605829</c:v>
                </c:pt>
                <c:pt idx="161">
                  <c:v>1064.0952323825197</c:v>
                </c:pt>
                <c:pt idx="162">
                  <c:v>1065.7763499855751</c:v>
                </c:pt>
                <c:pt idx="163">
                  <c:v>1059.6960260597732</c:v>
                </c:pt>
                <c:pt idx="164">
                  <c:v>1050.1033576594009</c:v>
                </c:pt>
                <c:pt idx="165">
                  <c:v>1047.4872154549439</c:v>
                </c:pt>
                <c:pt idx="166">
                  <c:v>1052.7277782755712</c:v>
                </c:pt>
                <c:pt idx="167">
                  <c:v>1052.5067255481754</c:v>
                </c:pt>
                <c:pt idx="168">
                  <c:v>1049.2088143060785</c:v>
                </c:pt>
                <c:pt idx="169">
                  <c:v>1051.147719826057</c:v>
                </c:pt>
                <c:pt idx="170">
                  <c:v>1047.078789099729</c:v>
                </c:pt>
                <c:pt idx="171">
                  <c:v>1048.3457409033597</c:v>
                </c:pt>
                <c:pt idx="172">
                  <c:v>1042.6685809553383</c:v>
                </c:pt>
                <c:pt idx="173">
                  <c:v>1041.8065437958485</c:v>
                </c:pt>
                <c:pt idx="174">
                  <c:v>1029.1291094460676</c:v>
                </c:pt>
                <c:pt idx="175">
                  <c:v>1041.4471066374751</c:v>
                </c:pt>
                <c:pt idx="176">
                  <c:v>1053.5656611379291</c:v>
                </c:pt>
                <c:pt idx="177">
                  <c:v>1059.8918534429411</c:v>
                </c:pt>
                <c:pt idx="178">
                  <c:v>1085.0022470840372</c:v>
                </c:pt>
                <c:pt idx="179">
                  <c:v>1078.115947680544</c:v>
                </c:pt>
                <c:pt idx="180">
                  <c:v>1075.2533664639413</c:v>
                </c:pt>
                <c:pt idx="181">
                  <c:v>1066.1282645256235</c:v>
                </c:pt>
                <c:pt idx="182">
                  <c:v>1065.207714738021</c:v>
                </c:pt>
                <c:pt idx="183">
                  <c:v>1065.7415371528473</c:v>
                </c:pt>
                <c:pt idx="184">
                  <c:v>1091.0395302860736</c:v>
                </c:pt>
                <c:pt idx="185">
                  <c:v>1122.0751317158508</c:v>
                </c:pt>
                <c:pt idx="186">
                  <c:v>1115.9634264635561</c:v>
                </c:pt>
                <c:pt idx="187">
                  <c:v>1117.2306314841303</c:v>
                </c:pt>
                <c:pt idx="188">
                  <c:v>1117.247715302025</c:v>
                </c:pt>
                <c:pt idx="189">
                  <c:v>1104.4565113242716</c:v>
                </c:pt>
                <c:pt idx="190">
                  <c:v>1084.2298096030809</c:v>
                </c:pt>
                <c:pt idx="191">
                  <c:v>1079.3246871476244</c:v>
                </c:pt>
                <c:pt idx="192">
                  <c:v>1081.4802402942407</c:v>
                </c:pt>
                <c:pt idx="193">
                  <c:v>1095.2931849837319</c:v>
                </c:pt>
                <c:pt idx="194">
                  <c:v>1109.3876565223172</c:v>
                </c:pt>
                <c:pt idx="195">
                  <c:v>1120.4539317429974</c:v>
                </c:pt>
                <c:pt idx="196">
                  <c:v>1146.5961079124834</c:v>
                </c:pt>
                <c:pt idx="197">
                  <c:v>1159.5676979392663</c:v>
                </c:pt>
                <c:pt idx="198">
                  <c:v>1207.3299570550637</c:v>
                </c:pt>
                <c:pt idx="199">
                  <c:v>1206.8222155215101</c:v>
                </c:pt>
                <c:pt idx="200">
                  <c:v>1260.017044204742</c:v>
                </c:pt>
                <c:pt idx="201">
                  <c:v>1250.5472092498176</c:v>
                </c:pt>
                <c:pt idx="202">
                  <c:v>1335.2540271350581</c:v>
                </c:pt>
                <c:pt idx="203">
                  <c:v>1400.3350587792338</c:v>
                </c:pt>
                <c:pt idx="204">
                  <c:v>1427.8061512059487</c:v>
                </c:pt>
                <c:pt idx="205">
                  <c:v>1310.281951820185</c:v>
                </c:pt>
                <c:pt idx="206">
                  <c:v>1332.3900260569885</c:v>
                </c:pt>
                <c:pt idx="207">
                  <c:v>1304.6981170346342</c:v>
                </c:pt>
                <c:pt idx="208">
                  <c:v>1305.9062359302582</c:v>
                </c:pt>
                <c:pt idx="209">
                  <c:v>1293.7082945609973</c:v>
                </c:pt>
                <c:pt idx="210">
                  <c:v>1339.3720070973841</c:v>
                </c:pt>
                <c:pt idx="211">
                  <c:v>1381.0800050646017</c:v>
                </c:pt>
                <c:pt idx="212">
                  <c:v>1369.6108214360777</c:v>
                </c:pt>
                <c:pt idx="213">
                  <c:v>1394.4778686665445</c:v>
                </c:pt>
                <c:pt idx="214">
                  <c:v>1463.3587733536172</c:v>
                </c:pt>
                <c:pt idx="215">
                  <c:v>1410.2570616232388</c:v>
                </c:pt>
                <c:pt idx="216">
                  <c:v>1354.0654016602562</c:v>
                </c:pt>
                <c:pt idx="217">
                  <c:v>1408.5934554362921</c:v>
                </c:pt>
                <c:pt idx="218">
                  <c:v>1462.6641868825052</c:v>
                </c:pt>
                <c:pt idx="219">
                  <c:v>1486.527161288242</c:v>
                </c:pt>
                <c:pt idx="220">
                  <c:v>1512.966537850974</c:v>
                </c:pt>
                <c:pt idx="221">
                  <c:v>1578.5737346721685</c:v>
                </c:pt>
                <c:pt idx="222">
                  <c:v>1668.7416585678279</c:v>
                </c:pt>
                <c:pt idx="223">
                  <c:v>1659.3672946262577</c:v>
                </c:pt>
                <c:pt idx="224">
                  <c:v>1672.5705607372806</c:v>
                </c:pt>
                <c:pt idx="225">
                  <c:v>1619.2602808233196</c:v>
                </c:pt>
                <c:pt idx="226">
                  <c:v>1633.2122597526095</c:v>
                </c:pt>
                <c:pt idx="227">
                  <c:v>1609.3611745815988</c:v>
                </c:pt>
                <c:pt idx="228">
                  <c:v>1607.1639288432211</c:v>
                </c:pt>
                <c:pt idx="229">
                  <c:v>1606.2001673421637</c:v>
                </c:pt>
                <c:pt idx="230">
                  <c:v>1696.4279113239959</c:v>
                </c:pt>
                <c:pt idx="231">
                  <c:v>1722.3872874478036</c:v>
                </c:pt>
                <c:pt idx="232">
                  <c:v>1557.9852226507357</c:v>
                </c:pt>
                <c:pt idx="233">
                  <c:v>1578.3520873513637</c:v>
                </c:pt>
                <c:pt idx="234">
                  <c:v>1682.9445847593734</c:v>
                </c:pt>
                <c:pt idx="235">
                  <c:v>1677.7762503347303</c:v>
                </c:pt>
                <c:pt idx="236">
                  <c:v>1695.7097670628764</c:v>
                </c:pt>
                <c:pt idx="237">
                  <c:v>1694.1398172696927</c:v>
                </c:pt>
                <c:pt idx="238">
                  <c:v>1654.3170436106645</c:v>
                </c:pt>
                <c:pt idx="239">
                  <c:v>1617.7498263124114</c:v>
                </c:pt>
                <c:pt idx="240">
                  <c:v>1582.8828173124077</c:v>
                </c:pt>
                <c:pt idx="241">
                  <c:v>1556.694781675593</c:v>
                </c:pt>
                <c:pt idx="242">
                  <c:v>1501.7331788425574</c:v>
                </c:pt>
                <c:pt idx="243">
                  <c:v>1554.760422657529</c:v>
                </c:pt>
                <c:pt idx="244">
                  <c:v>1523.9660870995197</c:v>
                </c:pt>
                <c:pt idx="245">
                  <c:v>1503.5920522015526</c:v>
                </c:pt>
                <c:pt idx="246">
                  <c:v>1472.0615946562546</c:v>
                </c:pt>
                <c:pt idx="247">
                  <c:v>1491.2531309661117</c:v>
                </c:pt>
                <c:pt idx="248">
                  <c:v>1514.3544672379237</c:v>
                </c:pt>
                <c:pt idx="249">
                  <c:v>1517.2281810517229</c:v>
                </c:pt>
                <c:pt idx="250">
                  <c:v>1521.1461573355998</c:v>
                </c:pt>
                <c:pt idx="251">
                  <c:v>1529.820369301503</c:v>
                </c:pt>
                <c:pt idx="252">
                  <c:v>1523.108140011268</c:v>
                </c:pt>
                <c:pt idx="253">
                  <c:v>1533.3467514149509</c:v>
                </c:pt>
                <c:pt idx="254">
                  <c:v>1523.5849502650108</c:v>
                </c:pt>
                <c:pt idx="255">
                  <c:v>1553.7968258792873</c:v>
                </c:pt>
                <c:pt idx="256">
                  <c:v>1555.7298451951535</c:v>
                </c:pt>
                <c:pt idx="257">
                  <c:v>1553.4102455251464</c:v>
                </c:pt>
                <c:pt idx="258">
                  <c:v>1496.8390604397405</c:v>
                </c:pt>
                <c:pt idx="259">
                  <c:v>1494.5943246176828</c:v>
                </c:pt>
                <c:pt idx="260">
                  <c:v>1463.1527880123217</c:v>
                </c:pt>
                <c:pt idx="261">
                  <c:v>1469.61045719255</c:v>
                </c:pt>
                <c:pt idx="262">
                  <c:v>1518.0329596950448</c:v>
                </c:pt>
                <c:pt idx="263">
                  <c:v>1490.5522226261696</c:v>
                </c:pt>
                <c:pt idx="264">
                  <c:v>1500.659696096589</c:v>
                </c:pt>
                <c:pt idx="265">
                  <c:v>1549.3206647616482</c:v>
                </c:pt>
                <c:pt idx="266">
                  <c:v>1549.8411602752601</c:v>
                </c:pt>
                <c:pt idx="267">
                  <c:v>1575.9936882414527</c:v>
                </c:pt>
                <c:pt idx="268">
                  <c:v>1592.4899278668959</c:v>
                </c:pt>
                <c:pt idx="269">
                  <c:v>1625.8521180922326</c:v>
                </c:pt>
                <c:pt idx="270">
                  <c:v>1611.0641821206787</c:v>
                </c:pt>
                <c:pt idx="271">
                  <c:v>1627.6335723357356</c:v>
                </c:pt>
                <c:pt idx="272">
                  <c:v>1647.4241248138223</c:v>
                </c:pt>
                <c:pt idx="273">
                  <c:v>1635.9364568937367</c:v>
                </c:pt>
                <c:pt idx="274">
                  <c:v>1596.899027990768</c:v>
                </c:pt>
                <c:pt idx="275">
                  <c:v>1628.8136888463814</c:v>
                </c:pt>
                <c:pt idx="276">
                  <c:v>1617.2744005822478</c:v>
                </c:pt>
                <c:pt idx="277">
                  <c:v>1667.1198955801447</c:v>
                </c:pt>
                <c:pt idx="278">
                  <c:v>1646.4246996516074</c:v>
                </c:pt>
                <c:pt idx="279">
                  <c:v>1661.3687275496393</c:v>
                </c:pt>
                <c:pt idx="280">
                  <c:v>1654.6530852396527</c:v>
                </c:pt>
                <c:pt idx="281">
                  <c:v>1656.5943674925436</c:v>
                </c:pt>
                <c:pt idx="282">
                  <c:v>1705.6524473199747</c:v>
                </c:pt>
                <c:pt idx="283">
                  <c:v>1732.5651328999111</c:v>
                </c:pt>
                <c:pt idx="284">
                  <c:v>1714.7312616080912</c:v>
                </c:pt>
                <c:pt idx="285">
                  <c:v>1742.0165552600347</c:v>
                </c:pt>
                <c:pt idx="286">
                  <c:v>1781.658303091973</c:v>
                </c:pt>
                <c:pt idx="287">
                  <c:v>1757.9500695434058</c:v>
                </c:pt>
                <c:pt idx="288">
                  <c:v>1764.4571748237104</c:v>
                </c:pt>
                <c:pt idx="289">
                  <c:v>1830.6773088944003</c:v>
                </c:pt>
                <c:pt idx="290">
                  <c:v>1857.3193865990388</c:v>
                </c:pt>
                <c:pt idx="291">
                  <c:v>1791.4763010728827</c:v>
                </c:pt>
                <c:pt idx="292">
                  <c:v>1825.3740130379429</c:v>
                </c:pt>
                <c:pt idx="293">
                  <c:v>1864.2719821718638</c:v>
                </c:pt>
                <c:pt idx="294">
                  <c:v>1852.2747771861716</c:v>
                </c:pt>
                <c:pt idx="295">
                  <c:v>1817.9737787838392</c:v>
                </c:pt>
                <c:pt idx="296">
                  <c:v>1904.2568470250653</c:v>
                </c:pt>
                <c:pt idx="297">
                  <c:v>1921.7391827125905</c:v>
                </c:pt>
                <c:pt idx="298">
                  <c:v>1882.9650371092062</c:v>
                </c:pt>
                <c:pt idx="299">
                  <c:v>1850.3784015728099</c:v>
                </c:pt>
                <c:pt idx="300">
                  <c:v>1862.84349698305</c:v>
                </c:pt>
                <c:pt idx="301">
                  <c:v>1782.8515900354405</c:v>
                </c:pt>
                <c:pt idx="302">
                  <c:v>1771.6101321601664</c:v>
                </c:pt>
                <c:pt idx="303">
                  <c:v>1732.9154502370777</c:v>
                </c:pt>
                <c:pt idx="304">
                  <c:v>1754.3699205722637</c:v>
                </c:pt>
                <c:pt idx="305">
                  <c:v>1785.7025771340893</c:v>
                </c:pt>
                <c:pt idx="306">
                  <c:v>1786.7939330299032</c:v>
                </c:pt>
                <c:pt idx="307">
                  <c:v>1764.9448975427574</c:v>
                </c:pt>
                <c:pt idx="308">
                  <c:v>1760.7592436440686</c:v>
                </c:pt>
                <c:pt idx="309">
                  <c:v>1725.6927926317487</c:v>
                </c:pt>
                <c:pt idx="310">
                  <c:v>1688.7653290925837</c:v>
                </c:pt>
                <c:pt idx="311">
                  <c:v>1745.5325768606431</c:v>
                </c:pt>
                <c:pt idx="312">
                  <c:v>1746.0090289519803</c:v>
                </c:pt>
                <c:pt idx="313">
                  <c:v>1758.8315929527237</c:v>
                </c:pt>
                <c:pt idx="314">
                  <c:v>1815.2058198516636</c:v>
                </c:pt>
                <c:pt idx="315">
                  <c:v>1865.2264327510757</c:v>
                </c:pt>
                <c:pt idx="316">
                  <c:v>1874.5243395455739</c:v>
                </c:pt>
                <c:pt idx="317">
                  <c:v>1867.5084481195533</c:v>
                </c:pt>
                <c:pt idx="318">
                  <c:v>1743.6306286634369</c:v>
                </c:pt>
                <c:pt idx="319">
                  <c:v>1730.3792611528274</c:v>
                </c:pt>
                <c:pt idx="320">
                  <c:v>1801.0797150465085</c:v>
                </c:pt>
                <c:pt idx="321">
                  <c:v>1794.1573308104735</c:v>
                </c:pt>
                <c:pt idx="322">
                  <c:v>1790.4673990995641</c:v>
                </c:pt>
                <c:pt idx="323">
                  <c:v>1839.566189398349</c:v>
                </c:pt>
                <c:pt idx="324">
                  <c:v>1843.4730198373013</c:v>
                </c:pt>
                <c:pt idx="325">
                  <c:v>1942.6471740784195</c:v>
                </c:pt>
                <c:pt idx="326">
                  <c:v>1929.9673113472747</c:v>
                </c:pt>
                <c:pt idx="327">
                  <c:v>1904.1182004161822</c:v>
                </c:pt>
                <c:pt idx="328">
                  <c:v>1889.4081920610045</c:v>
                </c:pt>
                <c:pt idx="329">
                  <c:v>1899.5128036793849</c:v>
                </c:pt>
                <c:pt idx="330">
                  <c:v>1845.4798741418272</c:v>
                </c:pt>
                <c:pt idx="331">
                  <c:v>1803.8132172224502</c:v>
                </c:pt>
                <c:pt idx="332">
                  <c:v>1828.1095401198152</c:v>
                </c:pt>
                <c:pt idx="333">
                  <c:v>1754.2792721198377</c:v>
                </c:pt>
                <c:pt idx="334">
                  <c:v>1668.6259174467614</c:v>
                </c:pt>
                <c:pt idx="335">
                  <c:v>1736.2315986635172</c:v>
                </c:pt>
                <c:pt idx="336">
                  <c:v>1768.3326373225464</c:v>
                </c:pt>
                <c:pt idx="337">
                  <c:v>1719.7622929411582</c:v>
                </c:pt>
                <c:pt idx="338">
                  <c:v>1628.0122773013709</c:v>
                </c:pt>
                <c:pt idx="339">
                  <c:v>1650.5573513256584</c:v>
                </c:pt>
                <c:pt idx="340">
                  <c:v>1740.5043015207996</c:v>
                </c:pt>
                <c:pt idx="341">
                  <c:v>1676.8284944510492</c:v>
                </c:pt>
                <c:pt idx="342">
                  <c:v>1724.6740000584014</c:v>
                </c:pt>
                <c:pt idx="343">
                  <c:v>1659.0292238884681</c:v>
                </c:pt>
                <c:pt idx="344">
                  <c:v>1795.8485056151312</c:v>
                </c:pt>
                <c:pt idx="345">
                  <c:v>1870.0992891483497</c:v>
                </c:pt>
                <c:pt idx="346">
                  <c:v>1765.3013844498903</c:v>
                </c:pt>
                <c:pt idx="347">
                  <c:v>1839.3282483920318</c:v>
                </c:pt>
                <c:pt idx="348">
                  <c:v>1852.4292492604404</c:v>
                </c:pt>
                <c:pt idx="349">
                  <c:v>1787.2214950193043</c:v>
                </c:pt>
                <c:pt idx="350">
                  <c:v>1747.9189787854586</c:v>
                </c:pt>
                <c:pt idx="351">
                  <c:v>1807.9039959269842</c:v>
                </c:pt>
                <c:pt idx="352">
                  <c:v>1785.8985858337021</c:v>
                </c:pt>
                <c:pt idx="353">
                  <c:v>1783.9737031712134</c:v>
                </c:pt>
                <c:pt idx="354">
                  <c:v>1792.7022598568235</c:v>
                </c:pt>
                <c:pt idx="355">
                  <c:v>1768.9308181165447</c:v>
                </c:pt>
                <c:pt idx="356">
                  <c:v>1759.1357072771375</c:v>
                </c:pt>
                <c:pt idx="357">
                  <c:v>1775.3982528373206</c:v>
                </c:pt>
                <c:pt idx="358">
                  <c:v>1759.1404524902875</c:v>
                </c:pt>
                <c:pt idx="359">
                  <c:v>1617.1849108319957</c:v>
                </c:pt>
                <c:pt idx="360">
                  <c:v>1606.2000680913395</c:v>
                </c:pt>
                <c:pt idx="361">
                  <c:v>1607.9022162848553</c:v>
                </c:pt>
                <c:pt idx="362">
                  <c:v>1587.4686934590575</c:v>
                </c:pt>
                <c:pt idx="363">
                  <c:v>1570.258848445209</c:v>
                </c:pt>
                <c:pt idx="364">
                  <c:v>1570.2357075133914</c:v>
                </c:pt>
                <c:pt idx="365">
                  <c:v>1587.3127304874024</c:v>
                </c:pt>
                <c:pt idx="366">
                  <c:v>1557.4628824359668</c:v>
                </c:pt>
                <c:pt idx="367">
                  <c:v>1546.5733577029607</c:v>
                </c:pt>
                <c:pt idx="368">
                  <c:v>1564.0178976505822</c:v>
                </c:pt>
                <c:pt idx="369">
                  <c:v>1609.4589344438687</c:v>
                </c:pt>
                <c:pt idx="370">
                  <c:v>1602.1387720871423</c:v>
                </c:pt>
                <c:pt idx="371">
                  <c:v>1581.1544110495486</c:v>
                </c:pt>
                <c:pt idx="372">
                  <c:v>1583.6690499678373</c:v>
                </c:pt>
                <c:pt idx="373">
                  <c:v>1577.2719475458914</c:v>
                </c:pt>
                <c:pt idx="374">
                  <c:v>1554.6352410682471</c:v>
                </c:pt>
                <c:pt idx="375">
                  <c:v>1527.7661823701596</c:v>
                </c:pt>
                <c:pt idx="376">
                  <c:v>1513.9384890081406</c:v>
                </c:pt>
                <c:pt idx="377">
                  <c:v>1480.349768228961</c:v>
                </c:pt>
                <c:pt idx="378">
                  <c:v>1450.1495775815279</c:v>
                </c:pt>
                <c:pt idx="379">
                  <c:v>1343.1222837802711</c:v>
                </c:pt>
                <c:pt idx="380">
                  <c:v>1255.2059554693403</c:v>
                </c:pt>
                <c:pt idx="381">
                  <c:v>1295.2437504754068</c:v>
                </c:pt>
                <c:pt idx="382">
                  <c:v>1363.1289524672418</c:v>
                </c:pt>
                <c:pt idx="383">
                  <c:v>1386.6969505213929</c:v>
                </c:pt>
                <c:pt idx="384">
                  <c:v>1386.2271161091433</c:v>
                </c:pt>
                <c:pt idx="385">
                  <c:v>1434.5446274739857</c:v>
                </c:pt>
                <c:pt idx="386">
                  <c:v>1459.9717474762015</c:v>
                </c:pt>
                <c:pt idx="387">
                  <c:v>1385.3880330347072</c:v>
                </c:pt>
                <c:pt idx="388">
                  <c:v>1401.6961813428729</c:v>
                </c:pt>
                <c:pt idx="389">
                  <c:v>1419.4809168996026</c:v>
                </c:pt>
                <c:pt idx="390">
                  <c:v>1412.8543518008382</c:v>
                </c:pt>
                <c:pt idx="391">
                  <c:v>1402.3986601170334</c:v>
                </c:pt>
                <c:pt idx="392">
                  <c:v>1407.5796042133159</c:v>
                </c:pt>
                <c:pt idx="393">
                  <c:v>1403.4009676836156</c:v>
                </c:pt>
                <c:pt idx="394">
                  <c:v>1425.3476162617742</c:v>
                </c:pt>
                <c:pt idx="395">
                  <c:v>1402.9291136351478</c:v>
                </c:pt>
                <c:pt idx="396">
                  <c:v>1394.3919269399325</c:v>
                </c:pt>
                <c:pt idx="397">
                  <c:v>1394.5237001519824</c:v>
                </c:pt>
                <c:pt idx="398">
                  <c:v>1407.9958376446011</c:v>
                </c:pt>
                <c:pt idx="399">
                  <c:v>1380.3744760279117</c:v>
                </c:pt>
                <c:pt idx="400">
                  <c:v>1381.2463046559151</c:v>
                </c:pt>
                <c:pt idx="401">
                  <c:v>1392.0017655247532</c:v>
                </c:pt>
                <c:pt idx="402">
                  <c:v>1379.9409370165199</c:v>
                </c:pt>
                <c:pt idx="403">
                  <c:v>1357.3346657973059</c:v>
                </c:pt>
                <c:pt idx="404">
                  <c:v>1361.4602140369859</c:v>
                </c:pt>
                <c:pt idx="405">
                  <c:v>1385.8023137056446</c:v>
                </c:pt>
                <c:pt idx="406">
                  <c:v>1401.65566273067</c:v>
                </c:pt>
                <c:pt idx="407">
                  <c:v>1430.6611227899377</c:v>
                </c:pt>
                <c:pt idx="408">
                  <c:v>1419.0665029185411</c:v>
                </c:pt>
                <c:pt idx="409">
                  <c:v>1422.2483683474281</c:v>
                </c:pt>
                <c:pt idx="410">
                  <c:v>1440.0047488570037</c:v>
                </c:pt>
                <c:pt idx="411">
                  <c:v>1451.9871467494447</c:v>
                </c:pt>
                <c:pt idx="412">
                  <c:v>1447.8514650334366</c:v>
                </c:pt>
                <c:pt idx="413">
                  <c:v>1450.0472574412572</c:v>
                </c:pt>
                <c:pt idx="414">
                  <c:v>1469.2479213463223</c:v>
                </c:pt>
                <c:pt idx="415">
                  <c:v>1452.2217523859472</c:v>
                </c:pt>
                <c:pt idx="416">
                  <c:v>1458.2462000084645</c:v>
                </c:pt>
                <c:pt idx="417">
                  <c:v>1463.5702613147507</c:v>
                </c:pt>
                <c:pt idx="418">
                  <c:v>1459.0989623141279</c:v>
                </c:pt>
                <c:pt idx="419">
                  <c:v>1448.848301042859</c:v>
                </c:pt>
                <c:pt idx="420">
                  <c:v>1445.6546633649266</c:v>
                </c:pt>
                <c:pt idx="421">
                  <c:v>1443.258994965639</c:v>
                </c:pt>
                <c:pt idx="422">
                  <c:v>1423.0394729541233</c:v>
                </c:pt>
                <c:pt idx="423">
                  <c:v>1413.1352593205945</c:v>
                </c:pt>
                <c:pt idx="424">
                  <c:v>1465.094706154626</c:v>
                </c:pt>
                <c:pt idx="425">
                  <c:v>1494.5689177887168</c:v>
                </c:pt>
                <c:pt idx="426">
                  <c:v>1509.4897638741002</c:v>
                </c:pt>
                <c:pt idx="427">
                  <c:v>1544.262163756121</c:v>
                </c:pt>
                <c:pt idx="428">
                  <c:v>1534.6204737906096</c:v>
                </c:pt>
                <c:pt idx="429">
                  <c:v>1520.6315947546645</c:v>
                </c:pt>
                <c:pt idx="430">
                  <c:v>1503.5918546842149</c:v>
                </c:pt>
                <c:pt idx="431">
                  <c:v>1485.6399995065483</c:v>
                </c:pt>
                <c:pt idx="432">
                  <c:v>1489.3892209265084</c:v>
                </c:pt>
                <c:pt idx="433">
                  <c:v>1495.915259723547</c:v>
                </c:pt>
                <c:pt idx="434">
                  <c:v>1494.3478750602146</c:v>
                </c:pt>
                <c:pt idx="435">
                  <c:v>1501.1428213377922</c:v>
                </c:pt>
                <c:pt idx="436">
                  <c:v>1496.229697932414</c:v>
                </c:pt>
                <c:pt idx="437">
                  <c:v>1490.3460777839455</c:v>
                </c:pt>
                <c:pt idx="438">
                  <c:v>1487.1936040574403</c:v>
                </c:pt>
                <c:pt idx="439">
                  <c:v>1496.1673689313734</c:v>
                </c:pt>
                <c:pt idx="440">
                  <c:v>1494.4135948847152</c:v>
                </c:pt>
                <c:pt idx="441">
                  <c:v>1438.127126154104</c:v>
                </c:pt>
                <c:pt idx="442">
                  <c:v>1450.297410442947</c:v>
                </c:pt>
                <c:pt idx="443">
                  <c:v>1447.9511903394991</c:v>
                </c:pt>
                <c:pt idx="444">
                  <c:v>1515.362759732318</c:v>
                </c:pt>
                <c:pt idx="445">
                  <c:v>1539.5497748924895</c:v>
                </c:pt>
                <c:pt idx="446">
                  <c:v>1498.0237914819345</c:v>
                </c:pt>
                <c:pt idx="447">
                  <c:v>1490.7207302875477</c:v>
                </c:pt>
                <c:pt idx="448">
                  <c:v>1472.5752782551799</c:v>
                </c:pt>
                <c:pt idx="449">
                  <c:v>1479.1420615938941</c:v>
                </c:pt>
                <c:pt idx="450">
                  <c:v>1472.3132379041392</c:v>
                </c:pt>
                <c:pt idx="451">
                  <c:v>1463.9367859501476</c:v>
                </c:pt>
                <c:pt idx="452">
                  <c:v>1492.0414051448108</c:v>
                </c:pt>
                <c:pt idx="453">
                  <c:v>1478.2721885887031</c:v>
                </c:pt>
                <c:pt idx="454">
                  <c:v>1478.7118147893793</c:v>
                </c:pt>
                <c:pt idx="455">
                  <c:v>1493.6985431695575</c:v>
                </c:pt>
                <c:pt idx="456">
                  <c:v>1501.7286354481332</c:v>
                </c:pt>
                <c:pt idx="457">
                  <c:v>1530.0280859328991</c:v>
                </c:pt>
                <c:pt idx="458">
                  <c:v>1527.9800504496911</c:v>
                </c:pt>
                <c:pt idx="459">
                  <c:v>1528.5229000404474</c:v>
                </c:pt>
                <c:pt idx="460">
                  <c:v>1525.7754651141695</c:v>
                </c:pt>
                <c:pt idx="461">
                  <c:v>1525.3146012919431</c:v>
                </c:pt>
                <c:pt idx="462">
                  <c:v>1494.3593586511008</c:v>
                </c:pt>
                <c:pt idx="463">
                  <c:v>1504.6826055623178</c:v>
                </c:pt>
                <c:pt idx="464">
                  <c:v>1501.1310095416784</c:v>
                </c:pt>
                <c:pt idx="465">
                  <c:v>1492.809351578833</c:v>
                </c:pt>
                <c:pt idx="466">
                  <c:v>1435.1695563377552</c:v>
                </c:pt>
                <c:pt idx="467">
                  <c:v>1443.1449586537492</c:v>
                </c:pt>
                <c:pt idx="468">
                  <c:v>1463.3247732794282</c:v>
                </c:pt>
                <c:pt idx="469">
                  <c:v>1413.33758950831</c:v>
                </c:pt>
                <c:pt idx="470">
                  <c:v>1434.9553991221771</c:v>
                </c:pt>
                <c:pt idx="471">
                  <c:v>1381.0141723154097</c:v>
                </c:pt>
                <c:pt idx="472">
                  <c:v>1385.8311123072788</c:v>
                </c:pt>
                <c:pt idx="473">
                  <c:v>1373.4678596155436</c:v>
                </c:pt>
                <c:pt idx="474">
                  <c:v>1381.4633548988484</c:v>
                </c:pt>
                <c:pt idx="475">
                  <c:v>1346.2247417433709</c:v>
                </c:pt>
                <c:pt idx="476">
                  <c:v>1339.3951774879026</c:v>
                </c:pt>
                <c:pt idx="477">
                  <c:v>1364.3154065713793</c:v>
                </c:pt>
                <c:pt idx="478">
                  <c:v>1346.3875461864884</c:v>
                </c:pt>
                <c:pt idx="479">
                  <c:v>1324.3987889225093</c:v>
                </c:pt>
                <c:pt idx="480">
                  <c:v>1335.1346706766051</c:v>
                </c:pt>
                <c:pt idx="481">
                  <c:v>1340.009589443993</c:v>
                </c:pt>
                <c:pt idx="482">
                  <c:v>1281.3275544342403</c:v>
                </c:pt>
                <c:pt idx="483">
                  <c:v>1288.6950002471096</c:v>
                </c:pt>
                <c:pt idx="484">
                  <c:v>1279.8830103770658</c:v>
                </c:pt>
                <c:pt idx="485">
                  <c:v>1302.3444287665441</c:v>
                </c:pt>
                <c:pt idx="486">
                  <c:v>1278.4930596003485</c:v>
                </c:pt>
                <c:pt idx="487">
                  <c:v>1290.5908670363428</c:v>
                </c:pt>
                <c:pt idx="488">
                  <c:v>1276.023234824673</c:v>
                </c:pt>
                <c:pt idx="489">
                  <c:v>1286.2956836344022</c:v>
                </c:pt>
                <c:pt idx="490">
                  <c:v>1285.9270565185914</c:v>
                </c:pt>
                <c:pt idx="491">
                  <c:v>1273.7536232093937</c:v>
                </c:pt>
                <c:pt idx="492">
                  <c:v>1301.4853503221691</c:v>
                </c:pt>
                <c:pt idx="493">
                  <c:v>1309.0811427614017</c:v>
                </c:pt>
                <c:pt idx="494">
                  <c:v>1304.295078394174</c:v>
                </c:pt>
                <c:pt idx="495">
                  <c:v>1298.3480684324095</c:v>
                </c:pt>
                <c:pt idx="496">
                  <c:v>1327.5052099772718</c:v>
                </c:pt>
                <c:pt idx="497">
                  <c:v>1317.4550019487967</c:v>
                </c:pt>
                <c:pt idx="498">
                  <c:v>1323.2095762116144</c:v>
                </c:pt>
                <c:pt idx="499">
                  <c:v>1275.6781933480324</c:v>
                </c:pt>
                <c:pt idx="500">
                  <c:v>1291.8410813274261</c:v>
                </c:pt>
                <c:pt idx="501">
                  <c:v>1291.4518426270047</c:v>
                </c:pt>
                <c:pt idx="502">
                  <c:v>1301.0541252244057</c:v>
                </c:pt>
                <c:pt idx="503">
                  <c:v>1333.1919786001611</c:v>
                </c:pt>
                <c:pt idx="504">
                  <c:v>1340.9748315463023</c:v>
                </c:pt>
                <c:pt idx="505">
                  <c:v>1385.0594391521936</c:v>
                </c:pt>
                <c:pt idx="506">
                  <c:v>1376.1635558732198</c:v>
                </c:pt>
                <c:pt idx="507">
                  <c:v>1379.8689989535569</c:v>
                </c:pt>
                <c:pt idx="508">
                  <c:v>1383.1919649540707</c:v>
                </c:pt>
                <c:pt idx="509">
                  <c:v>1359.110908585013</c:v>
                </c:pt>
                <c:pt idx="510">
                  <c:v>1364.2460952904714</c:v>
                </c:pt>
                <c:pt idx="511">
                  <c:v>1364.8019831034305</c:v>
                </c:pt>
                <c:pt idx="512">
                  <c:v>1374.0079271003028</c:v>
                </c:pt>
                <c:pt idx="513">
                  <c:v>1395.3420139706325</c:v>
                </c:pt>
                <c:pt idx="514">
                  <c:v>1388.157630374938</c:v>
                </c:pt>
                <c:pt idx="515">
                  <c:v>1389.7131979605117</c:v>
                </c:pt>
                <c:pt idx="516">
                  <c:v>1398.0191293485561</c:v>
                </c:pt>
                <c:pt idx="517">
                  <c:v>1388.2389798066861</c:v>
                </c:pt>
                <c:pt idx="518">
                  <c:v>1389.7277823293662</c:v>
                </c:pt>
                <c:pt idx="519">
                  <c:v>1373.9332337096457</c:v>
                </c:pt>
                <c:pt idx="520">
                  <c:v>1379.4374826680535</c:v>
                </c:pt>
                <c:pt idx="521">
                  <c:v>1373.572304673495</c:v>
                </c:pt>
                <c:pt idx="522">
                  <c:v>1365.5025017742771</c:v>
                </c:pt>
                <c:pt idx="523">
                  <c:v>1394.0285568558268</c:v>
                </c:pt>
                <c:pt idx="524">
                  <c:v>1388.7923959740065</c:v>
                </c:pt>
                <c:pt idx="525">
                  <c:v>1396.1942200130375</c:v>
                </c:pt>
                <c:pt idx="526">
                  <c:v>1399.7207279679199</c:v>
                </c:pt>
                <c:pt idx="527">
                  <c:v>1398.2914705022001</c:v>
                </c:pt>
                <c:pt idx="528">
                  <c:v>1384.3397108654883</c:v>
                </c:pt>
                <c:pt idx="529">
                  <c:v>1376.471646307067</c:v>
                </c:pt>
                <c:pt idx="530">
                  <c:v>1387.2363767463153</c:v>
                </c:pt>
                <c:pt idx="531">
                  <c:v>1387.0848113198442</c:v>
                </c:pt>
                <c:pt idx="532">
                  <c:v>1403.1772867826082</c:v>
                </c:pt>
                <c:pt idx="533">
                  <c:v>1402.9651990463092</c:v>
                </c:pt>
                <c:pt idx="534">
                  <c:v>1403.3335409690242</c:v>
                </c:pt>
                <c:pt idx="535">
                  <c:v>1390.8860549749575</c:v>
                </c:pt>
                <c:pt idx="536">
                  <c:v>1392.4423473444444</c:v>
                </c:pt>
                <c:pt idx="537">
                  <c:v>1387.8156372045926</c:v>
                </c:pt>
                <c:pt idx="538">
                  <c:v>1386.7906285824595</c:v>
                </c:pt>
                <c:pt idx="539">
                  <c:v>1390.6125234489434</c:v>
                </c:pt>
                <c:pt idx="540">
                  <c:v>1386.5760858490066</c:v>
                </c:pt>
                <c:pt idx="541">
                  <c:v>1387.7547386845522</c:v>
                </c:pt>
                <c:pt idx="542">
                  <c:v>1385.5230227881277</c:v>
                </c:pt>
                <c:pt idx="543">
                  <c:v>1387.0545938005303</c:v>
                </c:pt>
                <c:pt idx="544">
                  <c:v>1380.9412719314369</c:v>
                </c:pt>
                <c:pt idx="545">
                  <c:v>1392.0226970972731</c:v>
                </c:pt>
                <c:pt idx="546">
                  <c:v>1387.1000039024311</c:v>
                </c:pt>
                <c:pt idx="547">
                  <c:v>1387.2005022080209</c:v>
                </c:pt>
                <c:pt idx="548">
                  <c:v>1365.1892046669934</c:v>
                </c:pt>
                <c:pt idx="549">
                  <c:v>1346.1139539505475</c:v>
                </c:pt>
                <c:pt idx="550">
                  <c:v>1343.2772600753976</c:v>
                </c:pt>
                <c:pt idx="551">
                  <c:v>1349.251638939395</c:v>
                </c:pt>
                <c:pt idx="552">
                  <c:v>1351.8885504298232</c:v>
                </c:pt>
                <c:pt idx="553">
                  <c:v>1351.1351605858656</c:v>
                </c:pt>
                <c:pt idx="554">
                  <c:v>1354.1921340182928</c:v>
                </c:pt>
                <c:pt idx="555">
                  <c:v>1354.5924598178183</c:v>
                </c:pt>
                <c:pt idx="556">
                  <c:v>1353.8652165505505</c:v>
                </c:pt>
                <c:pt idx="557">
                  <c:v>1350.8983852965532</c:v>
                </c:pt>
                <c:pt idx="558">
                  <c:v>1356.2799613117284</c:v>
                </c:pt>
                <c:pt idx="559">
                  <c:v>1357.66552374291</c:v>
                </c:pt>
                <c:pt idx="560">
                  <c:v>1353.8114219954932</c:v>
                </c:pt>
                <c:pt idx="561">
                  <c:v>1354.318484613329</c:v>
                </c:pt>
                <c:pt idx="562">
                  <c:v>1358.5863779175322</c:v>
                </c:pt>
                <c:pt idx="563">
                  <c:v>1358.0728410920749</c:v>
                </c:pt>
                <c:pt idx="564">
                  <c:v>1366.5710790429432</c:v>
                </c:pt>
                <c:pt idx="565">
                  <c:v>1394.6582173068525</c:v>
                </c:pt>
                <c:pt idx="566">
                  <c:v>1387.0982780023473</c:v>
                </c:pt>
                <c:pt idx="567">
                  <c:v>1386.3591523636157</c:v>
                </c:pt>
                <c:pt idx="568">
                  <c:v>1396.7075534570088</c:v>
                </c:pt>
                <c:pt idx="569">
                  <c:v>1389.0805558848872</c:v>
                </c:pt>
                <c:pt idx="570">
                  <c:v>1391.102570404609</c:v>
                </c:pt>
                <c:pt idx="571">
                  <c:v>1390.2407466361565</c:v>
                </c:pt>
                <c:pt idx="572">
                  <c:v>1369.4220468542253</c:v>
                </c:pt>
                <c:pt idx="573">
                  <c:v>1375.3195378760995</c:v>
                </c:pt>
                <c:pt idx="574">
                  <c:v>1378.4833517297909</c:v>
                </c:pt>
                <c:pt idx="575">
                  <c:v>1372.6344481299916</c:v>
                </c:pt>
                <c:pt idx="576">
                  <c:v>1376.8017830733904</c:v>
                </c:pt>
                <c:pt idx="577">
                  <c:v>1379.2210010279457</c:v>
                </c:pt>
                <c:pt idx="578">
                  <c:v>1378.2484340946851</c:v>
                </c:pt>
                <c:pt idx="579">
                  <c:v>1385.303960070223</c:v>
                </c:pt>
                <c:pt idx="580">
                  <c:v>1380.6269783013486</c:v>
                </c:pt>
                <c:pt idx="581">
                  <c:v>1362.5873212104304</c:v>
                </c:pt>
                <c:pt idx="582">
                  <c:v>1370.8269149392102</c:v>
                </c:pt>
                <c:pt idx="583">
                  <c:v>1372.5269070788925</c:v>
                </c:pt>
                <c:pt idx="584">
                  <c:v>1378.9897761942939</c:v>
                </c:pt>
                <c:pt idx="585">
                  <c:v>1383.1618931301962</c:v>
                </c:pt>
                <c:pt idx="586">
                  <c:v>1387.7776483944033</c:v>
                </c:pt>
                <c:pt idx="587">
                  <c:v>1401.0265438542626</c:v>
                </c:pt>
                <c:pt idx="588">
                  <c:v>1398.0831647526036</c:v>
                </c:pt>
                <c:pt idx="589">
                  <c:v>1402.1831910094909</c:v>
                </c:pt>
                <c:pt idx="590">
                  <c:v>1392.6279039505739</c:v>
                </c:pt>
                <c:pt idx="591">
                  <c:v>1369.9432543783255</c:v>
                </c:pt>
                <c:pt idx="592">
                  <c:v>1373.572718214893</c:v>
                </c:pt>
                <c:pt idx="593">
                  <c:v>1395.5390624103836</c:v>
                </c:pt>
                <c:pt idx="594">
                  <c:v>1396.2500710857439</c:v>
                </c:pt>
                <c:pt idx="595">
                  <c:v>1388.8784846016656</c:v>
                </c:pt>
                <c:pt idx="596">
                  <c:v>1393.8792688307969</c:v>
                </c:pt>
                <c:pt idx="597">
                  <c:v>1393.743847512897</c:v>
                </c:pt>
                <c:pt idx="598">
                  <c:v>1381.5972585900404</c:v>
                </c:pt>
                <c:pt idx="599">
                  <c:v>1377.5916122974729</c:v>
                </c:pt>
                <c:pt idx="600">
                  <c:v>1382.6808892764166</c:v>
                </c:pt>
                <c:pt idx="601">
                  <c:v>1374.8194931943026</c:v>
                </c:pt>
                <c:pt idx="602">
                  <c:v>1377.7294704351027</c:v>
                </c:pt>
                <c:pt idx="603">
                  <c:v>1387.9561044060827</c:v>
                </c:pt>
                <c:pt idx="604">
                  <c:v>1385.3383706791733</c:v>
                </c:pt>
                <c:pt idx="605">
                  <c:v>1381.0265542016282</c:v>
                </c:pt>
                <c:pt idx="606">
                  <c:v>1378.5596499662013</c:v>
                </c:pt>
                <c:pt idx="607">
                  <c:v>1379.3567334527886</c:v>
                </c:pt>
                <c:pt idx="608">
                  <c:v>1380.6567662406628</c:v>
                </c:pt>
                <c:pt idx="609">
                  <c:v>1377.545779017755</c:v>
                </c:pt>
                <c:pt idx="610">
                  <c:v>1379.8817274996361</c:v>
                </c:pt>
                <c:pt idx="611">
                  <c:v>1383.0360481070456</c:v>
                </c:pt>
                <c:pt idx="612">
                  <c:v>1390.2309447869231</c:v>
                </c:pt>
                <c:pt idx="613">
                  <c:v>1398.3029461401861</c:v>
                </c:pt>
                <c:pt idx="614">
                  <c:v>1397.0520919930646</c:v>
                </c:pt>
                <c:pt idx="615">
                  <c:v>1404.9159982776364</c:v>
                </c:pt>
                <c:pt idx="616">
                  <c:v>1430.1080526485071</c:v>
                </c:pt>
                <c:pt idx="617">
                  <c:v>1460.7112618921215</c:v>
                </c:pt>
                <c:pt idx="618">
                  <c:v>1441.4449242170556</c:v>
                </c:pt>
                <c:pt idx="619">
                  <c:v>1437.158126673741</c:v>
                </c:pt>
                <c:pt idx="620">
                  <c:v>1432.1325197210956</c:v>
                </c:pt>
                <c:pt idx="621">
                  <c:v>1431.5386086789597</c:v>
                </c:pt>
                <c:pt idx="622">
                  <c:v>1433.6861314043992</c:v>
                </c:pt>
                <c:pt idx="623">
                  <c:v>1438.595563591507</c:v>
                </c:pt>
                <c:pt idx="624">
                  <c:v>1435.2837052516034</c:v>
                </c:pt>
                <c:pt idx="625">
                  <c:v>1432.0294749491497</c:v>
                </c:pt>
                <c:pt idx="626">
                  <c:v>1428.1667056605061</c:v>
                </c:pt>
                <c:pt idx="627">
                  <c:v>1425.5311622200843</c:v>
                </c:pt>
                <c:pt idx="628">
                  <c:v>1432.4077980983814</c:v>
                </c:pt>
                <c:pt idx="629">
                  <c:v>1443.1753092354611</c:v>
                </c:pt>
                <c:pt idx="630">
                  <c:v>1436.6319216180275</c:v>
                </c:pt>
                <c:pt idx="631">
                  <c:v>1440.4250088218371</c:v>
                </c:pt>
                <c:pt idx="632">
                  <c:v>1443.4797338544606</c:v>
                </c:pt>
                <c:pt idx="633">
                  <c:v>1442.4274143824941</c:v>
                </c:pt>
                <c:pt idx="634">
                  <c:v>1442.9869049037386</c:v>
                </c:pt>
                <c:pt idx="635">
                  <c:v>1443.1823850492103</c:v>
                </c:pt>
                <c:pt idx="636">
                  <c:v>1438.450421537482</c:v>
                </c:pt>
                <c:pt idx="637">
                  <c:v>1420.8110410424538</c:v>
                </c:pt>
                <c:pt idx="638">
                  <c:v>1417.9373337939451</c:v>
                </c:pt>
                <c:pt idx="639">
                  <c:v>1405.3395503109309</c:v>
                </c:pt>
                <c:pt idx="640">
                  <c:v>1412.9431019890376</c:v>
                </c:pt>
                <c:pt idx="641">
                  <c:v>1410.1021801753932</c:v>
                </c:pt>
                <c:pt idx="642">
                  <c:v>1413.3571068095443</c:v>
                </c:pt>
                <c:pt idx="643">
                  <c:v>1426.0874822818948</c:v>
                </c:pt>
                <c:pt idx="644">
                  <c:v>1423.7729910926544</c:v>
                </c:pt>
                <c:pt idx="645">
                  <c:v>1408.2870018488659</c:v>
                </c:pt>
                <c:pt idx="646">
                  <c:v>1415.2722003211525</c:v>
                </c:pt>
                <c:pt idx="647">
                  <c:v>1409.726197449444</c:v>
                </c:pt>
                <c:pt idx="648">
                  <c:v>1416.7116085257587</c:v>
                </c:pt>
                <c:pt idx="649">
                  <c:v>1417.7124617305806</c:v>
                </c:pt>
                <c:pt idx="650">
                  <c:v>1430.6261359267912</c:v>
                </c:pt>
                <c:pt idx="651">
                  <c:v>1433.1083728929871</c:v>
                </c:pt>
                <c:pt idx="652">
                  <c:v>1431.2956811648671</c:v>
                </c:pt>
                <c:pt idx="653">
                  <c:v>1426.6002751712394</c:v>
                </c:pt>
                <c:pt idx="654">
                  <c:v>1428.1742804666812</c:v>
                </c:pt>
                <c:pt idx="655">
                  <c:v>1416.8512684738021</c:v>
                </c:pt>
                <c:pt idx="656">
                  <c:v>1428.2274571508415</c:v>
                </c:pt>
                <c:pt idx="657">
                  <c:v>1426.3677582801313</c:v>
                </c:pt>
                <c:pt idx="658">
                  <c:v>1426.3774505982224</c:v>
                </c:pt>
                <c:pt idx="659">
                  <c:v>1430.1468361407531</c:v>
                </c:pt>
                <c:pt idx="660">
                  <c:v>1445.2983997833533</c:v>
                </c:pt>
                <c:pt idx="661">
                  <c:v>1445.4993040373001</c:v>
                </c:pt>
                <c:pt idx="662">
                  <c:v>1438.3451161604144</c:v>
                </c:pt>
                <c:pt idx="663">
                  <c:v>1433.8435600306213</c:v>
                </c:pt>
                <c:pt idx="664">
                  <c:v>1440.8165684124026</c:v>
                </c:pt>
                <c:pt idx="665">
                  <c:v>1438.1957274911947</c:v>
                </c:pt>
                <c:pt idx="666">
                  <c:v>1443.648717411183</c:v>
                </c:pt>
                <c:pt idx="667">
                  <c:v>1432.8894736210166</c:v>
                </c:pt>
                <c:pt idx="668">
                  <c:v>1437.2189457598035</c:v>
                </c:pt>
                <c:pt idx="669">
                  <c:v>1434.3961120042618</c:v>
                </c:pt>
                <c:pt idx="670">
                  <c:v>1437.2598200429757</c:v>
                </c:pt>
                <c:pt idx="671">
                  <c:v>1443.671094986337</c:v>
                </c:pt>
                <c:pt idx="672">
                  <c:v>1436.1635475201404</c:v>
                </c:pt>
                <c:pt idx="673">
                  <c:v>1447.7038235902653</c:v>
                </c:pt>
                <c:pt idx="674">
                  <c:v>1448.3513938568399</c:v>
                </c:pt>
                <c:pt idx="675">
                  <c:v>1448.7145092817364</c:v>
                </c:pt>
                <c:pt idx="676">
                  <c:v>1449.1538941093902</c:v>
                </c:pt>
                <c:pt idx="677">
                  <c:v>1449.292001375552</c:v>
                </c:pt>
                <c:pt idx="678">
                  <c:v>1448.5921659765145</c:v>
                </c:pt>
                <c:pt idx="679">
                  <c:v>1447.5119627423933</c:v>
                </c:pt>
                <c:pt idx="680">
                  <c:v>1464.5787423867855</c:v>
                </c:pt>
                <c:pt idx="681">
                  <c:v>1480.918438111009</c:v>
                </c:pt>
                <c:pt idx="682">
                  <c:v>1486.5994686496426</c:v>
                </c:pt>
                <c:pt idx="683">
                  <c:v>1486.3855136864413</c:v>
                </c:pt>
                <c:pt idx="684">
                  <c:v>1499.5839822330188</c:v>
                </c:pt>
                <c:pt idx="685">
                  <c:v>1506.597815633515</c:v>
                </c:pt>
                <c:pt idx="686">
                  <c:v>1516.8840076286042</c:v>
                </c:pt>
                <c:pt idx="687">
                  <c:v>1498.4052831024201</c:v>
                </c:pt>
                <c:pt idx="688">
                  <c:v>1508.0259838755674</c:v>
                </c:pt>
                <c:pt idx="689">
                  <c:v>1510.1851809761397</c:v>
                </c:pt>
                <c:pt idx="690">
                  <c:v>1498.9649266640299</c:v>
                </c:pt>
                <c:pt idx="691">
                  <c:v>1496.5801285920704</c:v>
                </c:pt>
                <c:pt idx="692">
                  <c:v>1498.2645430788136</c:v>
                </c:pt>
                <c:pt idx="693">
                  <c:v>1499.8921894047912</c:v>
                </c:pt>
                <c:pt idx="694">
                  <c:v>1521.4963147237113</c:v>
                </c:pt>
                <c:pt idx="695">
                  <c:v>1515.0361146494208</c:v>
                </c:pt>
                <c:pt idx="696">
                  <c:v>1506.3961171457404</c:v>
                </c:pt>
                <c:pt idx="697">
                  <c:v>1508.209417843924</c:v>
                </c:pt>
                <c:pt idx="698">
                  <c:v>1471.0973743169518</c:v>
                </c:pt>
                <c:pt idx="699">
                  <c:v>1466.2376252397962</c:v>
                </c:pt>
                <c:pt idx="700">
                  <c:v>1463.2474972012026</c:v>
                </c:pt>
                <c:pt idx="701">
                  <c:v>1450.0647824531911</c:v>
                </c:pt>
                <c:pt idx="702">
                  <c:v>1466.1966997123125</c:v>
                </c:pt>
                <c:pt idx="703">
                  <c:v>1469.9352399325826</c:v>
                </c:pt>
                <c:pt idx="704">
                  <c:v>1461.6628344699441</c:v>
                </c:pt>
                <c:pt idx="705">
                  <c:v>1468.0802640980362</c:v>
                </c:pt>
                <c:pt idx="706">
                  <c:v>1461.2254907877036</c:v>
                </c:pt>
                <c:pt idx="707">
                  <c:v>1458.2458028080605</c:v>
                </c:pt>
                <c:pt idx="708">
                  <c:v>1454.0317608971131</c:v>
                </c:pt>
                <c:pt idx="709">
                  <c:v>1461.7537538904348</c:v>
                </c:pt>
                <c:pt idx="710">
                  <c:v>1475.4798566532568</c:v>
                </c:pt>
                <c:pt idx="711">
                  <c:v>1483.6798336923173</c:v>
                </c:pt>
                <c:pt idx="712">
                  <c:v>1492.1219620146037</c:v>
                </c:pt>
                <c:pt idx="713">
                  <c:v>1495.986599131676</c:v>
                </c:pt>
                <c:pt idx="714">
                  <c:v>1499.3440039374377</c:v>
                </c:pt>
                <c:pt idx="715">
                  <c:v>1498.5111360683372</c:v>
                </c:pt>
                <c:pt idx="716">
                  <c:v>1493.0062323376696</c:v>
                </c:pt>
                <c:pt idx="717">
                  <c:v>1492.9175099744145</c:v>
                </c:pt>
                <c:pt idx="718">
                  <c:v>1504.8128848929202</c:v>
                </c:pt>
                <c:pt idx="719">
                  <c:v>1521.8288354665028</c:v>
                </c:pt>
                <c:pt idx="720">
                  <c:v>1521.6329464348971</c:v>
                </c:pt>
                <c:pt idx="721">
                  <c:v>1528.7606141516517</c:v>
                </c:pt>
                <c:pt idx="722">
                  <c:v>1522.3691399832735</c:v>
                </c:pt>
                <c:pt idx="723">
                  <c:v>1522.9941939602904</c:v>
                </c:pt>
                <c:pt idx="724">
                  <c:v>1525.518246970493</c:v>
                </c:pt>
                <c:pt idx="725">
                  <c:v>1542.5273278461545</c:v>
                </c:pt>
                <c:pt idx="726">
                  <c:v>1542.2039618716833</c:v>
                </c:pt>
                <c:pt idx="727">
                  <c:v>1544.5511896750922</c:v>
                </c:pt>
                <c:pt idx="728">
                  <c:v>1527.9556715623467</c:v>
                </c:pt>
                <c:pt idx="729">
                  <c:v>1529.9460779189299</c:v>
                </c:pt>
                <c:pt idx="730">
                  <c:v>1525.5371307282032</c:v>
                </c:pt>
                <c:pt idx="731">
                  <c:v>1526.350052915278</c:v>
                </c:pt>
                <c:pt idx="732">
                  <c:v>1530.085629421314</c:v>
                </c:pt>
                <c:pt idx="733">
                  <c:v>1535.8619082183977</c:v>
                </c:pt>
                <c:pt idx="734">
                  <c:v>1545.913427735278</c:v>
                </c:pt>
                <c:pt idx="735">
                  <c:v>1541.9797323585994</c:v>
                </c:pt>
                <c:pt idx="736">
                  <c:v>1553.1349781829342</c:v>
                </c:pt>
                <c:pt idx="737">
                  <c:v>1551.3987578225078</c:v>
                </c:pt>
                <c:pt idx="738">
                  <c:v>1542.6570358814818</c:v>
                </c:pt>
                <c:pt idx="739">
                  <c:v>1561.2742959550346</c:v>
                </c:pt>
                <c:pt idx="740">
                  <c:v>1563.472344899493</c:v>
                </c:pt>
                <c:pt idx="741">
                  <c:v>1567.5511924505649</c:v>
                </c:pt>
                <c:pt idx="742">
                  <c:v>1560.855011461241</c:v>
                </c:pt>
                <c:pt idx="743">
                  <c:v>1555.4937651033638</c:v>
                </c:pt>
                <c:pt idx="744">
                  <c:v>1542.9936754496318</c:v>
                </c:pt>
                <c:pt idx="745">
                  <c:v>1543.3476098972785</c:v>
                </c:pt>
                <c:pt idx="746">
                  <c:v>1543.3215972569142</c:v>
                </c:pt>
                <c:pt idx="747">
                  <c:v>1536.3142543967024</c:v>
                </c:pt>
                <c:pt idx="748">
                  <c:v>1527.1044578397034</c:v>
                </c:pt>
                <c:pt idx="749">
                  <c:v>1528.5132265194422</c:v>
                </c:pt>
                <c:pt idx="750">
                  <c:v>1537.4726326107225</c:v>
                </c:pt>
                <c:pt idx="751">
                  <c:v>1538.4279702555723</c:v>
                </c:pt>
                <c:pt idx="752">
                  <c:v>1529.2397556276644</c:v>
                </c:pt>
                <c:pt idx="753">
                  <c:v>1525.950790194064</c:v>
                </c:pt>
                <c:pt idx="754">
                  <c:v>1536.9530169216318</c:v>
                </c:pt>
                <c:pt idx="755">
                  <c:v>1539.3280080967766</c:v>
                </c:pt>
                <c:pt idx="756">
                  <c:v>1540.7017711106439</c:v>
                </c:pt>
                <c:pt idx="757">
                  <c:v>1545.294285470043</c:v>
                </c:pt>
                <c:pt idx="758">
                  <c:v>1535.5183895401055</c:v>
                </c:pt>
                <c:pt idx="759">
                  <c:v>1549.9526848848291</c:v>
                </c:pt>
                <c:pt idx="760">
                  <c:v>1556.96151077027</c:v>
                </c:pt>
                <c:pt idx="761">
                  <c:v>1545.1772609016209</c:v>
                </c:pt>
                <c:pt idx="762">
                  <c:v>1546.1138265334309</c:v>
                </c:pt>
                <c:pt idx="763">
                  <c:v>1554.5733731652674</c:v>
                </c:pt>
                <c:pt idx="764">
                  <c:v>1555.798108413735</c:v>
                </c:pt>
                <c:pt idx="765">
                  <c:v>1552.3299122494834</c:v>
                </c:pt>
                <c:pt idx="766">
                  <c:v>1554.6527102831817</c:v>
                </c:pt>
                <c:pt idx="767">
                  <c:v>1554.5599654496168</c:v>
                </c:pt>
                <c:pt idx="768">
                  <c:v>1568.4493516609896</c:v>
                </c:pt>
                <c:pt idx="769">
                  <c:v>1574.9116905842311</c:v>
                </c:pt>
                <c:pt idx="770">
                  <c:v>1572.8652552713993</c:v>
                </c:pt>
                <c:pt idx="771">
                  <c:v>1577.5894741702016</c:v>
                </c:pt>
                <c:pt idx="772">
                  <c:v>1571.0974011887506</c:v>
                </c:pt>
                <c:pt idx="773">
                  <c:v>1563.8868908147615</c:v>
                </c:pt>
                <c:pt idx="774">
                  <c:v>1568.9910620842072</c:v>
                </c:pt>
                <c:pt idx="775">
                  <c:v>1567.3045260389863</c:v>
                </c:pt>
                <c:pt idx="776">
                  <c:v>1558.9543162165878</c:v>
                </c:pt>
                <c:pt idx="777">
                  <c:v>1562.3009639235443</c:v>
                </c:pt>
                <c:pt idx="778">
                  <c:v>1550.561240528996</c:v>
                </c:pt>
                <c:pt idx="779">
                  <c:v>1537.9001064754816</c:v>
                </c:pt>
                <c:pt idx="780">
                  <c:v>1537.7425393359758</c:v>
                </c:pt>
                <c:pt idx="781">
                  <c:v>1551.121820485934</c:v>
                </c:pt>
                <c:pt idx="782">
                  <c:v>1554.7354635244633</c:v>
                </c:pt>
                <c:pt idx="783">
                  <c:v>1564.2663136671363</c:v>
                </c:pt>
                <c:pt idx="784">
                  <c:v>1571.9363940562459</c:v>
                </c:pt>
                <c:pt idx="785">
                  <c:v>1579.1275322025401</c:v>
                </c:pt>
                <c:pt idx="786">
                  <c:v>1577.6195279498781</c:v>
                </c:pt>
                <c:pt idx="787">
                  <c:v>1563.8373249596423</c:v>
                </c:pt>
                <c:pt idx="788">
                  <c:v>1558.5803093563293</c:v>
                </c:pt>
                <c:pt idx="789">
                  <c:v>1557.7933457377717</c:v>
                </c:pt>
                <c:pt idx="790">
                  <c:v>1556.5271150229034</c:v>
                </c:pt>
                <c:pt idx="791">
                  <c:v>1558.5576509714501</c:v>
                </c:pt>
                <c:pt idx="792">
                  <c:v>1556.8306604875288</c:v>
                </c:pt>
                <c:pt idx="793">
                  <c:v>1568.0107146600915</c:v>
                </c:pt>
                <c:pt idx="794">
                  <c:v>1584.7788004215549</c:v>
                </c:pt>
                <c:pt idx="795">
                  <c:v>1610.5566908883095</c:v>
                </c:pt>
                <c:pt idx="796">
                  <c:v>1617.5486171973785</c:v>
                </c:pt>
                <c:pt idx="797">
                  <c:v>1613.082461567469</c:v>
                </c:pt>
                <c:pt idx="798">
                  <c:v>1595.126915081391</c:v>
                </c:pt>
                <c:pt idx="799">
                  <c:v>1597.3900383175389</c:v>
                </c:pt>
                <c:pt idx="800">
                  <c:v>1602.9614884540708</c:v>
                </c:pt>
                <c:pt idx="801">
                  <c:v>1624.3245543220432</c:v>
                </c:pt>
                <c:pt idx="802">
                  <c:v>1653.1435273796903</c:v>
                </c:pt>
                <c:pt idx="803">
                  <c:v>1648.5444964715168</c:v>
                </c:pt>
                <c:pt idx="804">
                  <c:v>1681.3654932261231</c:v>
                </c:pt>
                <c:pt idx="805">
                  <c:v>1682.1248667984787</c:v>
                </c:pt>
                <c:pt idx="806">
                  <c:v>1685.516233049053</c:v>
                </c:pt>
                <c:pt idx="807">
                  <c:v>1702.8621515114871</c:v>
                </c:pt>
                <c:pt idx="808">
                  <c:v>1690.5010856593799</c:v>
                </c:pt>
                <c:pt idx="809">
                  <c:v>1663.4825766239142</c:v>
                </c:pt>
                <c:pt idx="810">
                  <c:v>1669.4529126007023</c:v>
                </c:pt>
                <c:pt idx="811">
                  <c:v>1688.0488638220784</c:v>
                </c:pt>
                <c:pt idx="812">
                  <c:v>1700.1788507582805</c:v>
                </c:pt>
                <c:pt idx="813">
                  <c:v>1704.5625195914206</c:v>
                </c:pt>
                <c:pt idx="814">
                  <c:v>1708.2987568947431</c:v>
                </c:pt>
                <c:pt idx="815">
                  <c:v>1702.8667448339027</c:v>
                </c:pt>
                <c:pt idx="816">
                  <c:v>1682.3723349516933</c:v>
                </c:pt>
                <c:pt idx="817">
                  <c:v>1663.7205010467069</c:v>
                </c:pt>
                <c:pt idx="818">
                  <c:v>1662.85284827845</c:v>
                </c:pt>
                <c:pt idx="819">
                  <c:v>1670.5129157548624</c:v>
                </c:pt>
                <c:pt idx="820">
                  <c:v>1670.7643463891416</c:v>
                </c:pt>
                <c:pt idx="821">
                  <c:v>1684.4296173576952</c:v>
                </c:pt>
                <c:pt idx="822">
                  <c:v>1700.947100659301</c:v>
                </c:pt>
                <c:pt idx="823">
                  <c:v>1716.5952740077123</c:v>
                </c:pt>
                <c:pt idx="824">
                  <c:v>1721.9325402116965</c:v>
                </c:pt>
                <c:pt idx="825">
                  <c:v>1722.3214128864195</c:v>
                </c:pt>
                <c:pt idx="826">
                  <c:v>1709.8450689725059</c:v>
                </c:pt>
                <c:pt idx="827">
                  <c:v>1724.2422194153087</c:v>
                </c:pt>
                <c:pt idx="828">
                  <c:v>1728.0428139737433</c:v>
                </c:pt>
                <c:pt idx="829">
                  <c:v>1717.8470055480793</c:v>
                </c:pt>
                <c:pt idx="830">
                  <c:v>1712.2232319596874</c:v>
                </c:pt>
                <c:pt idx="831">
                  <c:v>1726.4406165585638</c:v>
                </c:pt>
                <c:pt idx="832">
                  <c:v>1730.5282432796612</c:v>
                </c:pt>
                <c:pt idx="833">
                  <c:v>1718.8679643773064</c:v>
                </c:pt>
                <c:pt idx="834">
                  <c:v>1715.0010842449374</c:v>
                </c:pt>
                <c:pt idx="835">
                  <c:v>1729.5147259944579</c:v>
                </c:pt>
                <c:pt idx="836">
                  <c:v>1724.5375053288367</c:v>
                </c:pt>
                <c:pt idx="837">
                  <c:v>1738.281398935248</c:v>
                </c:pt>
                <c:pt idx="838">
                  <c:v>1742.1454273847448</c:v>
                </c:pt>
                <c:pt idx="839">
                  <c:v>1773.2074669700203</c:v>
                </c:pt>
                <c:pt idx="840">
                  <c:v>1760.098699566659</c:v>
                </c:pt>
                <c:pt idx="841">
                  <c:v>1764.586464459227</c:v>
                </c:pt>
                <c:pt idx="842">
                  <c:v>1773.5415018030558</c:v>
                </c:pt>
                <c:pt idx="843">
                  <c:v>1763.8061923701055</c:v>
                </c:pt>
                <c:pt idx="844">
                  <c:v>1770.6448653126101</c:v>
                </c:pt>
                <c:pt idx="845">
                  <c:v>1779.8419444332735</c:v>
                </c:pt>
                <c:pt idx="846">
                  <c:v>1788.3472799295118</c:v>
                </c:pt>
                <c:pt idx="847">
                  <c:v>1782.6881948196217</c:v>
                </c:pt>
                <c:pt idx="848">
                  <c:v>1785.8155031633507</c:v>
                </c:pt>
                <c:pt idx="849">
                  <c:v>1781.4011209628195</c:v>
                </c:pt>
                <c:pt idx="850">
                  <c:v>1806.7595198787199</c:v>
                </c:pt>
                <c:pt idx="851">
                  <c:v>1815.1103931261575</c:v>
                </c:pt>
                <c:pt idx="852">
                  <c:v>1794.7463552888021</c:v>
                </c:pt>
                <c:pt idx="853">
                  <c:v>1785.2622093969596</c:v>
                </c:pt>
                <c:pt idx="854">
                  <c:v>1789.0330708630652</c:v>
                </c:pt>
                <c:pt idx="855">
                  <c:v>1790.1808365725278</c:v>
                </c:pt>
                <c:pt idx="856">
                  <c:v>1773.2124361719498</c:v>
                </c:pt>
                <c:pt idx="857">
                  <c:v>1768.968614899157</c:v>
                </c:pt>
                <c:pt idx="858">
                  <c:v>1754.0088537080132</c:v>
                </c:pt>
                <c:pt idx="859">
                  <c:v>1755.1357364840269</c:v>
                </c:pt>
                <c:pt idx="860">
                  <c:v>1772.2880717074706</c:v>
                </c:pt>
                <c:pt idx="861">
                  <c:v>1767.6126400600785</c:v>
                </c:pt>
                <c:pt idx="862">
                  <c:v>1767.7898444883219</c:v>
                </c:pt>
                <c:pt idx="863">
                  <c:v>1775.6808597880306</c:v>
                </c:pt>
                <c:pt idx="864">
                  <c:v>1777.1662874623235</c:v>
                </c:pt>
                <c:pt idx="865">
                  <c:v>1790.2772832554049</c:v>
                </c:pt>
                <c:pt idx="866">
                  <c:v>1808.6862973312741</c:v>
                </c:pt>
                <c:pt idx="867">
                  <c:v>1810.0170348371832</c:v>
                </c:pt>
                <c:pt idx="868">
                  <c:v>1856.8052001177196</c:v>
                </c:pt>
                <c:pt idx="869">
                  <c:v>1860.1353505217812</c:v>
                </c:pt>
                <c:pt idx="870">
                  <c:v>1866.5032715819591</c:v>
                </c:pt>
                <c:pt idx="871">
                  <c:v>1852.6454042480691</c:v>
                </c:pt>
                <c:pt idx="872">
                  <c:v>1835.8769147860414</c:v>
                </c:pt>
                <c:pt idx="873">
                  <c:v>1828.9431842254635</c:v>
                </c:pt>
                <c:pt idx="874">
                  <c:v>1839.5901344657611</c:v>
                </c:pt>
                <c:pt idx="875">
                  <c:v>1855.6582372821667</c:v>
                </c:pt>
                <c:pt idx="876">
                  <c:v>1846.6195117764678</c:v>
                </c:pt>
                <c:pt idx="877">
                  <c:v>1835.6665022877742</c:v>
                </c:pt>
                <c:pt idx="878">
                  <c:v>1832.1834524072763</c:v>
                </c:pt>
                <c:pt idx="879">
                  <c:v>1826.3270110412025</c:v>
                </c:pt>
                <c:pt idx="880">
                  <c:v>1835.2774977565518</c:v>
                </c:pt>
                <c:pt idx="881">
                  <c:v>1835.374149646464</c:v>
                </c:pt>
                <c:pt idx="882">
                  <c:v>1824.7402667503268</c:v>
                </c:pt>
                <c:pt idx="883">
                  <c:v>1814.6318647413771</c:v>
                </c:pt>
                <c:pt idx="884">
                  <c:v>1809.7065738342428</c:v>
                </c:pt>
                <c:pt idx="885">
                  <c:v>1814.0442840467631</c:v>
                </c:pt>
                <c:pt idx="886">
                  <c:v>1810.0097430699745</c:v>
                </c:pt>
                <c:pt idx="887">
                  <c:v>1827.1425824027374</c:v>
                </c:pt>
                <c:pt idx="888">
                  <c:v>1834.6080665670499</c:v>
                </c:pt>
                <c:pt idx="889">
                  <c:v>1850.896073690574</c:v>
                </c:pt>
                <c:pt idx="890">
                  <c:v>1849.5206498990769</c:v>
                </c:pt>
                <c:pt idx="891">
                  <c:v>1835.0289282149913</c:v>
                </c:pt>
                <c:pt idx="892">
                  <c:v>1836.5086211343239</c:v>
                </c:pt>
                <c:pt idx="893">
                  <c:v>1832.7991700552509</c:v>
                </c:pt>
                <c:pt idx="894">
                  <c:v>1843.9403616522548</c:v>
                </c:pt>
                <c:pt idx="895">
                  <c:v>1849.4147174707646</c:v>
                </c:pt>
                <c:pt idx="896">
                  <c:v>1865.7864055451034</c:v>
                </c:pt>
                <c:pt idx="897">
                  <c:v>1868.4748518545393</c:v>
                </c:pt>
                <c:pt idx="898">
                  <c:v>1864.0751999491267</c:v>
                </c:pt>
                <c:pt idx="899">
                  <c:v>1878.8856300134817</c:v>
                </c:pt>
                <c:pt idx="900">
                  <c:v>1874.0741223179396</c:v>
                </c:pt>
                <c:pt idx="901">
                  <c:v>1902.7763654195658</c:v>
                </c:pt>
                <c:pt idx="902">
                  <c:v>1916.3465875012735</c:v>
                </c:pt>
                <c:pt idx="903">
                  <c:v>1895.0256519105487</c:v>
                </c:pt>
                <c:pt idx="904">
                  <c:v>1888.554895799595</c:v>
                </c:pt>
                <c:pt idx="905">
                  <c:v>1899.7134770425057</c:v>
                </c:pt>
                <c:pt idx="906">
                  <c:v>1894.5618416862819</c:v>
                </c:pt>
                <c:pt idx="907">
                  <c:v>1894.4478780375759</c:v>
                </c:pt>
                <c:pt idx="908">
                  <c:v>1927.691323957366</c:v>
                </c:pt>
                <c:pt idx="909">
                  <c:v>1939.9683069222724</c:v>
                </c:pt>
                <c:pt idx="910">
                  <c:v>1927.3995650106219</c:v>
                </c:pt>
                <c:pt idx="911">
                  <c:v>1933.2881432088686</c:v>
                </c:pt>
                <c:pt idx="912">
                  <c:v>1935.3767825779332</c:v>
                </c:pt>
                <c:pt idx="913">
                  <c:v>1937.1269867255849</c:v>
                </c:pt>
                <c:pt idx="914">
                  <c:v>1933.0412354068267</c:v>
                </c:pt>
                <c:pt idx="915">
                  <c:v>1952.2450842494834</c:v>
                </c:pt>
                <c:pt idx="916">
                  <c:v>1945.606302079837</c:v>
                </c:pt>
                <c:pt idx="917">
                  <c:v>1950.0852601340009</c:v>
                </c:pt>
                <c:pt idx="918">
                  <c:v>1957.305856385067</c:v>
                </c:pt>
                <c:pt idx="919">
                  <c:v>1972.8801393165368</c:v>
                </c:pt>
                <c:pt idx="920">
                  <c:v>1965.1749335433558</c:v>
                </c:pt>
                <c:pt idx="921">
                  <c:v>1951.7981983761742</c:v>
                </c:pt>
                <c:pt idx="922">
                  <c:v>1966.0276720371553</c:v>
                </c:pt>
                <c:pt idx="923">
                  <c:v>1996.419299917635</c:v>
                </c:pt>
                <c:pt idx="924">
                  <c:v>2007.0656731158347</c:v>
                </c:pt>
                <c:pt idx="925">
                  <c:v>2021.931843491572</c:v>
                </c:pt>
                <c:pt idx="926">
                  <c:v>2042.3301843579904</c:v>
                </c:pt>
                <c:pt idx="927">
                  <c:v>1997.2587501267667</c:v>
                </c:pt>
                <c:pt idx="928">
                  <c:v>1997.4193090003939</c:v>
                </c:pt>
                <c:pt idx="929">
                  <c:v>1982.1852317499527</c:v>
                </c:pt>
                <c:pt idx="930">
                  <c:v>1967.443232365001</c:v>
                </c:pt>
                <c:pt idx="931">
                  <c:v>1966.9007836891569</c:v>
                </c:pt>
                <c:pt idx="932">
                  <c:v>1946.458750373029</c:v>
                </c:pt>
                <c:pt idx="933">
                  <c:v>1932.3471449591248</c:v>
                </c:pt>
                <c:pt idx="934">
                  <c:v>1946.2129464405609</c:v>
                </c:pt>
                <c:pt idx="935">
                  <c:v>1975.7969845155089</c:v>
                </c:pt>
                <c:pt idx="936">
                  <c:v>1953.6144220361966</c:v>
                </c:pt>
                <c:pt idx="937">
                  <c:v>1931.2218396538492</c:v>
                </c:pt>
                <c:pt idx="938">
                  <c:v>1939.6891781889317</c:v>
                </c:pt>
                <c:pt idx="939">
                  <c:v>1961.0739949503391</c:v>
                </c:pt>
                <c:pt idx="940">
                  <c:v>1935.774785367706</c:v>
                </c:pt>
                <c:pt idx="941">
                  <c:v>1952.1373700612687</c:v>
                </c:pt>
                <c:pt idx="942">
                  <c:v>1939.7816687527234</c:v>
                </c:pt>
                <c:pt idx="943">
                  <c:v>1919.8767748123182</c:v>
                </c:pt>
                <c:pt idx="944">
                  <c:v>1933.2453008735386</c:v>
                </c:pt>
                <c:pt idx="945">
                  <c:v>1959.1879026036845</c:v>
                </c:pt>
                <c:pt idx="946">
                  <c:v>1967.8319161464165</c:v>
                </c:pt>
                <c:pt idx="947">
                  <c:v>1976.9845799233331</c:v>
                </c:pt>
                <c:pt idx="948">
                  <c:v>1973.5890102349938</c:v>
                </c:pt>
                <c:pt idx="949">
                  <c:v>1976.7273148678983</c:v>
                </c:pt>
                <c:pt idx="950">
                  <c:v>1986.9940625718762</c:v>
                </c:pt>
                <c:pt idx="951">
                  <c:v>1961.4391236287036</c:v>
                </c:pt>
                <c:pt idx="952">
                  <c:v>1983.096201691829</c:v>
                </c:pt>
                <c:pt idx="953">
                  <c:v>1984.1102055028987</c:v>
                </c:pt>
                <c:pt idx="954">
                  <c:v>2011.0561718257691</c:v>
                </c:pt>
                <c:pt idx="955">
                  <c:v>2013.2155613314133</c:v>
                </c:pt>
                <c:pt idx="956">
                  <c:v>2029.2575615433404</c:v>
                </c:pt>
                <c:pt idx="957">
                  <c:v>2038.4324372489218</c:v>
                </c:pt>
                <c:pt idx="958">
                  <c:v>2042.0779306317631</c:v>
                </c:pt>
                <c:pt idx="959">
                  <c:v>2055.0447983665144</c:v>
                </c:pt>
                <c:pt idx="960">
                  <c:v>2086.9649874917895</c:v>
                </c:pt>
                <c:pt idx="961">
                  <c:v>2093.1044822627605</c:v>
                </c:pt>
                <c:pt idx="962">
                  <c:v>2113.6119048267242</c:v>
                </c:pt>
                <c:pt idx="963">
                  <c:v>2151.7347937775985</c:v>
                </c:pt>
                <c:pt idx="964">
                  <c:v>2155.1554068290907</c:v>
                </c:pt>
                <c:pt idx="965">
                  <c:v>2157.9396709492694</c:v>
                </c:pt>
                <c:pt idx="966">
                  <c:v>2190.2292314008387</c:v>
                </c:pt>
                <c:pt idx="967">
                  <c:v>2203.0930314749498</c:v>
                </c:pt>
                <c:pt idx="968">
                  <c:v>2212.5065675741971</c:v>
                </c:pt>
                <c:pt idx="969">
                  <c:v>2266.9073785093206</c:v>
                </c:pt>
                <c:pt idx="970">
                  <c:v>2265.1566855468595</c:v>
                </c:pt>
                <c:pt idx="971">
                  <c:v>2250.2228139244653</c:v>
                </c:pt>
                <c:pt idx="972">
                  <c:v>2262.1126093021467</c:v>
                </c:pt>
                <c:pt idx="973">
                  <c:v>2237.754921065206</c:v>
                </c:pt>
                <c:pt idx="974">
                  <c:v>2199.7777072075728</c:v>
                </c:pt>
                <c:pt idx="975">
                  <c:v>2232.9356476710836</c:v>
                </c:pt>
                <c:pt idx="976">
                  <c:v>2255.9243606354021</c:v>
                </c:pt>
                <c:pt idx="977">
                  <c:v>2269.2848524945339</c:v>
                </c:pt>
                <c:pt idx="978">
                  <c:v>2298.1034192816687</c:v>
                </c:pt>
                <c:pt idx="979">
                  <c:v>2248.1765758920515</c:v>
                </c:pt>
                <c:pt idx="980">
                  <c:v>2159.6644232295466</c:v>
                </c:pt>
                <c:pt idx="981">
                  <c:v>2098.4635218649501</c:v>
                </c:pt>
                <c:pt idx="982">
                  <c:v>2022.3728322489699</c:v>
                </c:pt>
                <c:pt idx="983">
                  <c:v>2013.6551066334873</c:v>
                </c:pt>
                <c:pt idx="984">
                  <c:v>2048.0295100303047</c:v>
                </c:pt>
                <c:pt idx="985">
                  <c:v>2062.8618036791399</c:v>
                </c:pt>
                <c:pt idx="986">
                  <c:v>2109.5858836379816</c:v>
                </c:pt>
                <c:pt idx="987">
                  <c:v>2121.9470748791623</c:v>
                </c:pt>
                <c:pt idx="988">
                  <c:v>2129.9365271169145</c:v>
                </c:pt>
                <c:pt idx="989">
                  <c:v>2085.0054673449777</c:v>
                </c:pt>
                <c:pt idx="990">
                  <c:v>2048.0548891666313</c:v>
                </c:pt>
                <c:pt idx="991">
                  <c:v>2057.03286132823</c:v>
                </c:pt>
                <c:pt idx="992">
                  <c:v>2039.8715897250252</c:v>
                </c:pt>
                <c:pt idx="993">
                  <c:v>2033.5807912963326</c:v>
                </c:pt>
                <c:pt idx="994">
                  <c:v>2045.033469738014</c:v>
                </c:pt>
                <c:pt idx="995">
                  <c:v>2042.2559038378797</c:v>
                </c:pt>
                <c:pt idx="996">
                  <c:v>2050.2585014974561</c:v>
                </c:pt>
                <c:pt idx="997">
                  <c:v>2052.3107840360499</c:v>
                </c:pt>
                <c:pt idx="998">
                  <c:v>2046.0595064200943</c:v>
                </c:pt>
                <c:pt idx="999">
                  <c:v>2038.546182943234</c:v>
                </c:pt>
                <c:pt idx="1000">
                  <c:v>2032.570679501983</c:v>
                </c:pt>
                <c:pt idx="1001">
                  <c:v>2048.5760202107072</c:v>
                </c:pt>
                <c:pt idx="1002">
                  <c:v>2029.0053676959428</c:v>
                </c:pt>
                <c:pt idx="1003">
                  <c:v>2050.0207770082689</c:v>
                </c:pt>
                <c:pt idx="1004">
                  <c:v>2063.2286252907797</c:v>
                </c:pt>
                <c:pt idx="1005">
                  <c:v>2058.382673221166</c:v>
                </c:pt>
                <c:pt idx="1006">
                  <c:v>2043.3237781906298</c:v>
                </c:pt>
                <c:pt idx="1007">
                  <c:v>2002.8149425803049</c:v>
                </c:pt>
                <c:pt idx="1008">
                  <c:v>1950.8217280269564</c:v>
                </c:pt>
                <c:pt idx="1009">
                  <c:v>1950.5582212896898</c:v>
                </c:pt>
                <c:pt idx="1010">
                  <c:v>1916.2002688575571</c:v>
                </c:pt>
                <c:pt idx="1011">
                  <c:v>1950.8188274373501</c:v>
                </c:pt>
                <c:pt idx="1012">
                  <c:v>1930.7777370958604</c:v>
                </c:pt>
                <c:pt idx="1013">
                  <c:v>1913.8623461712316</c:v>
                </c:pt>
                <c:pt idx="1014">
                  <c:v>1899.3016584092902</c:v>
                </c:pt>
                <c:pt idx="1015">
                  <c:v>1899.8382741761122</c:v>
                </c:pt>
                <c:pt idx="1016">
                  <c:v>1905.6827695536836</c:v>
                </c:pt>
                <c:pt idx="1017">
                  <c:v>1958.4535473581554</c:v>
                </c:pt>
                <c:pt idx="1018">
                  <c:v>1973.7888331052939</c:v>
                </c:pt>
                <c:pt idx="1019">
                  <c:v>1946.7253561511004</c:v>
                </c:pt>
                <c:pt idx="1020">
                  <c:v>1927.2905934606829</c:v>
                </c:pt>
                <c:pt idx="1021">
                  <c:v>1880.2337956043643</c:v>
                </c:pt>
                <c:pt idx="1022">
                  <c:v>1861.404293047015</c:v>
                </c:pt>
                <c:pt idx="1023">
                  <c:v>1878.1638546077031</c:v>
                </c:pt>
                <c:pt idx="1024">
                  <c:v>1903.132663961657</c:v>
                </c:pt>
                <c:pt idx="1025">
                  <c:v>1888.2864047774083</c:v>
                </c:pt>
                <c:pt idx="1026">
                  <c:v>1899.6932653998012</c:v>
                </c:pt>
                <c:pt idx="1027">
                  <c:v>1935.2006249430499</c:v>
                </c:pt>
                <c:pt idx="1028">
                  <c:v>1913.9485032820835</c:v>
                </c:pt>
                <c:pt idx="1029">
                  <c:v>1886.1228147742397</c:v>
                </c:pt>
                <c:pt idx="1030">
                  <c:v>1890.6977223618658</c:v>
                </c:pt>
                <c:pt idx="1031">
                  <c:v>1890.5930637765605</c:v>
                </c:pt>
                <c:pt idx="1032">
                  <c:v>1897.2146776225038</c:v>
                </c:pt>
                <c:pt idx="1033">
                  <c:v>1884.8002359052932</c:v>
                </c:pt>
                <c:pt idx="1034">
                  <c:v>1914.659077836187</c:v>
                </c:pt>
                <c:pt idx="1035">
                  <c:v>1937.5731791054366</c:v>
                </c:pt>
                <c:pt idx="1036">
                  <c:v>1939.7849267975253</c:v>
                </c:pt>
                <c:pt idx="1037">
                  <c:v>1950.6269997311906</c:v>
                </c:pt>
                <c:pt idx="1038">
                  <c:v>1952.9889024304437</c:v>
                </c:pt>
                <c:pt idx="1039">
                  <c:v>1969.8545739884996</c:v>
                </c:pt>
                <c:pt idx="1040">
                  <c:v>1968.8774668217877</c:v>
                </c:pt>
                <c:pt idx="1041">
                  <c:v>1941.8187079693651</c:v>
                </c:pt>
                <c:pt idx="1042">
                  <c:v>1935.5007512571763</c:v>
                </c:pt>
                <c:pt idx="1043">
                  <c:v>1980.0968600502488</c:v>
                </c:pt>
                <c:pt idx="1044">
                  <c:v>1978.0859663201772</c:v>
                </c:pt>
                <c:pt idx="1045">
                  <c:v>1966.9227432399393</c:v>
                </c:pt>
                <c:pt idx="1046">
                  <c:v>1925.5382930814594</c:v>
                </c:pt>
                <c:pt idx="1047">
                  <c:v>1910.276473777009</c:v>
                </c:pt>
                <c:pt idx="1048">
                  <c:v>1898.9728990454926</c:v>
                </c:pt>
                <c:pt idx="1049">
                  <c:v>1905.6892472118104</c:v>
                </c:pt>
                <c:pt idx="1050">
                  <c:v>1899.9933063030003</c:v>
                </c:pt>
                <c:pt idx="1051">
                  <c:v>1861.2680210353985</c:v>
                </c:pt>
                <c:pt idx="1052">
                  <c:v>1894.9751314822076</c:v>
                </c:pt>
                <c:pt idx="1053">
                  <c:v>1889.9239299771855</c:v>
                </c:pt>
                <c:pt idx="1054">
                  <c:v>1921.999313115002</c:v>
                </c:pt>
                <c:pt idx="1055">
                  <c:v>1921.609723668392</c:v>
                </c:pt>
                <c:pt idx="1056">
                  <c:v>1909.5616103510665</c:v>
                </c:pt>
                <c:pt idx="1057">
                  <c:v>1911.6292970035377</c:v>
                </c:pt>
                <c:pt idx="1058">
                  <c:v>1886.1165808757844</c:v>
                </c:pt>
                <c:pt idx="1059">
                  <c:v>1884.7118923482358</c:v>
                </c:pt>
                <c:pt idx="1060">
                  <c:v>1904.4005636310071</c:v>
                </c:pt>
                <c:pt idx="1061">
                  <c:v>1897.2381300390539</c:v>
                </c:pt>
                <c:pt idx="1062">
                  <c:v>1897.9419878240412</c:v>
                </c:pt>
                <c:pt idx="1063">
                  <c:v>1903.5981607455547</c:v>
                </c:pt>
                <c:pt idx="1064">
                  <c:v>1877.2318001996957</c:v>
                </c:pt>
                <c:pt idx="1065">
                  <c:v>1870.4711626095936</c:v>
                </c:pt>
                <c:pt idx="1066">
                  <c:v>1858.2028081125404</c:v>
                </c:pt>
                <c:pt idx="1067">
                  <c:v>1853.8225242156673</c:v>
                </c:pt>
                <c:pt idx="1068">
                  <c:v>1826.6576553425014</c:v>
                </c:pt>
                <c:pt idx="1069">
                  <c:v>1801.4058162134152</c:v>
                </c:pt>
                <c:pt idx="1070">
                  <c:v>1778.1015197425031</c:v>
                </c:pt>
                <c:pt idx="1071">
                  <c:v>1765.3588478005404</c:v>
                </c:pt>
                <c:pt idx="1072">
                  <c:v>1797.0613367079161</c:v>
                </c:pt>
                <c:pt idx="1073">
                  <c:v>1730.5580560480571</c:v>
                </c:pt>
                <c:pt idx="1074">
                  <c:v>1732.7252914206811</c:v>
                </c:pt>
                <c:pt idx="1075">
                  <c:v>1724.6661273420277</c:v>
                </c:pt>
                <c:pt idx="1076">
                  <c:v>1739.0632997274724</c:v>
                </c:pt>
                <c:pt idx="1077">
                  <c:v>1753.4018590705984</c:v>
                </c:pt>
                <c:pt idx="1078">
                  <c:v>1807.4978978481984</c:v>
                </c:pt>
                <c:pt idx="1079">
                  <c:v>1808.2731738795835</c:v>
                </c:pt>
                <c:pt idx="1080">
                  <c:v>1782.2204959870064</c:v>
                </c:pt>
                <c:pt idx="1081">
                  <c:v>1813.8641190428941</c:v>
                </c:pt>
                <c:pt idx="1082">
                  <c:v>1791.4013475821575</c:v>
                </c:pt>
                <c:pt idx="1083">
                  <c:v>1767.7773545920804</c:v>
                </c:pt>
                <c:pt idx="1084">
                  <c:v>1750.7488765138469</c:v>
                </c:pt>
                <c:pt idx="1085">
                  <c:v>1745.3003482994991</c:v>
                </c:pt>
                <c:pt idx="1086">
                  <c:v>1747.5890928916326</c:v>
                </c:pt>
                <c:pt idx="1087">
                  <c:v>1800.9903396008713</c:v>
                </c:pt>
                <c:pt idx="1088">
                  <c:v>1820.0062483758581</c:v>
                </c:pt>
                <c:pt idx="1089">
                  <c:v>1837.4875185757687</c:v>
                </c:pt>
                <c:pt idx="1090">
                  <c:v>1837.4866416653877</c:v>
                </c:pt>
                <c:pt idx="1091">
                  <c:v>1821.2671419198191</c:v>
                </c:pt>
                <c:pt idx="1092">
                  <c:v>1820.6445205448044</c:v>
                </c:pt>
                <c:pt idx="1093">
                  <c:v>1825.6825937176372</c:v>
                </c:pt>
                <c:pt idx="1094">
                  <c:v>1838.8551333824498</c:v>
                </c:pt>
                <c:pt idx="1095">
                  <c:v>1801.404977678892</c:v>
                </c:pt>
                <c:pt idx="1096">
                  <c:v>1762.2219057145314</c:v>
                </c:pt>
                <c:pt idx="1097">
                  <c:v>1757.7484051854401</c:v>
                </c:pt>
                <c:pt idx="1098">
                  <c:v>1755.8759470811801</c:v>
                </c:pt>
                <c:pt idx="1099">
                  <c:v>1802.8128865277411</c:v>
                </c:pt>
                <c:pt idx="1100">
                  <c:v>1783.4439099298841</c:v>
                </c:pt>
                <c:pt idx="1101">
                  <c:v>1813.3524779274226</c:v>
                </c:pt>
                <c:pt idx="1102">
                  <c:v>1803.1326935699246</c:v>
                </c:pt>
                <c:pt idx="1103">
                  <c:v>1781.4837526955528</c:v>
                </c:pt>
                <c:pt idx="1104">
                  <c:v>1780.8434312052684</c:v>
                </c:pt>
                <c:pt idx="1105">
                  <c:v>1746.2997046819448</c:v>
                </c:pt>
                <c:pt idx="1106">
                  <c:v>1740.0775590436247</c:v>
                </c:pt>
                <c:pt idx="1107">
                  <c:v>1730.5761436524247</c:v>
                </c:pt>
                <c:pt idx="1108">
                  <c:v>1764.7405423081832</c:v>
                </c:pt>
                <c:pt idx="1109">
                  <c:v>1786.8841074307788</c:v>
                </c:pt>
                <c:pt idx="1110">
                  <c:v>1779.3819823584402</c:v>
                </c:pt>
                <c:pt idx="1111">
                  <c:v>1784.062834864159</c:v>
                </c:pt>
                <c:pt idx="1112">
                  <c:v>1795.8019851205331</c:v>
                </c:pt>
                <c:pt idx="1113">
                  <c:v>1827.1798210183977</c:v>
                </c:pt>
                <c:pt idx="1114">
                  <c:v>1818.2782869342548</c:v>
                </c:pt>
                <c:pt idx="1115">
                  <c:v>1819.361283750613</c:v>
                </c:pt>
                <c:pt idx="1116">
                  <c:v>1801.6155534349239</c:v>
                </c:pt>
                <c:pt idx="1117">
                  <c:v>1798.321201543931</c:v>
                </c:pt>
                <c:pt idx="1118">
                  <c:v>1797.5437181944162</c:v>
                </c:pt>
                <c:pt idx="1119">
                  <c:v>1820.5437988661279</c:v>
                </c:pt>
                <c:pt idx="1120">
                  <c:v>1784.0763804087483</c:v>
                </c:pt>
                <c:pt idx="1121">
                  <c:v>1770.2806002267512</c:v>
                </c:pt>
                <c:pt idx="1122">
                  <c:v>1779.9836464662094</c:v>
                </c:pt>
                <c:pt idx="1123">
                  <c:v>1771.7581713307293</c:v>
                </c:pt>
                <c:pt idx="1124">
                  <c:v>1767.505931713257</c:v>
                </c:pt>
                <c:pt idx="1125">
                  <c:v>1751.1697017730967</c:v>
                </c:pt>
                <c:pt idx="1126">
                  <c:v>1782.6090149217771</c:v>
                </c:pt>
                <c:pt idx="1127">
                  <c:v>1791.9187714364652</c:v>
                </c:pt>
                <c:pt idx="1128">
                  <c:v>1780.8336397866572</c:v>
                </c:pt>
                <c:pt idx="1129">
                  <c:v>1803.4288727207686</c:v>
                </c:pt>
                <c:pt idx="1130">
                  <c:v>1830.9915978211038</c:v>
                </c:pt>
                <c:pt idx="1131">
                  <c:v>1832.3160056269414</c:v>
                </c:pt>
                <c:pt idx="1132">
                  <c:v>1895.7542410996102</c:v>
                </c:pt>
                <c:pt idx="1133">
                  <c:v>1877.7491423459901</c:v>
                </c:pt>
                <c:pt idx="1134">
                  <c:v>1905.1320557753522</c:v>
                </c:pt>
                <c:pt idx="1135">
                  <c:v>1904.7059573567626</c:v>
                </c:pt>
                <c:pt idx="1136">
                  <c:v>1924.8512061282984</c:v>
                </c:pt>
                <c:pt idx="1137">
                  <c:v>1840.9188099539801</c:v>
                </c:pt>
                <c:pt idx="1138">
                  <c:v>1850.9938512165602</c:v>
                </c:pt>
                <c:pt idx="1139">
                  <c:v>1850.5738140573274</c:v>
                </c:pt>
                <c:pt idx="1140">
                  <c:v>1781.6884163790753</c:v>
                </c:pt>
                <c:pt idx="1141">
                  <c:v>1822.6566221553028</c:v>
                </c:pt>
                <c:pt idx="1142">
                  <c:v>1801.2081815078204</c:v>
                </c:pt>
                <c:pt idx="1143">
                  <c:v>1811.5141079818789</c:v>
                </c:pt>
                <c:pt idx="1144">
                  <c:v>1821.4329819742645</c:v>
                </c:pt>
                <c:pt idx="1145">
                  <c:v>1763.3632305959736</c:v>
                </c:pt>
                <c:pt idx="1146">
                  <c:v>1816.0930098078572</c:v>
                </c:pt>
                <c:pt idx="1147">
                  <c:v>1871.6408935931586</c:v>
                </c:pt>
                <c:pt idx="1148">
                  <c:v>1815.0240540752707</c:v>
                </c:pt>
                <c:pt idx="1149">
                  <c:v>1827.3036998146536</c:v>
                </c:pt>
                <c:pt idx="1150">
                  <c:v>1831.28091680292</c:v>
                </c:pt>
                <c:pt idx="1151">
                  <c:v>1828.9563444989833</c:v>
                </c:pt>
                <c:pt idx="1152">
                  <c:v>1773.36549651314</c:v>
                </c:pt>
                <c:pt idx="1153">
                  <c:v>1780.6295737771532</c:v>
                </c:pt>
                <c:pt idx="1154">
                  <c:v>1798.0604475752809</c:v>
                </c:pt>
                <c:pt idx="1155">
                  <c:v>1793.2018798402714</c:v>
                </c:pt>
                <c:pt idx="1156">
                  <c:v>1840.6030184489668</c:v>
                </c:pt>
                <c:pt idx="1157">
                  <c:v>1819.8873205242496</c:v>
                </c:pt>
                <c:pt idx="1158">
                  <c:v>1812.4012626034782</c:v>
                </c:pt>
                <c:pt idx="1159">
                  <c:v>1798.8676440469862</c:v>
                </c:pt>
                <c:pt idx="1160">
                  <c:v>1807.1314621433087</c:v>
                </c:pt>
                <c:pt idx="1161">
                  <c:v>1760.9168329907211</c:v>
                </c:pt>
                <c:pt idx="1162">
                  <c:v>1763.3023158075225</c:v>
                </c:pt>
                <c:pt idx="1163">
                  <c:v>1770.7733402485082</c:v>
                </c:pt>
                <c:pt idx="1164">
                  <c:v>1740.1092327366491</c:v>
                </c:pt>
                <c:pt idx="1165">
                  <c:v>1755.9418273770518</c:v>
                </c:pt>
                <c:pt idx="1166">
                  <c:v>1757.3123241538428</c:v>
                </c:pt>
                <c:pt idx="1167">
                  <c:v>1779.1585038190194</c:v>
                </c:pt>
                <c:pt idx="1168">
                  <c:v>1749.5536335059355</c:v>
                </c:pt>
                <c:pt idx="1169">
                  <c:v>1746.6839024731587</c:v>
                </c:pt>
                <c:pt idx="1170">
                  <c:v>1741.1084568701549</c:v>
                </c:pt>
                <c:pt idx="1171">
                  <c:v>1721.3231758498591</c:v>
                </c:pt>
                <c:pt idx="1172">
                  <c:v>1724.2403486194078</c:v>
                </c:pt>
                <c:pt idx="1173">
                  <c:v>1714.9729096260612</c:v>
                </c:pt>
                <c:pt idx="1174">
                  <c:v>1730.8949055305777</c:v>
                </c:pt>
                <c:pt idx="1175">
                  <c:v>1719.3555836733392</c:v>
                </c:pt>
                <c:pt idx="1176">
                  <c:v>1733.9710220186726</c:v>
                </c:pt>
                <c:pt idx="1177">
                  <c:v>1776.0987829281719</c:v>
                </c:pt>
                <c:pt idx="1178">
                  <c:v>1775.1661563471434</c:v>
                </c:pt>
                <c:pt idx="1179">
                  <c:v>1766.8223290355579</c:v>
                </c:pt>
                <c:pt idx="1180">
                  <c:v>1739.799969002441</c:v>
                </c:pt>
                <c:pt idx="1181">
                  <c:v>1738.6042937706479</c:v>
                </c:pt>
                <c:pt idx="1182">
                  <c:v>1727.5248858981229</c:v>
                </c:pt>
                <c:pt idx="1183">
                  <c:v>1729.3767975837363</c:v>
                </c:pt>
                <c:pt idx="1184">
                  <c:v>1738.7809432206072</c:v>
                </c:pt>
                <c:pt idx="1185">
                  <c:v>1758.2512699154056</c:v>
                </c:pt>
                <c:pt idx="1186">
                  <c:v>1741.0016648072422</c:v>
                </c:pt>
                <c:pt idx="1187">
                  <c:v>1746.1234362604387</c:v>
                </c:pt>
                <c:pt idx="1188">
                  <c:v>1728.8073661741801</c:v>
                </c:pt>
                <c:pt idx="1189">
                  <c:v>1710.1400635750451</c:v>
                </c:pt>
                <c:pt idx="1190">
                  <c:v>1691.5015077523681</c:v>
                </c:pt>
                <c:pt idx="1191">
                  <c:v>1676.9521016215349</c:v>
                </c:pt>
                <c:pt idx="1192">
                  <c:v>1679.3063956756473</c:v>
                </c:pt>
                <c:pt idx="1193">
                  <c:v>1670.8065802642889</c:v>
                </c:pt>
                <c:pt idx="1194">
                  <c:v>1666.5311526889486</c:v>
                </c:pt>
                <c:pt idx="1195">
                  <c:v>1659.850006030176</c:v>
                </c:pt>
                <c:pt idx="1196">
                  <c:v>1665.192551264716</c:v>
                </c:pt>
                <c:pt idx="1197">
                  <c:v>1643.2801449540607</c:v>
                </c:pt>
                <c:pt idx="1198">
                  <c:v>1649.0827457582307</c:v>
                </c:pt>
                <c:pt idx="1199">
                  <c:v>1674.9160398898164</c:v>
                </c:pt>
                <c:pt idx="1200">
                  <c:v>1674.5234478457314</c:v>
                </c:pt>
                <c:pt idx="1201">
                  <c:v>1668.9692611636347</c:v>
                </c:pt>
                <c:pt idx="1202">
                  <c:v>1687.8952102728094</c:v>
                </c:pt>
                <c:pt idx="1203">
                  <c:v>1683.25596360952</c:v>
                </c:pt>
                <c:pt idx="1204">
                  <c:v>1697.2012206522618</c:v>
                </c:pt>
                <c:pt idx="1205">
                  <c:v>1680.6526972688259</c:v>
                </c:pt>
                <c:pt idx="1206">
                  <c:v>1707.928130168616</c:v>
                </c:pt>
                <c:pt idx="1207">
                  <c:v>1711.832871318225</c:v>
                </c:pt>
                <c:pt idx="1208">
                  <c:v>1708.1935395132377</c:v>
                </c:pt>
                <c:pt idx="1209">
                  <c:v>1741.6325852337166</c:v>
                </c:pt>
                <c:pt idx="1210">
                  <c:v>1756.7937735760797</c:v>
                </c:pt>
                <c:pt idx="1211">
                  <c:v>1736.8951339073865</c:v>
                </c:pt>
                <c:pt idx="1212">
                  <c:v>1737.909395987477</c:v>
                </c:pt>
                <c:pt idx="1213">
                  <c:v>1750.0676856160917</c:v>
                </c:pt>
                <c:pt idx="1214">
                  <c:v>1769.8509906978647</c:v>
                </c:pt>
                <c:pt idx="1215">
                  <c:v>1772.8685313556407</c:v>
                </c:pt>
                <c:pt idx="1216">
                  <c:v>1785.7287427358069</c:v>
                </c:pt>
                <c:pt idx="1217">
                  <c:v>1776.4252714859449</c:v>
                </c:pt>
                <c:pt idx="1218">
                  <c:v>1812.5947242387779</c:v>
                </c:pt>
                <c:pt idx="1219">
                  <c:v>1818.1341420409374</c:v>
                </c:pt>
                <c:pt idx="1220">
                  <c:v>1829.3789775426908</c:v>
                </c:pt>
                <c:pt idx="1221">
                  <c:v>1830.0685833149751</c:v>
                </c:pt>
                <c:pt idx="1222">
                  <c:v>1858.0621637795066</c:v>
                </c:pt>
                <c:pt idx="1223">
                  <c:v>1850.9344192653475</c:v>
                </c:pt>
                <c:pt idx="1224">
                  <c:v>1813.7234072709566</c:v>
                </c:pt>
                <c:pt idx="1225">
                  <c:v>1853.607784416477</c:v>
                </c:pt>
                <c:pt idx="1226">
                  <c:v>1852.6524269810732</c:v>
                </c:pt>
                <c:pt idx="1227">
                  <c:v>1859.4578647857873</c:v>
                </c:pt>
                <c:pt idx="1228">
                  <c:v>1847.3975340056043</c:v>
                </c:pt>
                <c:pt idx="1229">
                  <c:v>1865.6077595977172</c:v>
                </c:pt>
                <c:pt idx="1230">
                  <c:v>1966.8811439427436</c:v>
                </c:pt>
                <c:pt idx="1231">
                  <c:v>1929.0411779924636</c:v>
                </c:pt>
                <c:pt idx="1232">
                  <c:v>1942.1523338785319</c:v>
                </c:pt>
                <c:pt idx="1233">
                  <c:v>1936.459698278217</c:v>
                </c:pt>
                <c:pt idx="1234">
                  <c:v>1989.9062206485605</c:v>
                </c:pt>
                <c:pt idx="1235">
                  <c:v>1997.9841052565769</c:v>
                </c:pt>
                <c:pt idx="1236">
                  <c:v>1988.3861375851341</c:v>
                </c:pt>
                <c:pt idx="1237">
                  <c:v>1997.225168291129</c:v>
                </c:pt>
                <c:pt idx="1238">
                  <c:v>1959.2072376917529</c:v>
                </c:pt>
                <c:pt idx="1239">
                  <c:v>1896.2684703818684</c:v>
                </c:pt>
                <c:pt idx="1240">
                  <c:v>1913.4001771505359</c:v>
                </c:pt>
                <c:pt idx="1241">
                  <c:v>1917.1303176028846</c:v>
                </c:pt>
                <c:pt idx="1242">
                  <c:v>1916.9612630077336</c:v>
                </c:pt>
                <c:pt idx="1243">
                  <c:v>1924.0109513924058</c:v>
                </c:pt>
                <c:pt idx="1244">
                  <c:v>1936.8867790807767</c:v>
                </c:pt>
                <c:pt idx="1245">
                  <c:v>1979.584016790538</c:v>
                </c:pt>
                <c:pt idx="1246">
                  <c:v>1969.7692703427331</c:v>
                </c:pt>
                <c:pt idx="1247">
                  <c:v>1965.541767536494</c:v>
                </c:pt>
                <c:pt idx="1248">
                  <c:v>1959.052391639364</c:v>
                </c:pt>
                <c:pt idx="1249">
                  <c:v>1956.86054704348</c:v>
                </c:pt>
                <c:pt idx="1250">
                  <c:v>1904.5110095281557</c:v>
                </c:pt>
                <c:pt idx="1251">
                  <c:v>1900.3485447190653</c:v>
                </c:pt>
                <c:pt idx="1252">
                  <c:v>1920.1804404922254</c:v>
                </c:pt>
                <c:pt idx="1253">
                  <c:v>1911.4777041000193</c:v>
                </c:pt>
                <c:pt idx="1254">
                  <c:v>1973.1560554004975</c:v>
                </c:pt>
                <c:pt idx="1255">
                  <c:v>2002.7850255548985</c:v>
                </c:pt>
                <c:pt idx="1256">
                  <c:v>2000.8315357625484</c:v>
                </c:pt>
                <c:pt idx="1257">
                  <c:v>2009.5340532777636</c:v>
                </c:pt>
                <c:pt idx="1258">
                  <c:v>2035.1749023818238</c:v>
                </c:pt>
                <c:pt idx="1259">
                  <c:v>2051.8440469061343</c:v>
                </c:pt>
                <c:pt idx="1260">
                  <c:v>2052.1109987404025</c:v>
                </c:pt>
                <c:pt idx="1261">
                  <c:v>2058.5210176047676</c:v>
                </c:pt>
                <c:pt idx="1262">
                  <c:v>2031.2224677777272</c:v>
                </c:pt>
                <c:pt idx="1263">
                  <c:v>2027.9950673148726</c:v>
                </c:pt>
                <c:pt idx="1264">
                  <c:v>2050.0443931225122</c:v>
                </c:pt>
                <c:pt idx="1265">
                  <c:v>2112.7384525993957</c:v>
                </c:pt>
                <c:pt idx="1266">
                  <c:v>2109.4836044808344</c:v>
                </c:pt>
                <c:pt idx="1267">
                  <c:v>2099.4991732038952</c:v>
                </c:pt>
                <c:pt idx="1268">
                  <c:v>2127.2137251658</c:v>
                </c:pt>
                <c:pt idx="1269">
                  <c:v>2083.3631546733527</c:v>
                </c:pt>
                <c:pt idx="1270">
                  <c:v>2111.0174135676648</c:v>
                </c:pt>
                <c:pt idx="1271">
                  <c:v>2101.7683578321244</c:v>
                </c:pt>
                <c:pt idx="1272">
                  <c:v>2073.4084271877555</c:v>
                </c:pt>
                <c:pt idx="1273">
                  <c:v>2056.5271654121457</c:v>
                </c:pt>
                <c:pt idx="1274">
                  <c:v>2088.2826533687967</c:v>
                </c:pt>
                <c:pt idx="1275">
                  <c:v>2087.2664404551283</c:v>
                </c:pt>
                <c:pt idx="1276">
                  <c:v>2005.8749016210461</c:v>
                </c:pt>
                <c:pt idx="1277">
                  <c:v>2003.1619324048922</c:v>
                </c:pt>
                <c:pt idx="1278">
                  <c:v>1972.1090528348952</c:v>
                </c:pt>
                <c:pt idx="1279">
                  <c:v>1937.775864471176</c:v>
                </c:pt>
                <c:pt idx="1280">
                  <c:v>1995.4352316950617</c:v>
                </c:pt>
                <c:pt idx="1281">
                  <c:v>1964.0277607970656</c:v>
                </c:pt>
                <c:pt idx="1282">
                  <c:v>1955.8430474125969</c:v>
                </c:pt>
                <c:pt idx="1283">
                  <c:v>1995.9264547475716</c:v>
                </c:pt>
                <c:pt idx="1284">
                  <c:v>2001.8114861050258</c:v>
                </c:pt>
                <c:pt idx="1285">
                  <c:v>1974.0026041652429</c:v>
                </c:pt>
                <c:pt idx="1286">
                  <c:v>1971.7630094047511</c:v>
                </c:pt>
                <c:pt idx="1287">
                  <c:v>1984.4998480037025</c:v>
                </c:pt>
                <c:pt idx="1288">
                  <c:v>1975.5375924049115</c:v>
                </c:pt>
                <c:pt idx="1289">
                  <c:v>1953.9490102825157</c:v>
                </c:pt>
                <c:pt idx="1290">
                  <c:v>1965.7890685755162</c:v>
                </c:pt>
                <c:pt idx="1291">
                  <c:v>1971.3974295310666</c:v>
                </c:pt>
                <c:pt idx="1292">
                  <c:v>1985.8659826065505</c:v>
                </c:pt>
                <c:pt idx="1293">
                  <c:v>1992.6840337248209</c:v>
                </c:pt>
                <c:pt idx="1294">
                  <c:v>1993.4349230298328</c:v>
                </c:pt>
                <c:pt idx="1295">
                  <c:v>1977.8211725862836</c:v>
                </c:pt>
                <c:pt idx="1296">
                  <c:v>1981.9443484976616</c:v>
                </c:pt>
                <c:pt idx="1297">
                  <c:v>1972.1996663225477</c:v>
                </c:pt>
                <c:pt idx="1298">
                  <c:v>1976.9455103025914</c:v>
                </c:pt>
                <c:pt idx="1299">
                  <c:v>1969.1602090590434</c:v>
                </c:pt>
                <c:pt idx="1300">
                  <c:v>1995.9762227321994</c:v>
                </c:pt>
                <c:pt idx="1301">
                  <c:v>2024.8719591794707</c:v>
                </c:pt>
                <c:pt idx="1302">
                  <c:v>2012.8819451910242</c:v>
                </c:pt>
                <c:pt idx="1303">
                  <c:v>2007.572981525534</c:v>
                </c:pt>
                <c:pt idx="1304">
                  <c:v>2002.1081771228387</c:v>
                </c:pt>
                <c:pt idx="1305">
                  <c:v>2006.4022095109535</c:v>
                </c:pt>
                <c:pt idx="1306">
                  <c:v>2013.5103489712287</c:v>
                </c:pt>
                <c:pt idx="1307">
                  <c:v>2023.5790586584817</c:v>
                </c:pt>
                <c:pt idx="1308">
                  <c:v>2076.6573146091614</c:v>
                </c:pt>
                <c:pt idx="1309">
                  <c:v>2068.7235906410692</c:v>
                </c:pt>
                <c:pt idx="1310">
                  <c:v>2077.4301552342863</c:v>
                </c:pt>
                <c:pt idx="1311">
                  <c:v>2051.6423030929686</c:v>
                </c:pt>
                <c:pt idx="1312">
                  <c:v>2050.5238384228796</c:v>
                </c:pt>
                <c:pt idx="1313">
                  <c:v>2070.8568762250416</c:v>
                </c:pt>
                <c:pt idx="1314">
                  <c:v>2063.2803118227198</c:v>
                </c:pt>
                <c:pt idx="1315">
                  <c:v>2108.9222375387258</c:v>
                </c:pt>
                <c:pt idx="1316">
                  <c:v>2104.1544845047219</c:v>
                </c:pt>
                <c:pt idx="1317">
                  <c:v>2075.8386770205375</c:v>
                </c:pt>
                <c:pt idx="1318">
                  <c:v>2072.3994995371181</c:v>
                </c:pt>
                <c:pt idx="1319">
                  <c:v>2084.5190857723101</c:v>
                </c:pt>
                <c:pt idx="1320">
                  <c:v>2042.1097883144507</c:v>
                </c:pt>
                <c:pt idx="1321">
                  <c:v>2028.0678557084334</c:v>
                </c:pt>
                <c:pt idx="1322">
                  <c:v>2026.398470118563</c:v>
                </c:pt>
                <c:pt idx="1323">
                  <c:v>2034.8294190117517</c:v>
                </c:pt>
                <c:pt idx="1324">
                  <c:v>2050.8706736864256</c:v>
                </c:pt>
                <c:pt idx="1325">
                  <c:v>2044.4601933713907</c:v>
                </c:pt>
                <c:pt idx="1326">
                  <c:v>2035.7230420097244</c:v>
                </c:pt>
                <c:pt idx="1327">
                  <c:v>2028.5228890170288</c:v>
                </c:pt>
                <c:pt idx="1328">
                  <c:v>2017.5782658338787</c:v>
                </c:pt>
                <c:pt idx="1329">
                  <c:v>2036.5449236031327</c:v>
                </c:pt>
                <c:pt idx="1330">
                  <c:v>2037.961020838618</c:v>
                </c:pt>
                <c:pt idx="1331">
                  <c:v>2033.4602377390333</c:v>
                </c:pt>
                <c:pt idx="1332">
                  <c:v>2043.2196835704233</c:v>
                </c:pt>
                <c:pt idx="1333">
                  <c:v>2059.834787019166</c:v>
                </c:pt>
                <c:pt idx="1334">
                  <c:v>2062.8708341389752</c:v>
                </c:pt>
                <c:pt idx="1335">
                  <c:v>2060.6016655364565</c:v>
                </c:pt>
                <c:pt idx="1336">
                  <c:v>2067.8076436611714</c:v>
                </c:pt>
                <c:pt idx="1337">
                  <c:v>2051.9203613295581</c:v>
                </c:pt>
                <c:pt idx="1338">
                  <c:v>2034.4473147201109</c:v>
                </c:pt>
                <c:pt idx="1339">
                  <c:v>2009.1614493452923</c:v>
                </c:pt>
                <c:pt idx="1340">
                  <c:v>1975.5602052848694</c:v>
                </c:pt>
                <c:pt idx="1341">
                  <c:v>1962.7571908301675</c:v>
                </c:pt>
                <c:pt idx="1342">
                  <c:v>1953.9081268834025</c:v>
                </c:pt>
                <c:pt idx="1343">
                  <c:v>1977.1382800398385</c:v>
                </c:pt>
                <c:pt idx="1344">
                  <c:v>1970.8613907991989</c:v>
                </c:pt>
                <c:pt idx="1345">
                  <c:v>2004.7037761439447</c:v>
                </c:pt>
                <c:pt idx="1346">
                  <c:v>1987.5101008688125</c:v>
                </c:pt>
                <c:pt idx="1347">
                  <c:v>1995.6543879954104</c:v>
                </c:pt>
                <c:pt idx="1348">
                  <c:v>1999.7606238349463</c:v>
                </c:pt>
                <c:pt idx="1349">
                  <c:v>2002.346544720999</c:v>
                </c:pt>
                <c:pt idx="1350">
                  <c:v>2022.333376220937</c:v>
                </c:pt>
                <c:pt idx="1351">
                  <c:v>2019.5928471294526</c:v>
                </c:pt>
                <c:pt idx="1352">
                  <c:v>2020.4500665828962</c:v>
                </c:pt>
                <c:pt idx="1353">
                  <c:v>2026.4987447479432</c:v>
                </c:pt>
                <c:pt idx="1354">
                  <c:v>2044.4551931644148</c:v>
                </c:pt>
                <c:pt idx="1355">
                  <c:v>2011.0447073198804</c:v>
                </c:pt>
                <c:pt idx="1356">
                  <c:v>2028.713905485509</c:v>
                </c:pt>
                <c:pt idx="1357">
                  <c:v>2015.8338211867685</c:v>
                </c:pt>
                <c:pt idx="1358">
                  <c:v>2011.8225811373914</c:v>
                </c:pt>
                <c:pt idx="1359">
                  <c:v>2025.3773257498119</c:v>
                </c:pt>
                <c:pt idx="1360">
                  <c:v>2035.0383730918034</c:v>
                </c:pt>
                <c:pt idx="1361">
                  <c:v>2037.6856888255893</c:v>
                </c:pt>
                <c:pt idx="1362">
                  <c:v>2052.8272845330166</c:v>
                </c:pt>
                <c:pt idx="1363">
                  <c:v>2068.3010960651977</c:v>
                </c:pt>
                <c:pt idx="1364">
                  <c:v>2080.3505249733221</c:v>
                </c:pt>
                <c:pt idx="1365">
                  <c:v>2078.8266165850573</c:v>
                </c:pt>
                <c:pt idx="1366">
                  <c:v>2070.0238977079907</c:v>
                </c:pt>
                <c:pt idx="1367">
                  <c:v>2058.7082602353507</c:v>
                </c:pt>
                <c:pt idx="1368">
                  <c:v>2079.381809466317</c:v>
                </c:pt>
                <c:pt idx="1369">
                  <c:v>2079.8795289811383</c:v>
                </c:pt>
                <c:pt idx="1370">
                  <c:v>2053.3751755166718</c:v>
                </c:pt>
                <c:pt idx="1371">
                  <c:v>2064.9061322455441</c:v>
                </c:pt>
                <c:pt idx="1372">
                  <c:v>2063.7845014209565</c:v>
                </c:pt>
                <c:pt idx="1373">
                  <c:v>2072.8655959197226</c:v>
                </c:pt>
                <c:pt idx="1374">
                  <c:v>2054.0009877703023</c:v>
                </c:pt>
                <c:pt idx="1375">
                  <c:v>2061.0310632250084</c:v>
                </c:pt>
                <c:pt idx="1376">
                  <c:v>2048.9226922104235</c:v>
                </c:pt>
                <c:pt idx="1377">
                  <c:v>2054.310740877117</c:v>
                </c:pt>
                <c:pt idx="1378">
                  <c:v>2050.4719303622164</c:v>
                </c:pt>
                <c:pt idx="1379">
                  <c:v>2033.6246203283115</c:v>
                </c:pt>
                <c:pt idx="1380">
                  <c:v>2048.1475020436933</c:v>
                </c:pt>
                <c:pt idx="1381">
                  <c:v>2049.548194158328</c:v>
                </c:pt>
                <c:pt idx="1382">
                  <c:v>2047.194265205253</c:v>
                </c:pt>
                <c:pt idx="1383">
                  <c:v>2077.1207503183668</c:v>
                </c:pt>
                <c:pt idx="1384">
                  <c:v>2095.1005535473269</c:v>
                </c:pt>
                <c:pt idx="1385">
                  <c:v>2099.0334840161318</c:v>
                </c:pt>
                <c:pt idx="1386">
                  <c:v>2091.0756704112041</c:v>
                </c:pt>
                <c:pt idx="1387">
                  <c:v>2097.3898380153414</c:v>
                </c:pt>
                <c:pt idx="1388">
                  <c:v>2072.9808624348284</c:v>
                </c:pt>
                <c:pt idx="1389">
                  <c:v>2091.1810712903261</c:v>
                </c:pt>
                <c:pt idx="1390">
                  <c:v>2093.4620212220966</c:v>
                </c:pt>
                <c:pt idx="1391">
                  <c:v>2090.912015587372</c:v>
                </c:pt>
                <c:pt idx="1392">
                  <c:v>2095.5919786081017</c:v>
                </c:pt>
                <c:pt idx="1393">
                  <c:v>2099.3859010893698</c:v>
                </c:pt>
                <c:pt idx="1394">
                  <c:v>2101.0000345528842</c:v>
                </c:pt>
                <c:pt idx="1395">
                  <c:v>2098.2742719282387</c:v>
                </c:pt>
                <c:pt idx="1396">
                  <c:v>2098.2215322463026</c:v>
                </c:pt>
                <c:pt idx="1397">
                  <c:v>2097.6004752417352</c:v>
                </c:pt>
                <c:pt idx="1398">
                  <c:v>2120.5626125487875</c:v>
                </c:pt>
                <c:pt idx="1399">
                  <c:v>2132.9033829104933</c:v>
                </c:pt>
                <c:pt idx="1400">
                  <c:v>2143.8297902238892</c:v>
                </c:pt>
                <c:pt idx="1401">
                  <c:v>2145.7711223855408</c:v>
                </c:pt>
                <c:pt idx="1402">
                  <c:v>2139.446774612647</c:v>
                </c:pt>
                <c:pt idx="1403">
                  <c:v>2128.5593099202497</c:v>
                </c:pt>
                <c:pt idx="1404">
                  <c:v>2102.6418540176937</c:v>
                </c:pt>
                <c:pt idx="1405">
                  <c:v>2103.6870791540573</c:v>
                </c:pt>
                <c:pt idx="1406">
                  <c:v>2099.0119013478347</c:v>
                </c:pt>
                <c:pt idx="1407">
                  <c:v>2091.8124659837936</c:v>
                </c:pt>
                <c:pt idx="1408">
                  <c:v>2089.5568287704764</c:v>
                </c:pt>
                <c:pt idx="1409">
                  <c:v>2106.5516745421555</c:v>
                </c:pt>
                <c:pt idx="1410">
                  <c:v>2111.4382362661768</c:v>
                </c:pt>
                <c:pt idx="1411">
                  <c:v>2095.6253650885983</c:v>
                </c:pt>
                <c:pt idx="1412">
                  <c:v>2084.9411070245342</c:v>
                </c:pt>
                <c:pt idx="1413">
                  <c:v>2063.6897874386914</c:v>
                </c:pt>
                <c:pt idx="1414">
                  <c:v>2086.2822266600783</c:v>
                </c:pt>
                <c:pt idx="1415">
                  <c:v>2087.7276022172605</c:v>
                </c:pt>
                <c:pt idx="1416">
                  <c:v>2089.8672647200574</c:v>
                </c:pt>
                <c:pt idx="1417">
                  <c:v>2078.4864032316705</c:v>
                </c:pt>
                <c:pt idx="1418">
                  <c:v>2051.9838466037045</c:v>
                </c:pt>
                <c:pt idx="1419">
                  <c:v>2050.5438967658374</c:v>
                </c:pt>
                <c:pt idx="1420">
                  <c:v>2054.1571868130604</c:v>
                </c:pt>
                <c:pt idx="1421">
                  <c:v>2049.0348671156626</c:v>
                </c:pt>
                <c:pt idx="1422">
                  <c:v>2060.3094263019907</c:v>
                </c:pt>
                <c:pt idx="1423">
                  <c:v>2069.3550988154398</c:v>
                </c:pt>
                <c:pt idx="1424">
                  <c:v>2065.6462802846027</c:v>
                </c:pt>
                <c:pt idx="1425">
                  <c:v>2062.7140433563709</c:v>
                </c:pt>
                <c:pt idx="1426">
                  <c:v>2070.2968410454296</c:v>
                </c:pt>
                <c:pt idx="1427">
                  <c:v>2063.850275891597</c:v>
                </c:pt>
                <c:pt idx="1428">
                  <c:v>2105.1181307138368</c:v>
                </c:pt>
                <c:pt idx="1429">
                  <c:v>2100.0899066880479</c:v>
                </c:pt>
                <c:pt idx="1430">
                  <c:v>2123.7739837450213</c:v>
                </c:pt>
                <c:pt idx="1431">
                  <c:v>2124.3890764221528</c:v>
                </c:pt>
                <c:pt idx="1432">
                  <c:v>2124.5452711898779</c:v>
                </c:pt>
                <c:pt idx="1433">
                  <c:v>2119.7853146994471</c:v>
                </c:pt>
                <c:pt idx="1434">
                  <c:v>2100.5219158293012</c:v>
                </c:pt>
                <c:pt idx="1435">
                  <c:v>2103.3541566953331</c:v>
                </c:pt>
                <c:pt idx="1436">
                  <c:v>2094.0474596719127</c:v>
                </c:pt>
                <c:pt idx="1437">
                  <c:v>2107.1414710860422</c:v>
                </c:pt>
                <c:pt idx="1438">
                  <c:v>2116.963635405883</c:v>
                </c:pt>
                <c:pt idx="1439">
                  <c:v>2137.6452506698315</c:v>
                </c:pt>
                <c:pt idx="1440">
                  <c:v>2134.7290484896726</c:v>
                </c:pt>
                <c:pt idx="1441">
                  <c:v>2147.7466602085792</c:v>
                </c:pt>
                <c:pt idx="1442">
                  <c:v>2141.8244334931601</c:v>
                </c:pt>
                <c:pt idx="1443">
                  <c:v>2138.5617784917558</c:v>
                </c:pt>
                <c:pt idx="1444">
                  <c:v>2147.2767002331138</c:v>
                </c:pt>
                <c:pt idx="1445">
                  <c:v>2129.2610973266578</c:v>
                </c:pt>
                <c:pt idx="1446">
                  <c:v>2134.6935528825979</c:v>
                </c:pt>
                <c:pt idx="1447">
                  <c:v>2134.5971253685893</c:v>
                </c:pt>
                <c:pt idx="1448">
                  <c:v>2148.3448653035239</c:v>
                </c:pt>
                <c:pt idx="1449">
                  <c:v>2142.0647904753637</c:v>
                </c:pt>
                <c:pt idx="1450">
                  <c:v>2127.0721576561691</c:v>
                </c:pt>
                <c:pt idx="1451">
                  <c:v>2109.9946102953372</c:v>
                </c:pt>
                <c:pt idx="1452">
                  <c:v>2106.8165491013815</c:v>
                </c:pt>
              </c:numCache>
            </c:numRef>
          </c:val>
          <c:smooth val="0"/>
          <c:extLst>
            <c:ext xmlns:c16="http://schemas.microsoft.com/office/drawing/2014/chart" uri="{C3380CC4-5D6E-409C-BE32-E72D297353CC}">
              <c16:uniqueId val="{00000000-9C55-4414-BEA8-148356EDEE1D}"/>
            </c:ext>
          </c:extLst>
        </c:ser>
        <c:ser>
          <c:idx val="1"/>
          <c:order val="1"/>
          <c:tx>
            <c:strRef>
              <c:f>Sheet1!$C$1</c:f>
              <c:strCache>
                <c:ptCount val="1"/>
                <c:pt idx="0">
                  <c:v>Private Enterprise</c:v>
                </c:pt>
              </c:strCache>
            </c:strRef>
          </c:tx>
          <c:spPr>
            <a:ln w="28575" cap="rnd">
              <a:solidFill>
                <a:srgbClr val="0070C0"/>
              </a:solidFill>
              <a:round/>
            </a:ln>
            <a:effectLst/>
          </c:spPr>
          <c:marker>
            <c:symbol val="none"/>
          </c:marker>
          <c:cat>
            <c:numRef>
              <c:f>Sheet1!$A$2:$A$1454</c:f>
              <c:numCache>
                <c:formatCode>yyyy/mm/dd;@</c:formatCode>
                <c:ptCount val="1453"/>
                <c:pt idx="0">
                  <c:v>41681</c:v>
                </c:pt>
                <c:pt idx="1">
                  <c:v>41682</c:v>
                </c:pt>
                <c:pt idx="2">
                  <c:v>41683</c:v>
                </c:pt>
                <c:pt idx="3">
                  <c:v>41684</c:v>
                </c:pt>
                <c:pt idx="4">
                  <c:v>41687</c:v>
                </c:pt>
                <c:pt idx="5">
                  <c:v>41688</c:v>
                </c:pt>
                <c:pt idx="6">
                  <c:v>41689</c:v>
                </c:pt>
                <c:pt idx="7">
                  <c:v>41690</c:v>
                </c:pt>
                <c:pt idx="8">
                  <c:v>41691</c:v>
                </c:pt>
                <c:pt idx="9">
                  <c:v>41694</c:v>
                </c:pt>
                <c:pt idx="10">
                  <c:v>41695</c:v>
                </c:pt>
                <c:pt idx="11">
                  <c:v>41696</c:v>
                </c:pt>
                <c:pt idx="12">
                  <c:v>41697</c:v>
                </c:pt>
                <c:pt idx="13">
                  <c:v>41698</c:v>
                </c:pt>
                <c:pt idx="14">
                  <c:v>41701</c:v>
                </c:pt>
                <c:pt idx="15">
                  <c:v>41702</c:v>
                </c:pt>
                <c:pt idx="16">
                  <c:v>41703</c:v>
                </c:pt>
                <c:pt idx="17">
                  <c:v>41704</c:v>
                </c:pt>
                <c:pt idx="18">
                  <c:v>41705</c:v>
                </c:pt>
                <c:pt idx="19">
                  <c:v>41708</c:v>
                </c:pt>
                <c:pt idx="20">
                  <c:v>41709</c:v>
                </c:pt>
                <c:pt idx="21">
                  <c:v>41710</c:v>
                </c:pt>
                <c:pt idx="22">
                  <c:v>41711</c:v>
                </c:pt>
                <c:pt idx="23">
                  <c:v>41712</c:v>
                </c:pt>
                <c:pt idx="24">
                  <c:v>41715</c:v>
                </c:pt>
                <c:pt idx="25">
                  <c:v>41716</c:v>
                </c:pt>
                <c:pt idx="26">
                  <c:v>41717</c:v>
                </c:pt>
                <c:pt idx="27">
                  <c:v>41718</c:v>
                </c:pt>
                <c:pt idx="28">
                  <c:v>41719</c:v>
                </c:pt>
                <c:pt idx="29">
                  <c:v>41722</c:v>
                </c:pt>
                <c:pt idx="30">
                  <c:v>41723</c:v>
                </c:pt>
                <c:pt idx="31">
                  <c:v>41724</c:v>
                </c:pt>
                <c:pt idx="32">
                  <c:v>41725</c:v>
                </c:pt>
                <c:pt idx="33">
                  <c:v>41726</c:v>
                </c:pt>
                <c:pt idx="34">
                  <c:v>41729</c:v>
                </c:pt>
                <c:pt idx="35">
                  <c:v>41730</c:v>
                </c:pt>
                <c:pt idx="36">
                  <c:v>41731</c:v>
                </c:pt>
                <c:pt idx="37">
                  <c:v>41732</c:v>
                </c:pt>
                <c:pt idx="38">
                  <c:v>41733</c:v>
                </c:pt>
                <c:pt idx="39">
                  <c:v>41737</c:v>
                </c:pt>
                <c:pt idx="40">
                  <c:v>41738</c:v>
                </c:pt>
                <c:pt idx="41">
                  <c:v>41739</c:v>
                </c:pt>
                <c:pt idx="42">
                  <c:v>41740</c:v>
                </c:pt>
                <c:pt idx="43">
                  <c:v>41743</c:v>
                </c:pt>
                <c:pt idx="44">
                  <c:v>41744</c:v>
                </c:pt>
                <c:pt idx="45">
                  <c:v>41745</c:v>
                </c:pt>
                <c:pt idx="46">
                  <c:v>41746</c:v>
                </c:pt>
                <c:pt idx="47">
                  <c:v>41747</c:v>
                </c:pt>
                <c:pt idx="48">
                  <c:v>41750</c:v>
                </c:pt>
                <c:pt idx="49">
                  <c:v>41751</c:v>
                </c:pt>
                <c:pt idx="50">
                  <c:v>41752</c:v>
                </c:pt>
                <c:pt idx="51">
                  <c:v>41753</c:v>
                </c:pt>
                <c:pt idx="52">
                  <c:v>41754</c:v>
                </c:pt>
                <c:pt idx="53">
                  <c:v>41757</c:v>
                </c:pt>
                <c:pt idx="54">
                  <c:v>41758</c:v>
                </c:pt>
                <c:pt idx="55">
                  <c:v>41759</c:v>
                </c:pt>
                <c:pt idx="56">
                  <c:v>41764</c:v>
                </c:pt>
                <c:pt idx="57">
                  <c:v>41765</c:v>
                </c:pt>
                <c:pt idx="58">
                  <c:v>41766</c:v>
                </c:pt>
                <c:pt idx="59">
                  <c:v>41767</c:v>
                </c:pt>
                <c:pt idx="60">
                  <c:v>41768</c:v>
                </c:pt>
                <c:pt idx="61">
                  <c:v>41771</c:v>
                </c:pt>
                <c:pt idx="62">
                  <c:v>41772</c:v>
                </c:pt>
                <c:pt idx="63">
                  <c:v>41773</c:v>
                </c:pt>
                <c:pt idx="64">
                  <c:v>41774</c:v>
                </c:pt>
                <c:pt idx="65">
                  <c:v>41775</c:v>
                </c:pt>
                <c:pt idx="66">
                  <c:v>41778</c:v>
                </c:pt>
                <c:pt idx="67">
                  <c:v>41779</c:v>
                </c:pt>
                <c:pt idx="68">
                  <c:v>41780</c:v>
                </c:pt>
                <c:pt idx="69">
                  <c:v>41781</c:v>
                </c:pt>
                <c:pt idx="70">
                  <c:v>41782</c:v>
                </c:pt>
                <c:pt idx="71">
                  <c:v>41785</c:v>
                </c:pt>
                <c:pt idx="72">
                  <c:v>41786</c:v>
                </c:pt>
                <c:pt idx="73">
                  <c:v>41787</c:v>
                </c:pt>
                <c:pt idx="74">
                  <c:v>41788</c:v>
                </c:pt>
                <c:pt idx="75">
                  <c:v>41789</c:v>
                </c:pt>
                <c:pt idx="76">
                  <c:v>41793</c:v>
                </c:pt>
                <c:pt idx="77">
                  <c:v>41794</c:v>
                </c:pt>
                <c:pt idx="78">
                  <c:v>41795</c:v>
                </c:pt>
                <c:pt idx="79">
                  <c:v>41796</c:v>
                </c:pt>
                <c:pt idx="80">
                  <c:v>41799</c:v>
                </c:pt>
                <c:pt idx="81">
                  <c:v>41800</c:v>
                </c:pt>
                <c:pt idx="82">
                  <c:v>41801</c:v>
                </c:pt>
                <c:pt idx="83">
                  <c:v>41802</c:v>
                </c:pt>
                <c:pt idx="84">
                  <c:v>41803</c:v>
                </c:pt>
                <c:pt idx="85">
                  <c:v>41806</c:v>
                </c:pt>
                <c:pt idx="86">
                  <c:v>41807</c:v>
                </c:pt>
                <c:pt idx="87">
                  <c:v>41808</c:v>
                </c:pt>
                <c:pt idx="88">
                  <c:v>41809</c:v>
                </c:pt>
                <c:pt idx="89">
                  <c:v>41810</c:v>
                </c:pt>
                <c:pt idx="90">
                  <c:v>41813</c:v>
                </c:pt>
                <c:pt idx="91">
                  <c:v>41814</c:v>
                </c:pt>
                <c:pt idx="92">
                  <c:v>41815</c:v>
                </c:pt>
                <c:pt idx="93">
                  <c:v>41816</c:v>
                </c:pt>
                <c:pt idx="94">
                  <c:v>41817</c:v>
                </c:pt>
                <c:pt idx="95">
                  <c:v>41820</c:v>
                </c:pt>
                <c:pt idx="96">
                  <c:v>41821</c:v>
                </c:pt>
                <c:pt idx="97">
                  <c:v>41822</c:v>
                </c:pt>
                <c:pt idx="98">
                  <c:v>41823</c:v>
                </c:pt>
                <c:pt idx="99">
                  <c:v>41824</c:v>
                </c:pt>
                <c:pt idx="100">
                  <c:v>41827</c:v>
                </c:pt>
                <c:pt idx="101">
                  <c:v>41828</c:v>
                </c:pt>
                <c:pt idx="102">
                  <c:v>41829</c:v>
                </c:pt>
                <c:pt idx="103">
                  <c:v>41830</c:v>
                </c:pt>
                <c:pt idx="104">
                  <c:v>41831</c:v>
                </c:pt>
                <c:pt idx="105">
                  <c:v>41834</c:v>
                </c:pt>
                <c:pt idx="106">
                  <c:v>41835</c:v>
                </c:pt>
                <c:pt idx="107">
                  <c:v>41836</c:v>
                </c:pt>
                <c:pt idx="108">
                  <c:v>41837</c:v>
                </c:pt>
                <c:pt idx="109">
                  <c:v>41838</c:v>
                </c:pt>
                <c:pt idx="110">
                  <c:v>41841</c:v>
                </c:pt>
                <c:pt idx="111">
                  <c:v>41842</c:v>
                </c:pt>
                <c:pt idx="112">
                  <c:v>41843</c:v>
                </c:pt>
                <c:pt idx="113">
                  <c:v>41844</c:v>
                </c:pt>
                <c:pt idx="114">
                  <c:v>41845</c:v>
                </c:pt>
                <c:pt idx="115">
                  <c:v>41848</c:v>
                </c:pt>
                <c:pt idx="116">
                  <c:v>41849</c:v>
                </c:pt>
                <c:pt idx="117">
                  <c:v>41850</c:v>
                </c:pt>
                <c:pt idx="118">
                  <c:v>41851</c:v>
                </c:pt>
                <c:pt idx="119">
                  <c:v>41852</c:v>
                </c:pt>
                <c:pt idx="120">
                  <c:v>41855</c:v>
                </c:pt>
                <c:pt idx="121">
                  <c:v>41856</c:v>
                </c:pt>
                <c:pt idx="122">
                  <c:v>41857</c:v>
                </c:pt>
                <c:pt idx="123">
                  <c:v>41858</c:v>
                </c:pt>
                <c:pt idx="124">
                  <c:v>41859</c:v>
                </c:pt>
                <c:pt idx="125">
                  <c:v>41862</c:v>
                </c:pt>
                <c:pt idx="126">
                  <c:v>41863</c:v>
                </c:pt>
                <c:pt idx="127">
                  <c:v>41864</c:v>
                </c:pt>
                <c:pt idx="128">
                  <c:v>41865</c:v>
                </c:pt>
                <c:pt idx="129">
                  <c:v>41866</c:v>
                </c:pt>
                <c:pt idx="130">
                  <c:v>41869</c:v>
                </c:pt>
                <c:pt idx="131">
                  <c:v>41870</c:v>
                </c:pt>
                <c:pt idx="132">
                  <c:v>41871</c:v>
                </c:pt>
                <c:pt idx="133">
                  <c:v>41872</c:v>
                </c:pt>
                <c:pt idx="134">
                  <c:v>41873</c:v>
                </c:pt>
                <c:pt idx="135">
                  <c:v>41876</c:v>
                </c:pt>
                <c:pt idx="136">
                  <c:v>41877</c:v>
                </c:pt>
                <c:pt idx="137">
                  <c:v>41878</c:v>
                </c:pt>
                <c:pt idx="138">
                  <c:v>41879</c:v>
                </c:pt>
                <c:pt idx="139">
                  <c:v>41880</c:v>
                </c:pt>
                <c:pt idx="140">
                  <c:v>41883</c:v>
                </c:pt>
                <c:pt idx="141">
                  <c:v>41884</c:v>
                </c:pt>
                <c:pt idx="142">
                  <c:v>41885</c:v>
                </c:pt>
                <c:pt idx="143">
                  <c:v>41886</c:v>
                </c:pt>
                <c:pt idx="144">
                  <c:v>41887</c:v>
                </c:pt>
                <c:pt idx="145">
                  <c:v>41891</c:v>
                </c:pt>
                <c:pt idx="146">
                  <c:v>41892</c:v>
                </c:pt>
                <c:pt idx="147">
                  <c:v>41893</c:v>
                </c:pt>
                <c:pt idx="148">
                  <c:v>41894</c:v>
                </c:pt>
                <c:pt idx="149">
                  <c:v>41897</c:v>
                </c:pt>
                <c:pt idx="150">
                  <c:v>41898</c:v>
                </c:pt>
                <c:pt idx="151">
                  <c:v>41899</c:v>
                </c:pt>
                <c:pt idx="152">
                  <c:v>41900</c:v>
                </c:pt>
                <c:pt idx="153">
                  <c:v>41901</c:v>
                </c:pt>
                <c:pt idx="154">
                  <c:v>41904</c:v>
                </c:pt>
                <c:pt idx="155">
                  <c:v>41905</c:v>
                </c:pt>
                <c:pt idx="156">
                  <c:v>41906</c:v>
                </c:pt>
                <c:pt idx="157">
                  <c:v>41907</c:v>
                </c:pt>
                <c:pt idx="158">
                  <c:v>41908</c:v>
                </c:pt>
                <c:pt idx="159">
                  <c:v>41911</c:v>
                </c:pt>
                <c:pt idx="160">
                  <c:v>41912</c:v>
                </c:pt>
                <c:pt idx="161">
                  <c:v>41920</c:v>
                </c:pt>
                <c:pt idx="162">
                  <c:v>41921</c:v>
                </c:pt>
                <c:pt idx="163">
                  <c:v>41922</c:v>
                </c:pt>
                <c:pt idx="164">
                  <c:v>41925</c:v>
                </c:pt>
                <c:pt idx="165">
                  <c:v>41926</c:v>
                </c:pt>
                <c:pt idx="166">
                  <c:v>41927</c:v>
                </c:pt>
                <c:pt idx="167">
                  <c:v>41928</c:v>
                </c:pt>
                <c:pt idx="168">
                  <c:v>41929</c:v>
                </c:pt>
                <c:pt idx="169">
                  <c:v>41932</c:v>
                </c:pt>
                <c:pt idx="170">
                  <c:v>41933</c:v>
                </c:pt>
                <c:pt idx="171">
                  <c:v>41934</c:v>
                </c:pt>
                <c:pt idx="172">
                  <c:v>41935</c:v>
                </c:pt>
                <c:pt idx="173">
                  <c:v>41936</c:v>
                </c:pt>
                <c:pt idx="174">
                  <c:v>41939</c:v>
                </c:pt>
                <c:pt idx="175">
                  <c:v>41940</c:v>
                </c:pt>
                <c:pt idx="176">
                  <c:v>41941</c:v>
                </c:pt>
                <c:pt idx="177">
                  <c:v>41942</c:v>
                </c:pt>
                <c:pt idx="178">
                  <c:v>41943</c:v>
                </c:pt>
                <c:pt idx="179">
                  <c:v>41946</c:v>
                </c:pt>
                <c:pt idx="180">
                  <c:v>41947</c:v>
                </c:pt>
                <c:pt idx="181">
                  <c:v>41948</c:v>
                </c:pt>
                <c:pt idx="182">
                  <c:v>41949</c:v>
                </c:pt>
                <c:pt idx="183">
                  <c:v>41950</c:v>
                </c:pt>
                <c:pt idx="184">
                  <c:v>41953</c:v>
                </c:pt>
                <c:pt idx="185">
                  <c:v>41954</c:v>
                </c:pt>
                <c:pt idx="186">
                  <c:v>41955</c:v>
                </c:pt>
                <c:pt idx="187">
                  <c:v>41956</c:v>
                </c:pt>
                <c:pt idx="188">
                  <c:v>41957</c:v>
                </c:pt>
                <c:pt idx="189">
                  <c:v>41960</c:v>
                </c:pt>
                <c:pt idx="190">
                  <c:v>41961</c:v>
                </c:pt>
                <c:pt idx="191">
                  <c:v>41962</c:v>
                </c:pt>
                <c:pt idx="192">
                  <c:v>41963</c:v>
                </c:pt>
                <c:pt idx="193">
                  <c:v>41964</c:v>
                </c:pt>
                <c:pt idx="194">
                  <c:v>41967</c:v>
                </c:pt>
                <c:pt idx="195">
                  <c:v>41968</c:v>
                </c:pt>
                <c:pt idx="196">
                  <c:v>41969</c:v>
                </c:pt>
                <c:pt idx="197">
                  <c:v>41970</c:v>
                </c:pt>
                <c:pt idx="198">
                  <c:v>41971</c:v>
                </c:pt>
                <c:pt idx="199">
                  <c:v>41974</c:v>
                </c:pt>
                <c:pt idx="200">
                  <c:v>41975</c:v>
                </c:pt>
                <c:pt idx="201">
                  <c:v>41976</c:v>
                </c:pt>
                <c:pt idx="202">
                  <c:v>41977</c:v>
                </c:pt>
                <c:pt idx="203">
                  <c:v>41978</c:v>
                </c:pt>
                <c:pt idx="204">
                  <c:v>41981</c:v>
                </c:pt>
                <c:pt idx="205">
                  <c:v>41982</c:v>
                </c:pt>
                <c:pt idx="206">
                  <c:v>41983</c:v>
                </c:pt>
                <c:pt idx="207">
                  <c:v>41984</c:v>
                </c:pt>
                <c:pt idx="208">
                  <c:v>41985</c:v>
                </c:pt>
                <c:pt idx="209">
                  <c:v>41988</c:v>
                </c:pt>
                <c:pt idx="210">
                  <c:v>41989</c:v>
                </c:pt>
                <c:pt idx="211">
                  <c:v>41990</c:v>
                </c:pt>
                <c:pt idx="212">
                  <c:v>41991</c:v>
                </c:pt>
                <c:pt idx="213">
                  <c:v>41992</c:v>
                </c:pt>
                <c:pt idx="214">
                  <c:v>41995</c:v>
                </c:pt>
                <c:pt idx="215">
                  <c:v>41996</c:v>
                </c:pt>
                <c:pt idx="216">
                  <c:v>41997</c:v>
                </c:pt>
                <c:pt idx="217">
                  <c:v>41998</c:v>
                </c:pt>
                <c:pt idx="218">
                  <c:v>41999</c:v>
                </c:pt>
                <c:pt idx="219">
                  <c:v>42002</c:v>
                </c:pt>
                <c:pt idx="220">
                  <c:v>42003</c:v>
                </c:pt>
                <c:pt idx="221">
                  <c:v>42004</c:v>
                </c:pt>
                <c:pt idx="222">
                  <c:v>42009</c:v>
                </c:pt>
                <c:pt idx="223">
                  <c:v>42010</c:v>
                </c:pt>
                <c:pt idx="224">
                  <c:v>42011</c:v>
                </c:pt>
                <c:pt idx="225">
                  <c:v>42012</c:v>
                </c:pt>
                <c:pt idx="226">
                  <c:v>42013</c:v>
                </c:pt>
                <c:pt idx="227">
                  <c:v>42016</c:v>
                </c:pt>
                <c:pt idx="228">
                  <c:v>42017</c:v>
                </c:pt>
                <c:pt idx="229">
                  <c:v>42018</c:v>
                </c:pt>
                <c:pt idx="230">
                  <c:v>42019</c:v>
                </c:pt>
                <c:pt idx="231">
                  <c:v>42020</c:v>
                </c:pt>
                <c:pt idx="232">
                  <c:v>42023</c:v>
                </c:pt>
                <c:pt idx="233">
                  <c:v>42024</c:v>
                </c:pt>
                <c:pt idx="234">
                  <c:v>42025</c:v>
                </c:pt>
                <c:pt idx="235">
                  <c:v>42026</c:v>
                </c:pt>
                <c:pt idx="236">
                  <c:v>42027</c:v>
                </c:pt>
                <c:pt idx="237">
                  <c:v>42030</c:v>
                </c:pt>
                <c:pt idx="238">
                  <c:v>42031</c:v>
                </c:pt>
                <c:pt idx="239">
                  <c:v>42032</c:v>
                </c:pt>
                <c:pt idx="240">
                  <c:v>42033</c:v>
                </c:pt>
                <c:pt idx="241">
                  <c:v>42034</c:v>
                </c:pt>
                <c:pt idx="242">
                  <c:v>42037</c:v>
                </c:pt>
                <c:pt idx="243">
                  <c:v>42038</c:v>
                </c:pt>
                <c:pt idx="244">
                  <c:v>42039</c:v>
                </c:pt>
                <c:pt idx="245">
                  <c:v>42040</c:v>
                </c:pt>
                <c:pt idx="246">
                  <c:v>42041</c:v>
                </c:pt>
                <c:pt idx="247">
                  <c:v>42044</c:v>
                </c:pt>
                <c:pt idx="248">
                  <c:v>42045</c:v>
                </c:pt>
                <c:pt idx="249">
                  <c:v>42046</c:v>
                </c:pt>
                <c:pt idx="250">
                  <c:v>42047</c:v>
                </c:pt>
                <c:pt idx="251">
                  <c:v>42048</c:v>
                </c:pt>
                <c:pt idx="252">
                  <c:v>42051</c:v>
                </c:pt>
                <c:pt idx="253">
                  <c:v>42052</c:v>
                </c:pt>
                <c:pt idx="254">
                  <c:v>42060</c:v>
                </c:pt>
                <c:pt idx="255">
                  <c:v>42061</c:v>
                </c:pt>
                <c:pt idx="256">
                  <c:v>42062</c:v>
                </c:pt>
                <c:pt idx="257">
                  <c:v>42065</c:v>
                </c:pt>
                <c:pt idx="258">
                  <c:v>42066</c:v>
                </c:pt>
                <c:pt idx="259">
                  <c:v>42067</c:v>
                </c:pt>
                <c:pt idx="260">
                  <c:v>42068</c:v>
                </c:pt>
                <c:pt idx="261">
                  <c:v>42069</c:v>
                </c:pt>
                <c:pt idx="262">
                  <c:v>42072</c:v>
                </c:pt>
                <c:pt idx="263">
                  <c:v>42073</c:v>
                </c:pt>
                <c:pt idx="264">
                  <c:v>42074</c:v>
                </c:pt>
                <c:pt idx="265">
                  <c:v>42075</c:v>
                </c:pt>
                <c:pt idx="266">
                  <c:v>42076</c:v>
                </c:pt>
                <c:pt idx="267">
                  <c:v>42079</c:v>
                </c:pt>
                <c:pt idx="268">
                  <c:v>42080</c:v>
                </c:pt>
                <c:pt idx="269">
                  <c:v>42081</c:v>
                </c:pt>
                <c:pt idx="270">
                  <c:v>42082</c:v>
                </c:pt>
                <c:pt idx="271">
                  <c:v>42083</c:v>
                </c:pt>
                <c:pt idx="272">
                  <c:v>42086</c:v>
                </c:pt>
                <c:pt idx="273">
                  <c:v>42087</c:v>
                </c:pt>
                <c:pt idx="274">
                  <c:v>42088</c:v>
                </c:pt>
                <c:pt idx="275">
                  <c:v>42089</c:v>
                </c:pt>
                <c:pt idx="276">
                  <c:v>42090</c:v>
                </c:pt>
                <c:pt idx="277">
                  <c:v>42093</c:v>
                </c:pt>
                <c:pt idx="278">
                  <c:v>42094</c:v>
                </c:pt>
                <c:pt idx="279">
                  <c:v>42095</c:v>
                </c:pt>
                <c:pt idx="280">
                  <c:v>42096</c:v>
                </c:pt>
                <c:pt idx="281">
                  <c:v>42097</c:v>
                </c:pt>
                <c:pt idx="282">
                  <c:v>42101</c:v>
                </c:pt>
                <c:pt idx="283">
                  <c:v>42102</c:v>
                </c:pt>
                <c:pt idx="284">
                  <c:v>42103</c:v>
                </c:pt>
                <c:pt idx="285">
                  <c:v>42104</c:v>
                </c:pt>
                <c:pt idx="286">
                  <c:v>42107</c:v>
                </c:pt>
                <c:pt idx="287">
                  <c:v>42108</c:v>
                </c:pt>
                <c:pt idx="288">
                  <c:v>42109</c:v>
                </c:pt>
                <c:pt idx="289">
                  <c:v>42110</c:v>
                </c:pt>
                <c:pt idx="290">
                  <c:v>42111</c:v>
                </c:pt>
                <c:pt idx="291">
                  <c:v>42114</c:v>
                </c:pt>
                <c:pt idx="292">
                  <c:v>42115</c:v>
                </c:pt>
                <c:pt idx="293">
                  <c:v>42116</c:v>
                </c:pt>
                <c:pt idx="294">
                  <c:v>42117</c:v>
                </c:pt>
                <c:pt idx="295">
                  <c:v>42118</c:v>
                </c:pt>
                <c:pt idx="296">
                  <c:v>42121</c:v>
                </c:pt>
                <c:pt idx="297">
                  <c:v>42122</c:v>
                </c:pt>
                <c:pt idx="298">
                  <c:v>42123</c:v>
                </c:pt>
                <c:pt idx="299">
                  <c:v>42124</c:v>
                </c:pt>
                <c:pt idx="300">
                  <c:v>42128</c:v>
                </c:pt>
                <c:pt idx="301">
                  <c:v>42129</c:v>
                </c:pt>
                <c:pt idx="302">
                  <c:v>42130</c:v>
                </c:pt>
                <c:pt idx="303">
                  <c:v>42131</c:v>
                </c:pt>
                <c:pt idx="304">
                  <c:v>42132</c:v>
                </c:pt>
                <c:pt idx="305">
                  <c:v>42135</c:v>
                </c:pt>
                <c:pt idx="306">
                  <c:v>42136</c:v>
                </c:pt>
                <c:pt idx="307">
                  <c:v>42137</c:v>
                </c:pt>
                <c:pt idx="308">
                  <c:v>42138</c:v>
                </c:pt>
                <c:pt idx="309">
                  <c:v>42139</c:v>
                </c:pt>
                <c:pt idx="310">
                  <c:v>42142</c:v>
                </c:pt>
                <c:pt idx="311">
                  <c:v>42143</c:v>
                </c:pt>
                <c:pt idx="312">
                  <c:v>42144</c:v>
                </c:pt>
                <c:pt idx="313">
                  <c:v>42145</c:v>
                </c:pt>
                <c:pt idx="314">
                  <c:v>42146</c:v>
                </c:pt>
                <c:pt idx="315">
                  <c:v>42149</c:v>
                </c:pt>
                <c:pt idx="316">
                  <c:v>42150</c:v>
                </c:pt>
                <c:pt idx="317">
                  <c:v>42151</c:v>
                </c:pt>
                <c:pt idx="318">
                  <c:v>42152</c:v>
                </c:pt>
                <c:pt idx="319">
                  <c:v>42153</c:v>
                </c:pt>
                <c:pt idx="320">
                  <c:v>42156</c:v>
                </c:pt>
                <c:pt idx="321">
                  <c:v>42157</c:v>
                </c:pt>
                <c:pt idx="322">
                  <c:v>42158</c:v>
                </c:pt>
                <c:pt idx="323">
                  <c:v>42159</c:v>
                </c:pt>
                <c:pt idx="324">
                  <c:v>42160</c:v>
                </c:pt>
                <c:pt idx="325">
                  <c:v>42163</c:v>
                </c:pt>
                <c:pt idx="326">
                  <c:v>42164</c:v>
                </c:pt>
                <c:pt idx="327">
                  <c:v>42165</c:v>
                </c:pt>
                <c:pt idx="328">
                  <c:v>42166</c:v>
                </c:pt>
                <c:pt idx="329">
                  <c:v>42167</c:v>
                </c:pt>
                <c:pt idx="330">
                  <c:v>42170</c:v>
                </c:pt>
                <c:pt idx="331">
                  <c:v>42171</c:v>
                </c:pt>
                <c:pt idx="332">
                  <c:v>42172</c:v>
                </c:pt>
                <c:pt idx="333">
                  <c:v>42173</c:v>
                </c:pt>
                <c:pt idx="334">
                  <c:v>42174</c:v>
                </c:pt>
                <c:pt idx="335">
                  <c:v>42178</c:v>
                </c:pt>
                <c:pt idx="336">
                  <c:v>42179</c:v>
                </c:pt>
                <c:pt idx="337">
                  <c:v>42180</c:v>
                </c:pt>
                <c:pt idx="338">
                  <c:v>42181</c:v>
                </c:pt>
                <c:pt idx="339">
                  <c:v>42184</c:v>
                </c:pt>
                <c:pt idx="340">
                  <c:v>42185</c:v>
                </c:pt>
                <c:pt idx="341">
                  <c:v>42186</c:v>
                </c:pt>
                <c:pt idx="342">
                  <c:v>42187</c:v>
                </c:pt>
                <c:pt idx="343">
                  <c:v>42188</c:v>
                </c:pt>
                <c:pt idx="344">
                  <c:v>42191</c:v>
                </c:pt>
                <c:pt idx="345">
                  <c:v>42192</c:v>
                </c:pt>
                <c:pt idx="346">
                  <c:v>42193</c:v>
                </c:pt>
                <c:pt idx="347">
                  <c:v>42194</c:v>
                </c:pt>
                <c:pt idx="348">
                  <c:v>42195</c:v>
                </c:pt>
                <c:pt idx="349">
                  <c:v>42198</c:v>
                </c:pt>
                <c:pt idx="350">
                  <c:v>42199</c:v>
                </c:pt>
                <c:pt idx="351">
                  <c:v>42200</c:v>
                </c:pt>
                <c:pt idx="352">
                  <c:v>42201</c:v>
                </c:pt>
                <c:pt idx="353">
                  <c:v>42202</c:v>
                </c:pt>
                <c:pt idx="354">
                  <c:v>42205</c:v>
                </c:pt>
                <c:pt idx="355">
                  <c:v>42206</c:v>
                </c:pt>
                <c:pt idx="356">
                  <c:v>42207</c:v>
                </c:pt>
                <c:pt idx="357">
                  <c:v>42208</c:v>
                </c:pt>
                <c:pt idx="358">
                  <c:v>42209</c:v>
                </c:pt>
                <c:pt idx="359">
                  <c:v>42212</c:v>
                </c:pt>
                <c:pt idx="360">
                  <c:v>42213</c:v>
                </c:pt>
                <c:pt idx="361">
                  <c:v>42214</c:v>
                </c:pt>
                <c:pt idx="362">
                  <c:v>42215</c:v>
                </c:pt>
                <c:pt idx="363">
                  <c:v>42216</c:v>
                </c:pt>
                <c:pt idx="364">
                  <c:v>42219</c:v>
                </c:pt>
                <c:pt idx="365">
                  <c:v>42220</c:v>
                </c:pt>
                <c:pt idx="366">
                  <c:v>42221</c:v>
                </c:pt>
                <c:pt idx="367">
                  <c:v>42222</c:v>
                </c:pt>
                <c:pt idx="368">
                  <c:v>42223</c:v>
                </c:pt>
                <c:pt idx="369">
                  <c:v>42226</c:v>
                </c:pt>
                <c:pt idx="370">
                  <c:v>42227</c:v>
                </c:pt>
                <c:pt idx="371">
                  <c:v>42228</c:v>
                </c:pt>
                <c:pt idx="372">
                  <c:v>42229</c:v>
                </c:pt>
                <c:pt idx="373">
                  <c:v>42230</c:v>
                </c:pt>
                <c:pt idx="374">
                  <c:v>42233</c:v>
                </c:pt>
                <c:pt idx="375">
                  <c:v>42234</c:v>
                </c:pt>
                <c:pt idx="376">
                  <c:v>42235</c:v>
                </c:pt>
                <c:pt idx="377">
                  <c:v>42236</c:v>
                </c:pt>
                <c:pt idx="378">
                  <c:v>42237</c:v>
                </c:pt>
                <c:pt idx="379">
                  <c:v>42240</c:v>
                </c:pt>
                <c:pt idx="380">
                  <c:v>42241</c:v>
                </c:pt>
                <c:pt idx="381">
                  <c:v>42242</c:v>
                </c:pt>
                <c:pt idx="382">
                  <c:v>42243</c:v>
                </c:pt>
                <c:pt idx="383">
                  <c:v>42244</c:v>
                </c:pt>
                <c:pt idx="384">
                  <c:v>42247</c:v>
                </c:pt>
                <c:pt idx="385">
                  <c:v>42248</c:v>
                </c:pt>
                <c:pt idx="386">
                  <c:v>42249</c:v>
                </c:pt>
                <c:pt idx="387">
                  <c:v>42254</c:v>
                </c:pt>
                <c:pt idx="388">
                  <c:v>42255</c:v>
                </c:pt>
                <c:pt idx="389">
                  <c:v>42256</c:v>
                </c:pt>
                <c:pt idx="390">
                  <c:v>42257</c:v>
                </c:pt>
                <c:pt idx="391">
                  <c:v>42258</c:v>
                </c:pt>
                <c:pt idx="392">
                  <c:v>42261</c:v>
                </c:pt>
                <c:pt idx="393">
                  <c:v>42262</c:v>
                </c:pt>
                <c:pt idx="394">
                  <c:v>42263</c:v>
                </c:pt>
                <c:pt idx="395">
                  <c:v>42264</c:v>
                </c:pt>
                <c:pt idx="396">
                  <c:v>42265</c:v>
                </c:pt>
                <c:pt idx="397">
                  <c:v>42268</c:v>
                </c:pt>
                <c:pt idx="398">
                  <c:v>42269</c:v>
                </c:pt>
                <c:pt idx="399">
                  <c:v>42270</c:v>
                </c:pt>
                <c:pt idx="400">
                  <c:v>42271</c:v>
                </c:pt>
                <c:pt idx="401">
                  <c:v>42272</c:v>
                </c:pt>
                <c:pt idx="402">
                  <c:v>42275</c:v>
                </c:pt>
                <c:pt idx="403">
                  <c:v>42276</c:v>
                </c:pt>
                <c:pt idx="404">
                  <c:v>42277</c:v>
                </c:pt>
                <c:pt idx="405">
                  <c:v>42285</c:v>
                </c:pt>
                <c:pt idx="406">
                  <c:v>42286</c:v>
                </c:pt>
                <c:pt idx="407">
                  <c:v>42289</c:v>
                </c:pt>
                <c:pt idx="408">
                  <c:v>42290</c:v>
                </c:pt>
                <c:pt idx="409">
                  <c:v>42291</c:v>
                </c:pt>
                <c:pt idx="410">
                  <c:v>42292</c:v>
                </c:pt>
                <c:pt idx="411">
                  <c:v>42293</c:v>
                </c:pt>
                <c:pt idx="412">
                  <c:v>42296</c:v>
                </c:pt>
                <c:pt idx="413">
                  <c:v>42297</c:v>
                </c:pt>
                <c:pt idx="414">
                  <c:v>42298</c:v>
                </c:pt>
                <c:pt idx="415">
                  <c:v>42299</c:v>
                </c:pt>
                <c:pt idx="416">
                  <c:v>42300</c:v>
                </c:pt>
                <c:pt idx="417">
                  <c:v>42303</c:v>
                </c:pt>
                <c:pt idx="418">
                  <c:v>42304</c:v>
                </c:pt>
                <c:pt idx="419">
                  <c:v>42305</c:v>
                </c:pt>
                <c:pt idx="420">
                  <c:v>42306</c:v>
                </c:pt>
                <c:pt idx="421">
                  <c:v>42307</c:v>
                </c:pt>
                <c:pt idx="422">
                  <c:v>42310</c:v>
                </c:pt>
                <c:pt idx="423">
                  <c:v>42311</c:v>
                </c:pt>
                <c:pt idx="424">
                  <c:v>42312</c:v>
                </c:pt>
                <c:pt idx="425">
                  <c:v>42313</c:v>
                </c:pt>
                <c:pt idx="426">
                  <c:v>42314</c:v>
                </c:pt>
                <c:pt idx="427">
                  <c:v>42317</c:v>
                </c:pt>
                <c:pt idx="428">
                  <c:v>42318</c:v>
                </c:pt>
                <c:pt idx="429">
                  <c:v>42319</c:v>
                </c:pt>
                <c:pt idx="430">
                  <c:v>42320</c:v>
                </c:pt>
                <c:pt idx="431">
                  <c:v>42321</c:v>
                </c:pt>
                <c:pt idx="432">
                  <c:v>42324</c:v>
                </c:pt>
                <c:pt idx="433">
                  <c:v>42325</c:v>
                </c:pt>
                <c:pt idx="434">
                  <c:v>42326</c:v>
                </c:pt>
                <c:pt idx="435">
                  <c:v>42327</c:v>
                </c:pt>
                <c:pt idx="436">
                  <c:v>42328</c:v>
                </c:pt>
                <c:pt idx="437">
                  <c:v>42331</c:v>
                </c:pt>
                <c:pt idx="438">
                  <c:v>42332</c:v>
                </c:pt>
                <c:pt idx="439">
                  <c:v>42333</c:v>
                </c:pt>
                <c:pt idx="440">
                  <c:v>42334</c:v>
                </c:pt>
                <c:pt idx="441">
                  <c:v>42335</c:v>
                </c:pt>
                <c:pt idx="442">
                  <c:v>42338</c:v>
                </c:pt>
                <c:pt idx="443">
                  <c:v>42339</c:v>
                </c:pt>
                <c:pt idx="444">
                  <c:v>42340</c:v>
                </c:pt>
                <c:pt idx="445">
                  <c:v>42341</c:v>
                </c:pt>
                <c:pt idx="446">
                  <c:v>42342</c:v>
                </c:pt>
                <c:pt idx="447">
                  <c:v>42345</c:v>
                </c:pt>
                <c:pt idx="448">
                  <c:v>42346</c:v>
                </c:pt>
                <c:pt idx="449">
                  <c:v>42347</c:v>
                </c:pt>
                <c:pt idx="450">
                  <c:v>42348</c:v>
                </c:pt>
                <c:pt idx="451">
                  <c:v>42349</c:v>
                </c:pt>
                <c:pt idx="452">
                  <c:v>42352</c:v>
                </c:pt>
                <c:pt idx="453">
                  <c:v>42353</c:v>
                </c:pt>
                <c:pt idx="454">
                  <c:v>42354</c:v>
                </c:pt>
                <c:pt idx="455">
                  <c:v>42355</c:v>
                </c:pt>
                <c:pt idx="456">
                  <c:v>42356</c:v>
                </c:pt>
                <c:pt idx="457">
                  <c:v>42359</c:v>
                </c:pt>
                <c:pt idx="458">
                  <c:v>42360</c:v>
                </c:pt>
                <c:pt idx="459">
                  <c:v>42361</c:v>
                </c:pt>
                <c:pt idx="460">
                  <c:v>42362</c:v>
                </c:pt>
                <c:pt idx="461">
                  <c:v>42363</c:v>
                </c:pt>
                <c:pt idx="462">
                  <c:v>42366</c:v>
                </c:pt>
                <c:pt idx="463">
                  <c:v>42367</c:v>
                </c:pt>
                <c:pt idx="464">
                  <c:v>42368</c:v>
                </c:pt>
                <c:pt idx="465">
                  <c:v>42369</c:v>
                </c:pt>
                <c:pt idx="466">
                  <c:v>42373</c:v>
                </c:pt>
                <c:pt idx="467">
                  <c:v>42374</c:v>
                </c:pt>
                <c:pt idx="468">
                  <c:v>42375</c:v>
                </c:pt>
                <c:pt idx="469">
                  <c:v>42376</c:v>
                </c:pt>
                <c:pt idx="470">
                  <c:v>42377</c:v>
                </c:pt>
                <c:pt idx="471">
                  <c:v>42380</c:v>
                </c:pt>
                <c:pt idx="472">
                  <c:v>42381</c:v>
                </c:pt>
                <c:pt idx="473">
                  <c:v>42382</c:v>
                </c:pt>
                <c:pt idx="474">
                  <c:v>42383</c:v>
                </c:pt>
                <c:pt idx="475">
                  <c:v>42384</c:v>
                </c:pt>
                <c:pt idx="476">
                  <c:v>42387</c:v>
                </c:pt>
                <c:pt idx="477">
                  <c:v>42388</c:v>
                </c:pt>
                <c:pt idx="478">
                  <c:v>42389</c:v>
                </c:pt>
                <c:pt idx="479">
                  <c:v>42390</c:v>
                </c:pt>
                <c:pt idx="480">
                  <c:v>42391</c:v>
                </c:pt>
                <c:pt idx="481">
                  <c:v>42394</c:v>
                </c:pt>
                <c:pt idx="482">
                  <c:v>42395</c:v>
                </c:pt>
                <c:pt idx="483">
                  <c:v>42396</c:v>
                </c:pt>
                <c:pt idx="484">
                  <c:v>42397</c:v>
                </c:pt>
                <c:pt idx="485">
                  <c:v>42398</c:v>
                </c:pt>
                <c:pt idx="486">
                  <c:v>42401</c:v>
                </c:pt>
                <c:pt idx="487">
                  <c:v>42402</c:v>
                </c:pt>
                <c:pt idx="488">
                  <c:v>42403</c:v>
                </c:pt>
                <c:pt idx="489">
                  <c:v>42404</c:v>
                </c:pt>
                <c:pt idx="490">
                  <c:v>42405</c:v>
                </c:pt>
                <c:pt idx="491">
                  <c:v>42415</c:v>
                </c:pt>
                <c:pt idx="492">
                  <c:v>42416</c:v>
                </c:pt>
                <c:pt idx="493">
                  <c:v>42417</c:v>
                </c:pt>
                <c:pt idx="494">
                  <c:v>42418</c:v>
                </c:pt>
                <c:pt idx="495">
                  <c:v>42419</c:v>
                </c:pt>
                <c:pt idx="496">
                  <c:v>42422</c:v>
                </c:pt>
                <c:pt idx="497">
                  <c:v>42423</c:v>
                </c:pt>
                <c:pt idx="498">
                  <c:v>42424</c:v>
                </c:pt>
                <c:pt idx="499">
                  <c:v>42425</c:v>
                </c:pt>
                <c:pt idx="500">
                  <c:v>42426</c:v>
                </c:pt>
                <c:pt idx="501">
                  <c:v>42429</c:v>
                </c:pt>
                <c:pt idx="502">
                  <c:v>42430</c:v>
                </c:pt>
                <c:pt idx="503">
                  <c:v>42431</c:v>
                </c:pt>
                <c:pt idx="504">
                  <c:v>42432</c:v>
                </c:pt>
                <c:pt idx="505">
                  <c:v>42433</c:v>
                </c:pt>
                <c:pt idx="506">
                  <c:v>42436</c:v>
                </c:pt>
                <c:pt idx="507">
                  <c:v>42437</c:v>
                </c:pt>
                <c:pt idx="508">
                  <c:v>42438</c:v>
                </c:pt>
                <c:pt idx="509">
                  <c:v>42439</c:v>
                </c:pt>
                <c:pt idx="510">
                  <c:v>42440</c:v>
                </c:pt>
                <c:pt idx="511">
                  <c:v>42443</c:v>
                </c:pt>
                <c:pt idx="512">
                  <c:v>42444</c:v>
                </c:pt>
                <c:pt idx="513">
                  <c:v>42445</c:v>
                </c:pt>
                <c:pt idx="514">
                  <c:v>42446</c:v>
                </c:pt>
                <c:pt idx="515">
                  <c:v>42447</c:v>
                </c:pt>
                <c:pt idx="516">
                  <c:v>42450</c:v>
                </c:pt>
                <c:pt idx="517">
                  <c:v>42451</c:v>
                </c:pt>
                <c:pt idx="518">
                  <c:v>42452</c:v>
                </c:pt>
                <c:pt idx="519">
                  <c:v>42453</c:v>
                </c:pt>
                <c:pt idx="520">
                  <c:v>42454</c:v>
                </c:pt>
                <c:pt idx="521">
                  <c:v>42457</c:v>
                </c:pt>
                <c:pt idx="522">
                  <c:v>42458</c:v>
                </c:pt>
                <c:pt idx="523">
                  <c:v>42459</c:v>
                </c:pt>
                <c:pt idx="524">
                  <c:v>42460</c:v>
                </c:pt>
                <c:pt idx="525">
                  <c:v>42461</c:v>
                </c:pt>
                <c:pt idx="526">
                  <c:v>42465</c:v>
                </c:pt>
                <c:pt idx="527">
                  <c:v>42466</c:v>
                </c:pt>
                <c:pt idx="528">
                  <c:v>42467</c:v>
                </c:pt>
                <c:pt idx="529">
                  <c:v>42468</c:v>
                </c:pt>
                <c:pt idx="530">
                  <c:v>42471</c:v>
                </c:pt>
                <c:pt idx="531">
                  <c:v>42472</c:v>
                </c:pt>
                <c:pt idx="532">
                  <c:v>42473</c:v>
                </c:pt>
                <c:pt idx="533">
                  <c:v>42474</c:v>
                </c:pt>
                <c:pt idx="534">
                  <c:v>42475</c:v>
                </c:pt>
                <c:pt idx="535">
                  <c:v>42478</c:v>
                </c:pt>
                <c:pt idx="536">
                  <c:v>42479</c:v>
                </c:pt>
                <c:pt idx="537">
                  <c:v>42480</c:v>
                </c:pt>
                <c:pt idx="538">
                  <c:v>42481</c:v>
                </c:pt>
                <c:pt idx="539">
                  <c:v>42482</c:v>
                </c:pt>
                <c:pt idx="540">
                  <c:v>42485</c:v>
                </c:pt>
                <c:pt idx="541">
                  <c:v>42486</c:v>
                </c:pt>
                <c:pt idx="542">
                  <c:v>42487</c:v>
                </c:pt>
                <c:pt idx="543">
                  <c:v>42488</c:v>
                </c:pt>
                <c:pt idx="544">
                  <c:v>42489</c:v>
                </c:pt>
                <c:pt idx="545">
                  <c:v>42493</c:v>
                </c:pt>
                <c:pt idx="546">
                  <c:v>42494</c:v>
                </c:pt>
                <c:pt idx="547">
                  <c:v>42495</c:v>
                </c:pt>
                <c:pt idx="548">
                  <c:v>42496</c:v>
                </c:pt>
                <c:pt idx="549">
                  <c:v>42499</c:v>
                </c:pt>
                <c:pt idx="550">
                  <c:v>42500</c:v>
                </c:pt>
                <c:pt idx="551">
                  <c:v>42501</c:v>
                </c:pt>
                <c:pt idx="552">
                  <c:v>42502</c:v>
                </c:pt>
                <c:pt idx="553">
                  <c:v>42503</c:v>
                </c:pt>
                <c:pt idx="554">
                  <c:v>42506</c:v>
                </c:pt>
                <c:pt idx="555">
                  <c:v>42507</c:v>
                </c:pt>
                <c:pt idx="556">
                  <c:v>42508</c:v>
                </c:pt>
                <c:pt idx="557">
                  <c:v>42509</c:v>
                </c:pt>
                <c:pt idx="558">
                  <c:v>42510</c:v>
                </c:pt>
                <c:pt idx="559">
                  <c:v>42513</c:v>
                </c:pt>
                <c:pt idx="560">
                  <c:v>42514</c:v>
                </c:pt>
                <c:pt idx="561">
                  <c:v>42515</c:v>
                </c:pt>
                <c:pt idx="562">
                  <c:v>42516</c:v>
                </c:pt>
                <c:pt idx="563">
                  <c:v>42517</c:v>
                </c:pt>
                <c:pt idx="564">
                  <c:v>42520</c:v>
                </c:pt>
                <c:pt idx="565">
                  <c:v>42521</c:v>
                </c:pt>
                <c:pt idx="566">
                  <c:v>42522</c:v>
                </c:pt>
                <c:pt idx="567">
                  <c:v>42523</c:v>
                </c:pt>
                <c:pt idx="568">
                  <c:v>42524</c:v>
                </c:pt>
                <c:pt idx="569">
                  <c:v>42527</c:v>
                </c:pt>
                <c:pt idx="570">
                  <c:v>42528</c:v>
                </c:pt>
                <c:pt idx="571">
                  <c:v>42529</c:v>
                </c:pt>
                <c:pt idx="572">
                  <c:v>42534</c:v>
                </c:pt>
                <c:pt idx="573">
                  <c:v>42535</c:v>
                </c:pt>
                <c:pt idx="574">
                  <c:v>42536</c:v>
                </c:pt>
                <c:pt idx="575">
                  <c:v>42537</c:v>
                </c:pt>
                <c:pt idx="576">
                  <c:v>42538</c:v>
                </c:pt>
                <c:pt idx="577">
                  <c:v>42541</c:v>
                </c:pt>
                <c:pt idx="578">
                  <c:v>42542</c:v>
                </c:pt>
                <c:pt idx="579">
                  <c:v>42543</c:v>
                </c:pt>
                <c:pt idx="580">
                  <c:v>42544</c:v>
                </c:pt>
                <c:pt idx="581">
                  <c:v>42545</c:v>
                </c:pt>
                <c:pt idx="582">
                  <c:v>42548</c:v>
                </c:pt>
                <c:pt idx="583">
                  <c:v>42549</c:v>
                </c:pt>
                <c:pt idx="584">
                  <c:v>42550</c:v>
                </c:pt>
                <c:pt idx="585">
                  <c:v>42551</c:v>
                </c:pt>
                <c:pt idx="586">
                  <c:v>42552</c:v>
                </c:pt>
                <c:pt idx="587">
                  <c:v>42555</c:v>
                </c:pt>
                <c:pt idx="588">
                  <c:v>42556</c:v>
                </c:pt>
                <c:pt idx="589">
                  <c:v>42557</c:v>
                </c:pt>
                <c:pt idx="590">
                  <c:v>42558</c:v>
                </c:pt>
                <c:pt idx="591">
                  <c:v>42559</c:v>
                </c:pt>
                <c:pt idx="592">
                  <c:v>42562</c:v>
                </c:pt>
                <c:pt idx="593">
                  <c:v>42563</c:v>
                </c:pt>
                <c:pt idx="594">
                  <c:v>42564</c:v>
                </c:pt>
                <c:pt idx="595">
                  <c:v>42565</c:v>
                </c:pt>
                <c:pt idx="596">
                  <c:v>42566</c:v>
                </c:pt>
                <c:pt idx="597">
                  <c:v>42569</c:v>
                </c:pt>
                <c:pt idx="598">
                  <c:v>42570</c:v>
                </c:pt>
                <c:pt idx="599">
                  <c:v>42571</c:v>
                </c:pt>
                <c:pt idx="600">
                  <c:v>42572</c:v>
                </c:pt>
                <c:pt idx="601">
                  <c:v>42573</c:v>
                </c:pt>
                <c:pt idx="602">
                  <c:v>42576</c:v>
                </c:pt>
                <c:pt idx="603">
                  <c:v>42577</c:v>
                </c:pt>
                <c:pt idx="604">
                  <c:v>42578</c:v>
                </c:pt>
                <c:pt idx="605">
                  <c:v>42579</c:v>
                </c:pt>
                <c:pt idx="606">
                  <c:v>42580</c:v>
                </c:pt>
                <c:pt idx="607">
                  <c:v>42583</c:v>
                </c:pt>
                <c:pt idx="608">
                  <c:v>42584</c:v>
                </c:pt>
                <c:pt idx="609">
                  <c:v>42585</c:v>
                </c:pt>
                <c:pt idx="610">
                  <c:v>42586</c:v>
                </c:pt>
                <c:pt idx="611">
                  <c:v>42587</c:v>
                </c:pt>
                <c:pt idx="612">
                  <c:v>42590</c:v>
                </c:pt>
                <c:pt idx="613">
                  <c:v>42591</c:v>
                </c:pt>
                <c:pt idx="614">
                  <c:v>42592</c:v>
                </c:pt>
                <c:pt idx="615">
                  <c:v>42593</c:v>
                </c:pt>
                <c:pt idx="616">
                  <c:v>42594</c:v>
                </c:pt>
                <c:pt idx="617">
                  <c:v>42597</c:v>
                </c:pt>
                <c:pt idx="618">
                  <c:v>42598</c:v>
                </c:pt>
                <c:pt idx="619">
                  <c:v>42599</c:v>
                </c:pt>
                <c:pt idx="620">
                  <c:v>42600</c:v>
                </c:pt>
                <c:pt idx="621">
                  <c:v>42601</c:v>
                </c:pt>
                <c:pt idx="622">
                  <c:v>42604</c:v>
                </c:pt>
                <c:pt idx="623">
                  <c:v>42605</c:v>
                </c:pt>
                <c:pt idx="624">
                  <c:v>42606</c:v>
                </c:pt>
                <c:pt idx="625">
                  <c:v>42607</c:v>
                </c:pt>
                <c:pt idx="626">
                  <c:v>42608</c:v>
                </c:pt>
                <c:pt idx="627">
                  <c:v>42611</c:v>
                </c:pt>
                <c:pt idx="628">
                  <c:v>42612</c:v>
                </c:pt>
                <c:pt idx="629">
                  <c:v>42613</c:v>
                </c:pt>
                <c:pt idx="630">
                  <c:v>42614</c:v>
                </c:pt>
                <c:pt idx="631">
                  <c:v>42615</c:v>
                </c:pt>
                <c:pt idx="632">
                  <c:v>42618</c:v>
                </c:pt>
                <c:pt idx="633">
                  <c:v>42619</c:v>
                </c:pt>
                <c:pt idx="634">
                  <c:v>42620</c:v>
                </c:pt>
                <c:pt idx="635">
                  <c:v>42621</c:v>
                </c:pt>
                <c:pt idx="636">
                  <c:v>42622</c:v>
                </c:pt>
                <c:pt idx="637">
                  <c:v>42625</c:v>
                </c:pt>
                <c:pt idx="638">
                  <c:v>42626</c:v>
                </c:pt>
                <c:pt idx="639">
                  <c:v>42627</c:v>
                </c:pt>
                <c:pt idx="640">
                  <c:v>42632</c:v>
                </c:pt>
                <c:pt idx="641">
                  <c:v>42633</c:v>
                </c:pt>
                <c:pt idx="642">
                  <c:v>42634</c:v>
                </c:pt>
                <c:pt idx="643">
                  <c:v>42635</c:v>
                </c:pt>
                <c:pt idx="644">
                  <c:v>42636</c:v>
                </c:pt>
                <c:pt idx="645">
                  <c:v>42639</c:v>
                </c:pt>
                <c:pt idx="646">
                  <c:v>42640</c:v>
                </c:pt>
                <c:pt idx="647">
                  <c:v>42641</c:v>
                </c:pt>
                <c:pt idx="648">
                  <c:v>42642</c:v>
                </c:pt>
                <c:pt idx="649">
                  <c:v>42643</c:v>
                </c:pt>
                <c:pt idx="650">
                  <c:v>42653</c:v>
                </c:pt>
                <c:pt idx="651">
                  <c:v>42654</c:v>
                </c:pt>
                <c:pt idx="652">
                  <c:v>42655</c:v>
                </c:pt>
                <c:pt idx="653">
                  <c:v>42656</c:v>
                </c:pt>
                <c:pt idx="654">
                  <c:v>42657</c:v>
                </c:pt>
                <c:pt idx="655">
                  <c:v>42660</c:v>
                </c:pt>
                <c:pt idx="656">
                  <c:v>42661</c:v>
                </c:pt>
                <c:pt idx="657">
                  <c:v>42662</c:v>
                </c:pt>
                <c:pt idx="658">
                  <c:v>42663</c:v>
                </c:pt>
                <c:pt idx="659">
                  <c:v>42664</c:v>
                </c:pt>
                <c:pt idx="660">
                  <c:v>42667</c:v>
                </c:pt>
                <c:pt idx="661">
                  <c:v>42668</c:v>
                </c:pt>
                <c:pt idx="662">
                  <c:v>42669</c:v>
                </c:pt>
                <c:pt idx="663">
                  <c:v>42670</c:v>
                </c:pt>
                <c:pt idx="664">
                  <c:v>42671</c:v>
                </c:pt>
                <c:pt idx="665">
                  <c:v>42674</c:v>
                </c:pt>
                <c:pt idx="666">
                  <c:v>42675</c:v>
                </c:pt>
                <c:pt idx="667">
                  <c:v>42676</c:v>
                </c:pt>
                <c:pt idx="668">
                  <c:v>42677</c:v>
                </c:pt>
                <c:pt idx="669">
                  <c:v>42678</c:v>
                </c:pt>
                <c:pt idx="670">
                  <c:v>42681</c:v>
                </c:pt>
                <c:pt idx="671">
                  <c:v>42682</c:v>
                </c:pt>
                <c:pt idx="672">
                  <c:v>42683</c:v>
                </c:pt>
                <c:pt idx="673">
                  <c:v>42684</c:v>
                </c:pt>
                <c:pt idx="674">
                  <c:v>42685</c:v>
                </c:pt>
                <c:pt idx="675">
                  <c:v>42688</c:v>
                </c:pt>
                <c:pt idx="676">
                  <c:v>42689</c:v>
                </c:pt>
                <c:pt idx="677">
                  <c:v>42690</c:v>
                </c:pt>
                <c:pt idx="678">
                  <c:v>42691</c:v>
                </c:pt>
                <c:pt idx="679">
                  <c:v>42692</c:v>
                </c:pt>
                <c:pt idx="680">
                  <c:v>42695</c:v>
                </c:pt>
                <c:pt idx="681">
                  <c:v>42696</c:v>
                </c:pt>
                <c:pt idx="682">
                  <c:v>42697</c:v>
                </c:pt>
                <c:pt idx="683">
                  <c:v>42698</c:v>
                </c:pt>
                <c:pt idx="684">
                  <c:v>42699</c:v>
                </c:pt>
                <c:pt idx="685">
                  <c:v>42702</c:v>
                </c:pt>
                <c:pt idx="686">
                  <c:v>42703</c:v>
                </c:pt>
                <c:pt idx="687">
                  <c:v>42704</c:v>
                </c:pt>
                <c:pt idx="688">
                  <c:v>42705</c:v>
                </c:pt>
                <c:pt idx="689">
                  <c:v>42706</c:v>
                </c:pt>
                <c:pt idx="690">
                  <c:v>42709</c:v>
                </c:pt>
                <c:pt idx="691">
                  <c:v>42710</c:v>
                </c:pt>
                <c:pt idx="692">
                  <c:v>42711</c:v>
                </c:pt>
                <c:pt idx="693">
                  <c:v>42712</c:v>
                </c:pt>
                <c:pt idx="694">
                  <c:v>42713</c:v>
                </c:pt>
                <c:pt idx="695">
                  <c:v>42716</c:v>
                </c:pt>
                <c:pt idx="696">
                  <c:v>42717</c:v>
                </c:pt>
                <c:pt idx="697">
                  <c:v>42718</c:v>
                </c:pt>
                <c:pt idx="698">
                  <c:v>42719</c:v>
                </c:pt>
                <c:pt idx="699">
                  <c:v>42720</c:v>
                </c:pt>
                <c:pt idx="700">
                  <c:v>42723</c:v>
                </c:pt>
                <c:pt idx="701">
                  <c:v>42724</c:v>
                </c:pt>
                <c:pt idx="702">
                  <c:v>42725</c:v>
                </c:pt>
                <c:pt idx="703">
                  <c:v>42726</c:v>
                </c:pt>
                <c:pt idx="704">
                  <c:v>42727</c:v>
                </c:pt>
                <c:pt idx="705">
                  <c:v>42730</c:v>
                </c:pt>
                <c:pt idx="706">
                  <c:v>42731</c:v>
                </c:pt>
                <c:pt idx="707">
                  <c:v>42732</c:v>
                </c:pt>
                <c:pt idx="708">
                  <c:v>42733</c:v>
                </c:pt>
                <c:pt idx="709">
                  <c:v>42734</c:v>
                </c:pt>
                <c:pt idx="710">
                  <c:v>42738</c:v>
                </c:pt>
                <c:pt idx="711">
                  <c:v>42739</c:v>
                </c:pt>
                <c:pt idx="712">
                  <c:v>42740</c:v>
                </c:pt>
                <c:pt idx="713">
                  <c:v>42741</c:v>
                </c:pt>
                <c:pt idx="714">
                  <c:v>42744</c:v>
                </c:pt>
                <c:pt idx="715">
                  <c:v>42745</c:v>
                </c:pt>
                <c:pt idx="716">
                  <c:v>42746</c:v>
                </c:pt>
                <c:pt idx="717">
                  <c:v>42747</c:v>
                </c:pt>
                <c:pt idx="718">
                  <c:v>42748</c:v>
                </c:pt>
                <c:pt idx="719">
                  <c:v>42751</c:v>
                </c:pt>
                <c:pt idx="720">
                  <c:v>42752</c:v>
                </c:pt>
                <c:pt idx="721">
                  <c:v>42753</c:v>
                </c:pt>
                <c:pt idx="722">
                  <c:v>42754</c:v>
                </c:pt>
                <c:pt idx="723">
                  <c:v>42755</c:v>
                </c:pt>
                <c:pt idx="724">
                  <c:v>42758</c:v>
                </c:pt>
                <c:pt idx="725">
                  <c:v>42759</c:v>
                </c:pt>
                <c:pt idx="726">
                  <c:v>42760</c:v>
                </c:pt>
                <c:pt idx="727">
                  <c:v>42761</c:v>
                </c:pt>
                <c:pt idx="728">
                  <c:v>42769</c:v>
                </c:pt>
                <c:pt idx="729">
                  <c:v>42772</c:v>
                </c:pt>
                <c:pt idx="730">
                  <c:v>42773</c:v>
                </c:pt>
                <c:pt idx="731">
                  <c:v>42774</c:v>
                </c:pt>
                <c:pt idx="732">
                  <c:v>42775</c:v>
                </c:pt>
                <c:pt idx="733">
                  <c:v>42776</c:v>
                </c:pt>
                <c:pt idx="734">
                  <c:v>42779</c:v>
                </c:pt>
                <c:pt idx="735">
                  <c:v>42780</c:v>
                </c:pt>
                <c:pt idx="736">
                  <c:v>42781</c:v>
                </c:pt>
                <c:pt idx="737">
                  <c:v>42782</c:v>
                </c:pt>
                <c:pt idx="738">
                  <c:v>42783</c:v>
                </c:pt>
                <c:pt idx="739">
                  <c:v>42786</c:v>
                </c:pt>
                <c:pt idx="740">
                  <c:v>42787</c:v>
                </c:pt>
                <c:pt idx="741">
                  <c:v>42788</c:v>
                </c:pt>
                <c:pt idx="742">
                  <c:v>42789</c:v>
                </c:pt>
                <c:pt idx="743">
                  <c:v>42790</c:v>
                </c:pt>
                <c:pt idx="744">
                  <c:v>42793</c:v>
                </c:pt>
                <c:pt idx="745">
                  <c:v>42794</c:v>
                </c:pt>
                <c:pt idx="746">
                  <c:v>42795</c:v>
                </c:pt>
                <c:pt idx="747">
                  <c:v>42796</c:v>
                </c:pt>
                <c:pt idx="748">
                  <c:v>42797</c:v>
                </c:pt>
                <c:pt idx="749">
                  <c:v>42800</c:v>
                </c:pt>
                <c:pt idx="750">
                  <c:v>42801</c:v>
                </c:pt>
                <c:pt idx="751">
                  <c:v>42802</c:v>
                </c:pt>
                <c:pt idx="752">
                  <c:v>42803</c:v>
                </c:pt>
                <c:pt idx="753">
                  <c:v>42804</c:v>
                </c:pt>
                <c:pt idx="754">
                  <c:v>42807</c:v>
                </c:pt>
                <c:pt idx="755">
                  <c:v>42808</c:v>
                </c:pt>
                <c:pt idx="756">
                  <c:v>42809</c:v>
                </c:pt>
                <c:pt idx="757">
                  <c:v>42810</c:v>
                </c:pt>
                <c:pt idx="758">
                  <c:v>42811</c:v>
                </c:pt>
                <c:pt idx="759">
                  <c:v>42814</c:v>
                </c:pt>
                <c:pt idx="760">
                  <c:v>42815</c:v>
                </c:pt>
                <c:pt idx="761">
                  <c:v>42816</c:v>
                </c:pt>
                <c:pt idx="762">
                  <c:v>42817</c:v>
                </c:pt>
                <c:pt idx="763">
                  <c:v>42818</c:v>
                </c:pt>
                <c:pt idx="764">
                  <c:v>42821</c:v>
                </c:pt>
                <c:pt idx="765">
                  <c:v>42822</c:v>
                </c:pt>
                <c:pt idx="766">
                  <c:v>42823</c:v>
                </c:pt>
                <c:pt idx="767">
                  <c:v>42824</c:v>
                </c:pt>
                <c:pt idx="768">
                  <c:v>42825</c:v>
                </c:pt>
                <c:pt idx="769">
                  <c:v>42830</c:v>
                </c:pt>
                <c:pt idx="770">
                  <c:v>42831</c:v>
                </c:pt>
                <c:pt idx="771">
                  <c:v>42832</c:v>
                </c:pt>
                <c:pt idx="772">
                  <c:v>42835</c:v>
                </c:pt>
                <c:pt idx="773">
                  <c:v>42836</c:v>
                </c:pt>
                <c:pt idx="774">
                  <c:v>42837</c:v>
                </c:pt>
                <c:pt idx="775">
                  <c:v>42838</c:v>
                </c:pt>
                <c:pt idx="776">
                  <c:v>42839</c:v>
                </c:pt>
                <c:pt idx="777">
                  <c:v>42842</c:v>
                </c:pt>
                <c:pt idx="778">
                  <c:v>42843</c:v>
                </c:pt>
                <c:pt idx="779">
                  <c:v>42844</c:v>
                </c:pt>
                <c:pt idx="780">
                  <c:v>42845</c:v>
                </c:pt>
                <c:pt idx="781">
                  <c:v>42846</c:v>
                </c:pt>
                <c:pt idx="782">
                  <c:v>42849</c:v>
                </c:pt>
                <c:pt idx="783">
                  <c:v>42850</c:v>
                </c:pt>
                <c:pt idx="784">
                  <c:v>42851</c:v>
                </c:pt>
                <c:pt idx="785">
                  <c:v>42852</c:v>
                </c:pt>
                <c:pt idx="786">
                  <c:v>42853</c:v>
                </c:pt>
                <c:pt idx="787">
                  <c:v>42857</c:v>
                </c:pt>
                <c:pt idx="788">
                  <c:v>42858</c:v>
                </c:pt>
                <c:pt idx="789">
                  <c:v>42859</c:v>
                </c:pt>
                <c:pt idx="790">
                  <c:v>42860</c:v>
                </c:pt>
                <c:pt idx="791">
                  <c:v>42863</c:v>
                </c:pt>
                <c:pt idx="792">
                  <c:v>42864</c:v>
                </c:pt>
                <c:pt idx="793">
                  <c:v>42865</c:v>
                </c:pt>
                <c:pt idx="794">
                  <c:v>42866</c:v>
                </c:pt>
                <c:pt idx="795">
                  <c:v>42867</c:v>
                </c:pt>
                <c:pt idx="796">
                  <c:v>42870</c:v>
                </c:pt>
                <c:pt idx="797">
                  <c:v>42871</c:v>
                </c:pt>
                <c:pt idx="798">
                  <c:v>42872</c:v>
                </c:pt>
                <c:pt idx="799">
                  <c:v>42873</c:v>
                </c:pt>
                <c:pt idx="800">
                  <c:v>42874</c:v>
                </c:pt>
                <c:pt idx="801">
                  <c:v>42877</c:v>
                </c:pt>
                <c:pt idx="802">
                  <c:v>42878</c:v>
                </c:pt>
                <c:pt idx="803">
                  <c:v>42879</c:v>
                </c:pt>
                <c:pt idx="804">
                  <c:v>42880</c:v>
                </c:pt>
                <c:pt idx="805">
                  <c:v>42881</c:v>
                </c:pt>
                <c:pt idx="806">
                  <c:v>42886</c:v>
                </c:pt>
                <c:pt idx="807">
                  <c:v>42887</c:v>
                </c:pt>
                <c:pt idx="808">
                  <c:v>42888</c:v>
                </c:pt>
                <c:pt idx="809">
                  <c:v>42891</c:v>
                </c:pt>
                <c:pt idx="810">
                  <c:v>42892</c:v>
                </c:pt>
                <c:pt idx="811">
                  <c:v>42893</c:v>
                </c:pt>
                <c:pt idx="812">
                  <c:v>42894</c:v>
                </c:pt>
                <c:pt idx="813">
                  <c:v>42895</c:v>
                </c:pt>
                <c:pt idx="814">
                  <c:v>42898</c:v>
                </c:pt>
                <c:pt idx="815">
                  <c:v>42899</c:v>
                </c:pt>
                <c:pt idx="816">
                  <c:v>42900</c:v>
                </c:pt>
                <c:pt idx="817">
                  <c:v>42901</c:v>
                </c:pt>
                <c:pt idx="818">
                  <c:v>42902</c:v>
                </c:pt>
                <c:pt idx="819">
                  <c:v>42905</c:v>
                </c:pt>
                <c:pt idx="820">
                  <c:v>42906</c:v>
                </c:pt>
                <c:pt idx="821">
                  <c:v>42907</c:v>
                </c:pt>
                <c:pt idx="822">
                  <c:v>42908</c:v>
                </c:pt>
                <c:pt idx="823">
                  <c:v>42909</c:v>
                </c:pt>
                <c:pt idx="824">
                  <c:v>42912</c:v>
                </c:pt>
                <c:pt idx="825">
                  <c:v>42913</c:v>
                </c:pt>
                <c:pt idx="826">
                  <c:v>42914</c:v>
                </c:pt>
                <c:pt idx="827">
                  <c:v>42915</c:v>
                </c:pt>
                <c:pt idx="828">
                  <c:v>42916</c:v>
                </c:pt>
                <c:pt idx="829">
                  <c:v>42919</c:v>
                </c:pt>
                <c:pt idx="830">
                  <c:v>42920</c:v>
                </c:pt>
                <c:pt idx="831">
                  <c:v>42921</c:v>
                </c:pt>
                <c:pt idx="832">
                  <c:v>42922</c:v>
                </c:pt>
                <c:pt idx="833">
                  <c:v>42923</c:v>
                </c:pt>
                <c:pt idx="834">
                  <c:v>42926</c:v>
                </c:pt>
                <c:pt idx="835">
                  <c:v>42927</c:v>
                </c:pt>
                <c:pt idx="836">
                  <c:v>42928</c:v>
                </c:pt>
                <c:pt idx="837">
                  <c:v>42929</c:v>
                </c:pt>
                <c:pt idx="838">
                  <c:v>42930</c:v>
                </c:pt>
                <c:pt idx="839">
                  <c:v>42933</c:v>
                </c:pt>
                <c:pt idx="840">
                  <c:v>42934</c:v>
                </c:pt>
                <c:pt idx="841">
                  <c:v>42935</c:v>
                </c:pt>
                <c:pt idx="842">
                  <c:v>42936</c:v>
                </c:pt>
                <c:pt idx="843">
                  <c:v>42937</c:v>
                </c:pt>
                <c:pt idx="844">
                  <c:v>42940</c:v>
                </c:pt>
                <c:pt idx="845">
                  <c:v>42941</c:v>
                </c:pt>
                <c:pt idx="846">
                  <c:v>42942</c:v>
                </c:pt>
                <c:pt idx="847">
                  <c:v>42943</c:v>
                </c:pt>
                <c:pt idx="848">
                  <c:v>42944</c:v>
                </c:pt>
                <c:pt idx="849">
                  <c:v>42947</c:v>
                </c:pt>
                <c:pt idx="850">
                  <c:v>42948</c:v>
                </c:pt>
                <c:pt idx="851">
                  <c:v>42949</c:v>
                </c:pt>
                <c:pt idx="852">
                  <c:v>42950</c:v>
                </c:pt>
                <c:pt idx="853">
                  <c:v>42951</c:v>
                </c:pt>
                <c:pt idx="854">
                  <c:v>42954</c:v>
                </c:pt>
                <c:pt idx="855">
                  <c:v>42955</c:v>
                </c:pt>
                <c:pt idx="856">
                  <c:v>42956</c:v>
                </c:pt>
                <c:pt idx="857">
                  <c:v>42957</c:v>
                </c:pt>
                <c:pt idx="858">
                  <c:v>42958</c:v>
                </c:pt>
                <c:pt idx="859">
                  <c:v>42961</c:v>
                </c:pt>
                <c:pt idx="860">
                  <c:v>42962</c:v>
                </c:pt>
                <c:pt idx="861">
                  <c:v>42963</c:v>
                </c:pt>
                <c:pt idx="862">
                  <c:v>42964</c:v>
                </c:pt>
                <c:pt idx="863">
                  <c:v>42965</c:v>
                </c:pt>
                <c:pt idx="864">
                  <c:v>42968</c:v>
                </c:pt>
                <c:pt idx="865">
                  <c:v>42969</c:v>
                </c:pt>
                <c:pt idx="866">
                  <c:v>42970</c:v>
                </c:pt>
                <c:pt idx="867">
                  <c:v>42971</c:v>
                </c:pt>
                <c:pt idx="868">
                  <c:v>42972</c:v>
                </c:pt>
                <c:pt idx="869">
                  <c:v>42975</c:v>
                </c:pt>
                <c:pt idx="870">
                  <c:v>42976</c:v>
                </c:pt>
                <c:pt idx="871">
                  <c:v>42977</c:v>
                </c:pt>
                <c:pt idx="872">
                  <c:v>42978</c:v>
                </c:pt>
                <c:pt idx="873">
                  <c:v>42979</c:v>
                </c:pt>
                <c:pt idx="874">
                  <c:v>42982</c:v>
                </c:pt>
                <c:pt idx="875">
                  <c:v>42983</c:v>
                </c:pt>
                <c:pt idx="876">
                  <c:v>42984</c:v>
                </c:pt>
                <c:pt idx="877">
                  <c:v>42985</c:v>
                </c:pt>
                <c:pt idx="878">
                  <c:v>42986</c:v>
                </c:pt>
                <c:pt idx="879">
                  <c:v>42989</c:v>
                </c:pt>
                <c:pt idx="880">
                  <c:v>42990</c:v>
                </c:pt>
                <c:pt idx="881">
                  <c:v>42991</c:v>
                </c:pt>
                <c:pt idx="882">
                  <c:v>42992</c:v>
                </c:pt>
                <c:pt idx="883">
                  <c:v>42993</c:v>
                </c:pt>
                <c:pt idx="884">
                  <c:v>42996</c:v>
                </c:pt>
                <c:pt idx="885">
                  <c:v>42997</c:v>
                </c:pt>
                <c:pt idx="886">
                  <c:v>42998</c:v>
                </c:pt>
                <c:pt idx="887">
                  <c:v>42999</c:v>
                </c:pt>
                <c:pt idx="888">
                  <c:v>43000</c:v>
                </c:pt>
                <c:pt idx="889">
                  <c:v>43003</c:v>
                </c:pt>
                <c:pt idx="890">
                  <c:v>43004</c:v>
                </c:pt>
                <c:pt idx="891">
                  <c:v>43005</c:v>
                </c:pt>
                <c:pt idx="892">
                  <c:v>43006</c:v>
                </c:pt>
                <c:pt idx="893">
                  <c:v>43007</c:v>
                </c:pt>
                <c:pt idx="894">
                  <c:v>43017</c:v>
                </c:pt>
                <c:pt idx="895">
                  <c:v>43018</c:v>
                </c:pt>
                <c:pt idx="896">
                  <c:v>43019</c:v>
                </c:pt>
                <c:pt idx="897">
                  <c:v>43020</c:v>
                </c:pt>
                <c:pt idx="898">
                  <c:v>43021</c:v>
                </c:pt>
                <c:pt idx="899">
                  <c:v>43024</c:v>
                </c:pt>
                <c:pt idx="900">
                  <c:v>43025</c:v>
                </c:pt>
                <c:pt idx="901">
                  <c:v>43026</c:v>
                </c:pt>
                <c:pt idx="902">
                  <c:v>43027</c:v>
                </c:pt>
                <c:pt idx="903">
                  <c:v>43028</c:v>
                </c:pt>
                <c:pt idx="904">
                  <c:v>43031</c:v>
                </c:pt>
                <c:pt idx="905">
                  <c:v>43032</c:v>
                </c:pt>
                <c:pt idx="906">
                  <c:v>43033</c:v>
                </c:pt>
                <c:pt idx="907">
                  <c:v>43034</c:v>
                </c:pt>
                <c:pt idx="908">
                  <c:v>43035</c:v>
                </c:pt>
                <c:pt idx="909">
                  <c:v>43038</c:v>
                </c:pt>
                <c:pt idx="910">
                  <c:v>43039</c:v>
                </c:pt>
                <c:pt idx="911">
                  <c:v>43040</c:v>
                </c:pt>
                <c:pt idx="912">
                  <c:v>43041</c:v>
                </c:pt>
                <c:pt idx="913">
                  <c:v>43042</c:v>
                </c:pt>
                <c:pt idx="914">
                  <c:v>43045</c:v>
                </c:pt>
                <c:pt idx="915">
                  <c:v>43046</c:v>
                </c:pt>
                <c:pt idx="916">
                  <c:v>43047</c:v>
                </c:pt>
                <c:pt idx="917">
                  <c:v>43048</c:v>
                </c:pt>
                <c:pt idx="918">
                  <c:v>43049</c:v>
                </c:pt>
                <c:pt idx="919">
                  <c:v>43052</c:v>
                </c:pt>
                <c:pt idx="920">
                  <c:v>43053</c:v>
                </c:pt>
                <c:pt idx="921">
                  <c:v>43054</c:v>
                </c:pt>
                <c:pt idx="922">
                  <c:v>43055</c:v>
                </c:pt>
                <c:pt idx="923">
                  <c:v>43056</c:v>
                </c:pt>
                <c:pt idx="924">
                  <c:v>43059</c:v>
                </c:pt>
                <c:pt idx="925">
                  <c:v>43060</c:v>
                </c:pt>
                <c:pt idx="926">
                  <c:v>43061</c:v>
                </c:pt>
                <c:pt idx="927">
                  <c:v>43062</c:v>
                </c:pt>
                <c:pt idx="928">
                  <c:v>43063</c:v>
                </c:pt>
                <c:pt idx="929">
                  <c:v>43066</c:v>
                </c:pt>
                <c:pt idx="930">
                  <c:v>43067</c:v>
                </c:pt>
                <c:pt idx="931">
                  <c:v>43068</c:v>
                </c:pt>
                <c:pt idx="932">
                  <c:v>43069</c:v>
                </c:pt>
                <c:pt idx="933">
                  <c:v>43070</c:v>
                </c:pt>
                <c:pt idx="934">
                  <c:v>43073</c:v>
                </c:pt>
                <c:pt idx="935">
                  <c:v>43074</c:v>
                </c:pt>
                <c:pt idx="936">
                  <c:v>43075</c:v>
                </c:pt>
                <c:pt idx="937">
                  <c:v>43076</c:v>
                </c:pt>
                <c:pt idx="938">
                  <c:v>43077</c:v>
                </c:pt>
                <c:pt idx="939">
                  <c:v>43080</c:v>
                </c:pt>
                <c:pt idx="940">
                  <c:v>43081</c:v>
                </c:pt>
                <c:pt idx="941">
                  <c:v>43082</c:v>
                </c:pt>
                <c:pt idx="942">
                  <c:v>43083</c:v>
                </c:pt>
                <c:pt idx="943">
                  <c:v>43084</c:v>
                </c:pt>
                <c:pt idx="944">
                  <c:v>43087</c:v>
                </c:pt>
                <c:pt idx="945">
                  <c:v>43088</c:v>
                </c:pt>
                <c:pt idx="946">
                  <c:v>43089</c:v>
                </c:pt>
                <c:pt idx="947">
                  <c:v>43090</c:v>
                </c:pt>
                <c:pt idx="948">
                  <c:v>43091</c:v>
                </c:pt>
                <c:pt idx="949">
                  <c:v>43094</c:v>
                </c:pt>
                <c:pt idx="950">
                  <c:v>43095</c:v>
                </c:pt>
                <c:pt idx="951">
                  <c:v>43096</c:v>
                </c:pt>
                <c:pt idx="952">
                  <c:v>43097</c:v>
                </c:pt>
                <c:pt idx="953">
                  <c:v>43098</c:v>
                </c:pt>
                <c:pt idx="954">
                  <c:v>43102</c:v>
                </c:pt>
                <c:pt idx="955">
                  <c:v>43103</c:v>
                </c:pt>
                <c:pt idx="956">
                  <c:v>43104</c:v>
                </c:pt>
                <c:pt idx="957">
                  <c:v>43105</c:v>
                </c:pt>
                <c:pt idx="958">
                  <c:v>43108</c:v>
                </c:pt>
                <c:pt idx="959">
                  <c:v>43109</c:v>
                </c:pt>
                <c:pt idx="960">
                  <c:v>43110</c:v>
                </c:pt>
                <c:pt idx="961">
                  <c:v>43111</c:v>
                </c:pt>
                <c:pt idx="962">
                  <c:v>43112</c:v>
                </c:pt>
                <c:pt idx="963">
                  <c:v>43115</c:v>
                </c:pt>
                <c:pt idx="964">
                  <c:v>43116</c:v>
                </c:pt>
                <c:pt idx="965">
                  <c:v>43117</c:v>
                </c:pt>
                <c:pt idx="966">
                  <c:v>43118</c:v>
                </c:pt>
                <c:pt idx="967">
                  <c:v>43119</c:v>
                </c:pt>
                <c:pt idx="968">
                  <c:v>43122</c:v>
                </c:pt>
                <c:pt idx="969">
                  <c:v>43123</c:v>
                </c:pt>
                <c:pt idx="970">
                  <c:v>43124</c:v>
                </c:pt>
                <c:pt idx="971">
                  <c:v>43125</c:v>
                </c:pt>
                <c:pt idx="972">
                  <c:v>43126</c:v>
                </c:pt>
                <c:pt idx="973">
                  <c:v>43129</c:v>
                </c:pt>
                <c:pt idx="974">
                  <c:v>43130</c:v>
                </c:pt>
                <c:pt idx="975">
                  <c:v>43131</c:v>
                </c:pt>
                <c:pt idx="976">
                  <c:v>43132</c:v>
                </c:pt>
                <c:pt idx="977">
                  <c:v>43133</c:v>
                </c:pt>
                <c:pt idx="978">
                  <c:v>43136</c:v>
                </c:pt>
                <c:pt idx="979">
                  <c:v>43137</c:v>
                </c:pt>
                <c:pt idx="980">
                  <c:v>43138</c:v>
                </c:pt>
                <c:pt idx="981">
                  <c:v>43139</c:v>
                </c:pt>
                <c:pt idx="982">
                  <c:v>43140</c:v>
                </c:pt>
                <c:pt idx="983">
                  <c:v>43143</c:v>
                </c:pt>
                <c:pt idx="984">
                  <c:v>43144</c:v>
                </c:pt>
                <c:pt idx="985">
                  <c:v>43145</c:v>
                </c:pt>
                <c:pt idx="986">
                  <c:v>43153</c:v>
                </c:pt>
                <c:pt idx="987">
                  <c:v>43154</c:v>
                </c:pt>
                <c:pt idx="988">
                  <c:v>43157</c:v>
                </c:pt>
                <c:pt idx="989">
                  <c:v>43158</c:v>
                </c:pt>
                <c:pt idx="990">
                  <c:v>43159</c:v>
                </c:pt>
                <c:pt idx="991">
                  <c:v>43160</c:v>
                </c:pt>
                <c:pt idx="992">
                  <c:v>43161</c:v>
                </c:pt>
                <c:pt idx="993">
                  <c:v>43164</c:v>
                </c:pt>
                <c:pt idx="994">
                  <c:v>43165</c:v>
                </c:pt>
                <c:pt idx="995">
                  <c:v>43166</c:v>
                </c:pt>
                <c:pt idx="996">
                  <c:v>43167</c:v>
                </c:pt>
                <c:pt idx="997">
                  <c:v>43168</c:v>
                </c:pt>
                <c:pt idx="998">
                  <c:v>43171</c:v>
                </c:pt>
                <c:pt idx="999">
                  <c:v>43172</c:v>
                </c:pt>
                <c:pt idx="1000">
                  <c:v>43173</c:v>
                </c:pt>
                <c:pt idx="1001">
                  <c:v>43174</c:v>
                </c:pt>
                <c:pt idx="1002">
                  <c:v>43175</c:v>
                </c:pt>
                <c:pt idx="1003">
                  <c:v>43178</c:v>
                </c:pt>
                <c:pt idx="1004">
                  <c:v>43179</c:v>
                </c:pt>
                <c:pt idx="1005">
                  <c:v>43180</c:v>
                </c:pt>
                <c:pt idx="1006">
                  <c:v>43181</c:v>
                </c:pt>
                <c:pt idx="1007">
                  <c:v>43182</c:v>
                </c:pt>
                <c:pt idx="1008">
                  <c:v>43185</c:v>
                </c:pt>
                <c:pt idx="1009">
                  <c:v>43186</c:v>
                </c:pt>
                <c:pt idx="1010">
                  <c:v>43187</c:v>
                </c:pt>
                <c:pt idx="1011">
                  <c:v>43188</c:v>
                </c:pt>
                <c:pt idx="1012">
                  <c:v>43189</c:v>
                </c:pt>
                <c:pt idx="1013">
                  <c:v>43192</c:v>
                </c:pt>
                <c:pt idx="1014">
                  <c:v>43193</c:v>
                </c:pt>
                <c:pt idx="1015">
                  <c:v>43194</c:v>
                </c:pt>
                <c:pt idx="1016">
                  <c:v>43199</c:v>
                </c:pt>
                <c:pt idx="1017">
                  <c:v>43200</c:v>
                </c:pt>
                <c:pt idx="1018">
                  <c:v>43201</c:v>
                </c:pt>
                <c:pt idx="1019">
                  <c:v>43202</c:v>
                </c:pt>
                <c:pt idx="1020">
                  <c:v>43203</c:v>
                </c:pt>
                <c:pt idx="1021">
                  <c:v>43206</c:v>
                </c:pt>
                <c:pt idx="1022">
                  <c:v>43207</c:v>
                </c:pt>
                <c:pt idx="1023">
                  <c:v>43208</c:v>
                </c:pt>
                <c:pt idx="1024">
                  <c:v>43209</c:v>
                </c:pt>
                <c:pt idx="1025">
                  <c:v>43210</c:v>
                </c:pt>
                <c:pt idx="1026">
                  <c:v>43213</c:v>
                </c:pt>
                <c:pt idx="1027">
                  <c:v>43214</c:v>
                </c:pt>
                <c:pt idx="1028">
                  <c:v>43215</c:v>
                </c:pt>
                <c:pt idx="1029">
                  <c:v>43216</c:v>
                </c:pt>
                <c:pt idx="1030">
                  <c:v>43217</c:v>
                </c:pt>
                <c:pt idx="1031">
                  <c:v>43222</c:v>
                </c:pt>
                <c:pt idx="1032">
                  <c:v>43223</c:v>
                </c:pt>
                <c:pt idx="1033">
                  <c:v>43224</c:v>
                </c:pt>
                <c:pt idx="1034">
                  <c:v>43227</c:v>
                </c:pt>
                <c:pt idx="1035">
                  <c:v>43228</c:v>
                </c:pt>
                <c:pt idx="1036">
                  <c:v>43229</c:v>
                </c:pt>
                <c:pt idx="1037">
                  <c:v>43230</c:v>
                </c:pt>
                <c:pt idx="1038">
                  <c:v>43231</c:v>
                </c:pt>
                <c:pt idx="1039">
                  <c:v>43234</c:v>
                </c:pt>
                <c:pt idx="1040">
                  <c:v>43235</c:v>
                </c:pt>
                <c:pt idx="1041">
                  <c:v>43236</c:v>
                </c:pt>
                <c:pt idx="1042">
                  <c:v>43237</c:v>
                </c:pt>
                <c:pt idx="1043">
                  <c:v>43238</c:v>
                </c:pt>
                <c:pt idx="1044">
                  <c:v>43241</c:v>
                </c:pt>
                <c:pt idx="1045">
                  <c:v>43242</c:v>
                </c:pt>
                <c:pt idx="1046">
                  <c:v>43243</c:v>
                </c:pt>
                <c:pt idx="1047">
                  <c:v>43244</c:v>
                </c:pt>
                <c:pt idx="1048">
                  <c:v>43245</c:v>
                </c:pt>
                <c:pt idx="1049">
                  <c:v>43248</c:v>
                </c:pt>
                <c:pt idx="1050">
                  <c:v>43249</c:v>
                </c:pt>
                <c:pt idx="1051">
                  <c:v>43250</c:v>
                </c:pt>
                <c:pt idx="1052">
                  <c:v>43251</c:v>
                </c:pt>
                <c:pt idx="1053">
                  <c:v>43252</c:v>
                </c:pt>
                <c:pt idx="1054">
                  <c:v>43255</c:v>
                </c:pt>
                <c:pt idx="1055">
                  <c:v>43256</c:v>
                </c:pt>
                <c:pt idx="1056">
                  <c:v>43257</c:v>
                </c:pt>
                <c:pt idx="1057">
                  <c:v>43258</c:v>
                </c:pt>
                <c:pt idx="1058">
                  <c:v>43259</c:v>
                </c:pt>
                <c:pt idx="1059">
                  <c:v>43262</c:v>
                </c:pt>
                <c:pt idx="1060">
                  <c:v>43263</c:v>
                </c:pt>
                <c:pt idx="1061">
                  <c:v>43264</c:v>
                </c:pt>
                <c:pt idx="1062">
                  <c:v>43265</c:v>
                </c:pt>
                <c:pt idx="1063">
                  <c:v>43266</c:v>
                </c:pt>
                <c:pt idx="1064">
                  <c:v>43270</c:v>
                </c:pt>
                <c:pt idx="1065">
                  <c:v>43271</c:v>
                </c:pt>
                <c:pt idx="1066">
                  <c:v>43272</c:v>
                </c:pt>
                <c:pt idx="1067">
                  <c:v>43273</c:v>
                </c:pt>
                <c:pt idx="1068">
                  <c:v>43276</c:v>
                </c:pt>
                <c:pt idx="1069">
                  <c:v>43277</c:v>
                </c:pt>
                <c:pt idx="1070">
                  <c:v>43278</c:v>
                </c:pt>
                <c:pt idx="1071">
                  <c:v>43279</c:v>
                </c:pt>
                <c:pt idx="1072">
                  <c:v>43280</c:v>
                </c:pt>
                <c:pt idx="1073">
                  <c:v>43283</c:v>
                </c:pt>
                <c:pt idx="1074">
                  <c:v>43284</c:v>
                </c:pt>
                <c:pt idx="1075">
                  <c:v>43285</c:v>
                </c:pt>
                <c:pt idx="1076">
                  <c:v>43286</c:v>
                </c:pt>
                <c:pt idx="1077">
                  <c:v>43287</c:v>
                </c:pt>
                <c:pt idx="1078">
                  <c:v>43290</c:v>
                </c:pt>
                <c:pt idx="1079">
                  <c:v>43291</c:v>
                </c:pt>
                <c:pt idx="1080">
                  <c:v>43292</c:v>
                </c:pt>
                <c:pt idx="1081">
                  <c:v>43293</c:v>
                </c:pt>
                <c:pt idx="1082">
                  <c:v>43294</c:v>
                </c:pt>
                <c:pt idx="1083">
                  <c:v>43297</c:v>
                </c:pt>
                <c:pt idx="1084">
                  <c:v>43298</c:v>
                </c:pt>
                <c:pt idx="1085">
                  <c:v>43299</c:v>
                </c:pt>
                <c:pt idx="1086">
                  <c:v>43300</c:v>
                </c:pt>
                <c:pt idx="1087">
                  <c:v>43301</c:v>
                </c:pt>
                <c:pt idx="1088">
                  <c:v>43304</c:v>
                </c:pt>
                <c:pt idx="1089">
                  <c:v>43305</c:v>
                </c:pt>
                <c:pt idx="1090">
                  <c:v>43306</c:v>
                </c:pt>
                <c:pt idx="1091">
                  <c:v>43307</c:v>
                </c:pt>
                <c:pt idx="1092">
                  <c:v>43308</c:v>
                </c:pt>
                <c:pt idx="1093">
                  <c:v>43311</c:v>
                </c:pt>
                <c:pt idx="1094">
                  <c:v>43312</c:v>
                </c:pt>
                <c:pt idx="1095">
                  <c:v>43313</c:v>
                </c:pt>
                <c:pt idx="1096">
                  <c:v>43314</c:v>
                </c:pt>
                <c:pt idx="1097">
                  <c:v>43315</c:v>
                </c:pt>
                <c:pt idx="1098">
                  <c:v>43318</c:v>
                </c:pt>
                <c:pt idx="1099">
                  <c:v>43319</c:v>
                </c:pt>
                <c:pt idx="1100">
                  <c:v>43320</c:v>
                </c:pt>
                <c:pt idx="1101">
                  <c:v>43321</c:v>
                </c:pt>
                <c:pt idx="1102">
                  <c:v>43322</c:v>
                </c:pt>
                <c:pt idx="1103">
                  <c:v>43325</c:v>
                </c:pt>
                <c:pt idx="1104">
                  <c:v>43326</c:v>
                </c:pt>
                <c:pt idx="1105">
                  <c:v>43327</c:v>
                </c:pt>
                <c:pt idx="1106">
                  <c:v>43328</c:v>
                </c:pt>
                <c:pt idx="1107">
                  <c:v>43329</c:v>
                </c:pt>
                <c:pt idx="1108">
                  <c:v>43332</c:v>
                </c:pt>
                <c:pt idx="1109">
                  <c:v>43333</c:v>
                </c:pt>
                <c:pt idx="1110">
                  <c:v>43334</c:v>
                </c:pt>
                <c:pt idx="1111">
                  <c:v>43335</c:v>
                </c:pt>
                <c:pt idx="1112">
                  <c:v>43336</c:v>
                </c:pt>
                <c:pt idx="1113">
                  <c:v>43339</c:v>
                </c:pt>
                <c:pt idx="1114">
                  <c:v>43340</c:v>
                </c:pt>
                <c:pt idx="1115">
                  <c:v>43341</c:v>
                </c:pt>
                <c:pt idx="1116">
                  <c:v>43342</c:v>
                </c:pt>
                <c:pt idx="1117">
                  <c:v>43343</c:v>
                </c:pt>
                <c:pt idx="1118">
                  <c:v>43346</c:v>
                </c:pt>
                <c:pt idx="1119">
                  <c:v>43347</c:v>
                </c:pt>
                <c:pt idx="1120">
                  <c:v>43348</c:v>
                </c:pt>
                <c:pt idx="1121">
                  <c:v>43349</c:v>
                </c:pt>
                <c:pt idx="1122">
                  <c:v>43350</c:v>
                </c:pt>
                <c:pt idx="1123">
                  <c:v>43353</c:v>
                </c:pt>
                <c:pt idx="1124">
                  <c:v>43354</c:v>
                </c:pt>
                <c:pt idx="1125">
                  <c:v>43355</c:v>
                </c:pt>
                <c:pt idx="1126">
                  <c:v>43356</c:v>
                </c:pt>
                <c:pt idx="1127">
                  <c:v>43357</c:v>
                </c:pt>
                <c:pt idx="1128">
                  <c:v>43360</c:v>
                </c:pt>
                <c:pt idx="1129">
                  <c:v>43361</c:v>
                </c:pt>
                <c:pt idx="1130">
                  <c:v>43362</c:v>
                </c:pt>
                <c:pt idx="1131">
                  <c:v>43363</c:v>
                </c:pt>
                <c:pt idx="1132">
                  <c:v>43364</c:v>
                </c:pt>
                <c:pt idx="1133">
                  <c:v>43368</c:v>
                </c:pt>
                <c:pt idx="1134">
                  <c:v>43369</c:v>
                </c:pt>
                <c:pt idx="1135">
                  <c:v>43370</c:v>
                </c:pt>
                <c:pt idx="1136">
                  <c:v>43371</c:v>
                </c:pt>
                <c:pt idx="1137">
                  <c:v>43381</c:v>
                </c:pt>
                <c:pt idx="1138">
                  <c:v>43382</c:v>
                </c:pt>
                <c:pt idx="1139">
                  <c:v>43383</c:v>
                </c:pt>
                <c:pt idx="1140">
                  <c:v>43384</c:v>
                </c:pt>
                <c:pt idx="1141">
                  <c:v>43385</c:v>
                </c:pt>
                <c:pt idx="1142">
                  <c:v>43388</c:v>
                </c:pt>
                <c:pt idx="1143">
                  <c:v>43389</c:v>
                </c:pt>
                <c:pt idx="1144">
                  <c:v>43390</c:v>
                </c:pt>
                <c:pt idx="1145">
                  <c:v>43391</c:v>
                </c:pt>
                <c:pt idx="1146">
                  <c:v>43392</c:v>
                </c:pt>
                <c:pt idx="1147">
                  <c:v>43395</c:v>
                </c:pt>
                <c:pt idx="1148">
                  <c:v>43396</c:v>
                </c:pt>
                <c:pt idx="1149">
                  <c:v>43397</c:v>
                </c:pt>
                <c:pt idx="1150">
                  <c:v>43398</c:v>
                </c:pt>
                <c:pt idx="1151">
                  <c:v>43399</c:v>
                </c:pt>
                <c:pt idx="1152">
                  <c:v>43402</c:v>
                </c:pt>
                <c:pt idx="1153">
                  <c:v>43403</c:v>
                </c:pt>
                <c:pt idx="1154">
                  <c:v>43404</c:v>
                </c:pt>
                <c:pt idx="1155">
                  <c:v>43405</c:v>
                </c:pt>
                <c:pt idx="1156">
                  <c:v>43406</c:v>
                </c:pt>
                <c:pt idx="1157">
                  <c:v>43409</c:v>
                </c:pt>
                <c:pt idx="1158">
                  <c:v>43410</c:v>
                </c:pt>
                <c:pt idx="1159">
                  <c:v>43411</c:v>
                </c:pt>
                <c:pt idx="1160">
                  <c:v>43412</c:v>
                </c:pt>
                <c:pt idx="1161">
                  <c:v>43413</c:v>
                </c:pt>
                <c:pt idx="1162">
                  <c:v>43416</c:v>
                </c:pt>
                <c:pt idx="1163">
                  <c:v>43417</c:v>
                </c:pt>
                <c:pt idx="1164">
                  <c:v>43418</c:v>
                </c:pt>
                <c:pt idx="1165">
                  <c:v>43419</c:v>
                </c:pt>
                <c:pt idx="1166">
                  <c:v>43420</c:v>
                </c:pt>
                <c:pt idx="1167">
                  <c:v>43423</c:v>
                </c:pt>
                <c:pt idx="1168">
                  <c:v>43424</c:v>
                </c:pt>
                <c:pt idx="1169">
                  <c:v>43425</c:v>
                </c:pt>
                <c:pt idx="1170">
                  <c:v>43426</c:v>
                </c:pt>
                <c:pt idx="1171">
                  <c:v>43427</c:v>
                </c:pt>
                <c:pt idx="1172">
                  <c:v>43430</c:v>
                </c:pt>
                <c:pt idx="1173">
                  <c:v>43431</c:v>
                </c:pt>
                <c:pt idx="1174">
                  <c:v>43432</c:v>
                </c:pt>
                <c:pt idx="1175">
                  <c:v>43433</c:v>
                </c:pt>
                <c:pt idx="1176">
                  <c:v>43434</c:v>
                </c:pt>
                <c:pt idx="1177">
                  <c:v>43437</c:v>
                </c:pt>
                <c:pt idx="1178">
                  <c:v>43438</c:v>
                </c:pt>
                <c:pt idx="1179">
                  <c:v>43439</c:v>
                </c:pt>
                <c:pt idx="1180">
                  <c:v>43440</c:v>
                </c:pt>
                <c:pt idx="1181">
                  <c:v>43441</c:v>
                </c:pt>
                <c:pt idx="1182">
                  <c:v>43444</c:v>
                </c:pt>
                <c:pt idx="1183">
                  <c:v>43445</c:v>
                </c:pt>
                <c:pt idx="1184">
                  <c:v>43446</c:v>
                </c:pt>
                <c:pt idx="1185">
                  <c:v>43447</c:v>
                </c:pt>
                <c:pt idx="1186">
                  <c:v>43448</c:v>
                </c:pt>
                <c:pt idx="1187">
                  <c:v>43451</c:v>
                </c:pt>
                <c:pt idx="1188">
                  <c:v>43452</c:v>
                </c:pt>
                <c:pt idx="1189">
                  <c:v>43453</c:v>
                </c:pt>
                <c:pt idx="1190">
                  <c:v>43454</c:v>
                </c:pt>
                <c:pt idx="1191">
                  <c:v>43455</c:v>
                </c:pt>
                <c:pt idx="1192">
                  <c:v>43458</c:v>
                </c:pt>
                <c:pt idx="1193">
                  <c:v>43459</c:v>
                </c:pt>
                <c:pt idx="1194">
                  <c:v>43460</c:v>
                </c:pt>
                <c:pt idx="1195">
                  <c:v>43461</c:v>
                </c:pt>
                <c:pt idx="1196">
                  <c:v>43462</c:v>
                </c:pt>
                <c:pt idx="1197">
                  <c:v>43467</c:v>
                </c:pt>
                <c:pt idx="1198">
                  <c:v>43468</c:v>
                </c:pt>
                <c:pt idx="1199">
                  <c:v>43469</c:v>
                </c:pt>
                <c:pt idx="1200">
                  <c:v>43472</c:v>
                </c:pt>
                <c:pt idx="1201">
                  <c:v>43473</c:v>
                </c:pt>
                <c:pt idx="1202">
                  <c:v>43474</c:v>
                </c:pt>
                <c:pt idx="1203">
                  <c:v>43475</c:v>
                </c:pt>
                <c:pt idx="1204">
                  <c:v>43476</c:v>
                </c:pt>
                <c:pt idx="1205">
                  <c:v>43479</c:v>
                </c:pt>
                <c:pt idx="1206">
                  <c:v>43480</c:v>
                </c:pt>
                <c:pt idx="1207">
                  <c:v>43481</c:v>
                </c:pt>
                <c:pt idx="1208">
                  <c:v>43482</c:v>
                </c:pt>
                <c:pt idx="1209">
                  <c:v>43483</c:v>
                </c:pt>
                <c:pt idx="1210">
                  <c:v>43486</c:v>
                </c:pt>
                <c:pt idx="1211">
                  <c:v>43487</c:v>
                </c:pt>
                <c:pt idx="1212">
                  <c:v>43488</c:v>
                </c:pt>
                <c:pt idx="1213">
                  <c:v>43489</c:v>
                </c:pt>
                <c:pt idx="1214">
                  <c:v>43490</c:v>
                </c:pt>
                <c:pt idx="1215">
                  <c:v>43493</c:v>
                </c:pt>
                <c:pt idx="1216">
                  <c:v>43494</c:v>
                </c:pt>
                <c:pt idx="1217">
                  <c:v>43495</c:v>
                </c:pt>
                <c:pt idx="1218">
                  <c:v>43496</c:v>
                </c:pt>
                <c:pt idx="1219">
                  <c:v>43497</c:v>
                </c:pt>
                <c:pt idx="1220">
                  <c:v>43507</c:v>
                </c:pt>
                <c:pt idx="1221">
                  <c:v>43508</c:v>
                </c:pt>
                <c:pt idx="1222">
                  <c:v>43509</c:v>
                </c:pt>
                <c:pt idx="1223">
                  <c:v>43510</c:v>
                </c:pt>
                <c:pt idx="1224">
                  <c:v>43511</c:v>
                </c:pt>
                <c:pt idx="1225">
                  <c:v>43514</c:v>
                </c:pt>
                <c:pt idx="1226">
                  <c:v>43515</c:v>
                </c:pt>
                <c:pt idx="1227">
                  <c:v>43516</c:v>
                </c:pt>
                <c:pt idx="1228">
                  <c:v>43517</c:v>
                </c:pt>
                <c:pt idx="1229">
                  <c:v>43518</c:v>
                </c:pt>
                <c:pt idx="1230">
                  <c:v>43521</c:v>
                </c:pt>
                <c:pt idx="1231">
                  <c:v>43522</c:v>
                </c:pt>
                <c:pt idx="1232">
                  <c:v>43523</c:v>
                </c:pt>
                <c:pt idx="1233">
                  <c:v>43524</c:v>
                </c:pt>
                <c:pt idx="1234">
                  <c:v>43525</c:v>
                </c:pt>
                <c:pt idx="1235">
                  <c:v>43528</c:v>
                </c:pt>
                <c:pt idx="1236">
                  <c:v>43529</c:v>
                </c:pt>
                <c:pt idx="1237">
                  <c:v>43530</c:v>
                </c:pt>
                <c:pt idx="1238">
                  <c:v>43531</c:v>
                </c:pt>
                <c:pt idx="1239">
                  <c:v>43532</c:v>
                </c:pt>
                <c:pt idx="1240">
                  <c:v>43535</c:v>
                </c:pt>
                <c:pt idx="1241">
                  <c:v>43536</c:v>
                </c:pt>
                <c:pt idx="1242">
                  <c:v>43537</c:v>
                </c:pt>
                <c:pt idx="1243">
                  <c:v>43538</c:v>
                </c:pt>
                <c:pt idx="1244">
                  <c:v>43539</c:v>
                </c:pt>
                <c:pt idx="1245">
                  <c:v>43542</c:v>
                </c:pt>
                <c:pt idx="1246">
                  <c:v>43543</c:v>
                </c:pt>
                <c:pt idx="1247">
                  <c:v>43544</c:v>
                </c:pt>
                <c:pt idx="1248">
                  <c:v>43545</c:v>
                </c:pt>
                <c:pt idx="1249">
                  <c:v>43546</c:v>
                </c:pt>
                <c:pt idx="1250">
                  <c:v>43549</c:v>
                </c:pt>
                <c:pt idx="1251">
                  <c:v>43550</c:v>
                </c:pt>
                <c:pt idx="1252">
                  <c:v>43551</c:v>
                </c:pt>
                <c:pt idx="1253">
                  <c:v>43552</c:v>
                </c:pt>
                <c:pt idx="1254">
                  <c:v>43553</c:v>
                </c:pt>
                <c:pt idx="1255">
                  <c:v>43556</c:v>
                </c:pt>
                <c:pt idx="1256">
                  <c:v>43557</c:v>
                </c:pt>
                <c:pt idx="1257">
                  <c:v>43558</c:v>
                </c:pt>
                <c:pt idx="1258">
                  <c:v>43559</c:v>
                </c:pt>
                <c:pt idx="1259">
                  <c:v>43563</c:v>
                </c:pt>
                <c:pt idx="1260">
                  <c:v>43564</c:v>
                </c:pt>
                <c:pt idx="1261">
                  <c:v>43565</c:v>
                </c:pt>
                <c:pt idx="1262">
                  <c:v>43566</c:v>
                </c:pt>
                <c:pt idx="1263">
                  <c:v>43567</c:v>
                </c:pt>
                <c:pt idx="1264">
                  <c:v>43570</c:v>
                </c:pt>
                <c:pt idx="1265">
                  <c:v>43571</c:v>
                </c:pt>
                <c:pt idx="1266">
                  <c:v>43572</c:v>
                </c:pt>
                <c:pt idx="1267">
                  <c:v>43573</c:v>
                </c:pt>
                <c:pt idx="1268">
                  <c:v>43574</c:v>
                </c:pt>
                <c:pt idx="1269">
                  <c:v>43577</c:v>
                </c:pt>
                <c:pt idx="1270">
                  <c:v>43578</c:v>
                </c:pt>
                <c:pt idx="1271">
                  <c:v>43579</c:v>
                </c:pt>
                <c:pt idx="1272">
                  <c:v>43580</c:v>
                </c:pt>
                <c:pt idx="1273">
                  <c:v>43581</c:v>
                </c:pt>
                <c:pt idx="1274">
                  <c:v>43584</c:v>
                </c:pt>
                <c:pt idx="1275">
                  <c:v>43585</c:v>
                </c:pt>
                <c:pt idx="1276">
                  <c:v>43591</c:v>
                </c:pt>
                <c:pt idx="1277">
                  <c:v>43592</c:v>
                </c:pt>
                <c:pt idx="1278">
                  <c:v>43593</c:v>
                </c:pt>
                <c:pt idx="1279">
                  <c:v>43594</c:v>
                </c:pt>
                <c:pt idx="1280">
                  <c:v>43595</c:v>
                </c:pt>
                <c:pt idx="1281">
                  <c:v>43598</c:v>
                </c:pt>
                <c:pt idx="1282">
                  <c:v>43599</c:v>
                </c:pt>
                <c:pt idx="1283">
                  <c:v>43600</c:v>
                </c:pt>
                <c:pt idx="1284">
                  <c:v>43601</c:v>
                </c:pt>
                <c:pt idx="1285">
                  <c:v>43602</c:v>
                </c:pt>
                <c:pt idx="1286">
                  <c:v>43605</c:v>
                </c:pt>
                <c:pt idx="1287">
                  <c:v>43606</c:v>
                </c:pt>
                <c:pt idx="1288">
                  <c:v>43607</c:v>
                </c:pt>
                <c:pt idx="1289">
                  <c:v>43608</c:v>
                </c:pt>
                <c:pt idx="1290">
                  <c:v>43609</c:v>
                </c:pt>
                <c:pt idx="1291">
                  <c:v>43612</c:v>
                </c:pt>
                <c:pt idx="1292">
                  <c:v>43613</c:v>
                </c:pt>
                <c:pt idx="1293">
                  <c:v>43614</c:v>
                </c:pt>
                <c:pt idx="1294">
                  <c:v>43615</c:v>
                </c:pt>
                <c:pt idx="1295">
                  <c:v>43616</c:v>
                </c:pt>
                <c:pt idx="1296">
                  <c:v>43619</c:v>
                </c:pt>
                <c:pt idx="1297">
                  <c:v>43620</c:v>
                </c:pt>
                <c:pt idx="1298">
                  <c:v>43621</c:v>
                </c:pt>
                <c:pt idx="1299">
                  <c:v>43622</c:v>
                </c:pt>
                <c:pt idx="1300">
                  <c:v>43626</c:v>
                </c:pt>
                <c:pt idx="1301">
                  <c:v>43627</c:v>
                </c:pt>
                <c:pt idx="1302">
                  <c:v>43628</c:v>
                </c:pt>
                <c:pt idx="1303">
                  <c:v>43629</c:v>
                </c:pt>
                <c:pt idx="1304">
                  <c:v>43630</c:v>
                </c:pt>
                <c:pt idx="1305">
                  <c:v>43633</c:v>
                </c:pt>
                <c:pt idx="1306">
                  <c:v>43634</c:v>
                </c:pt>
                <c:pt idx="1307">
                  <c:v>43635</c:v>
                </c:pt>
                <c:pt idx="1308">
                  <c:v>43636</c:v>
                </c:pt>
                <c:pt idx="1309">
                  <c:v>43637</c:v>
                </c:pt>
                <c:pt idx="1310">
                  <c:v>43640</c:v>
                </c:pt>
                <c:pt idx="1311">
                  <c:v>43641</c:v>
                </c:pt>
                <c:pt idx="1312">
                  <c:v>43642</c:v>
                </c:pt>
                <c:pt idx="1313">
                  <c:v>43643</c:v>
                </c:pt>
                <c:pt idx="1314">
                  <c:v>43644</c:v>
                </c:pt>
                <c:pt idx="1315">
                  <c:v>43647</c:v>
                </c:pt>
                <c:pt idx="1316">
                  <c:v>43648</c:v>
                </c:pt>
                <c:pt idx="1317">
                  <c:v>43649</c:v>
                </c:pt>
                <c:pt idx="1318">
                  <c:v>43650</c:v>
                </c:pt>
                <c:pt idx="1319">
                  <c:v>43651</c:v>
                </c:pt>
                <c:pt idx="1320">
                  <c:v>43654</c:v>
                </c:pt>
                <c:pt idx="1321">
                  <c:v>43655</c:v>
                </c:pt>
                <c:pt idx="1322">
                  <c:v>43656</c:v>
                </c:pt>
                <c:pt idx="1323">
                  <c:v>43657</c:v>
                </c:pt>
                <c:pt idx="1324">
                  <c:v>43658</c:v>
                </c:pt>
                <c:pt idx="1325">
                  <c:v>43661</c:v>
                </c:pt>
                <c:pt idx="1326">
                  <c:v>43662</c:v>
                </c:pt>
                <c:pt idx="1327">
                  <c:v>43663</c:v>
                </c:pt>
                <c:pt idx="1328">
                  <c:v>43664</c:v>
                </c:pt>
                <c:pt idx="1329">
                  <c:v>43665</c:v>
                </c:pt>
                <c:pt idx="1330">
                  <c:v>43668</c:v>
                </c:pt>
                <c:pt idx="1331">
                  <c:v>43669</c:v>
                </c:pt>
                <c:pt idx="1332">
                  <c:v>43670</c:v>
                </c:pt>
                <c:pt idx="1333">
                  <c:v>43671</c:v>
                </c:pt>
                <c:pt idx="1334">
                  <c:v>43672</c:v>
                </c:pt>
                <c:pt idx="1335">
                  <c:v>43675</c:v>
                </c:pt>
                <c:pt idx="1336">
                  <c:v>43676</c:v>
                </c:pt>
                <c:pt idx="1337">
                  <c:v>43677</c:v>
                </c:pt>
                <c:pt idx="1338">
                  <c:v>43678</c:v>
                </c:pt>
                <c:pt idx="1339">
                  <c:v>43679</c:v>
                </c:pt>
                <c:pt idx="1340">
                  <c:v>43682</c:v>
                </c:pt>
                <c:pt idx="1341">
                  <c:v>43683</c:v>
                </c:pt>
                <c:pt idx="1342">
                  <c:v>43684</c:v>
                </c:pt>
                <c:pt idx="1343">
                  <c:v>43685</c:v>
                </c:pt>
                <c:pt idx="1344">
                  <c:v>43686</c:v>
                </c:pt>
                <c:pt idx="1345">
                  <c:v>43689</c:v>
                </c:pt>
                <c:pt idx="1346">
                  <c:v>43690</c:v>
                </c:pt>
                <c:pt idx="1347">
                  <c:v>43691</c:v>
                </c:pt>
                <c:pt idx="1348">
                  <c:v>43692</c:v>
                </c:pt>
                <c:pt idx="1349">
                  <c:v>43693</c:v>
                </c:pt>
                <c:pt idx="1350">
                  <c:v>43696</c:v>
                </c:pt>
                <c:pt idx="1351">
                  <c:v>43697</c:v>
                </c:pt>
                <c:pt idx="1352">
                  <c:v>43698</c:v>
                </c:pt>
                <c:pt idx="1353">
                  <c:v>43699</c:v>
                </c:pt>
                <c:pt idx="1354">
                  <c:v>43700</c:v>
                </c:pt>
                <c:pt idx="1355">
                  <c:v>43703</c:v>
                </c:pt>
                <c:pt idx="1356">
                  <c:v>43704</c:v>
                </c:pt>
                <c:pt idx="1357">
                  <c:v>43705</c:v>
                </c:pt>
                <c:pt idx="1358">
                  <c:v>43706</c:v>
                </c:pt>
                <c:pt idx="1359">
                  <c:v>43707</c:v>
                </c:pt>
                <c:pt idx="1360">
                  <c:v>43710</c:v>
                </c:pt>
                <c:pt idx="1361">
                  <c:v>43711</c:v>
                </c:pt>
                <c:pt idx="1362">
                  <c:v>43712</c:v>
                </c:pt>
                <c:pt idx="1363">
                  <c:v>43713</c:v>
                </c:pt>
                <c:pt idx="1364">
                  <c:v>43714</c:v>
                </c:pt>
                <c:pt idx="1365">
                  <c:v>43717</c:v>
                </c:pt>
                <c:pt idx="1366">
                  <c:v>43718</c:v>
                </c:pt>
                <c:pt idx="1367">
                  <c:v>43719</c:v>
                </c:pt>
                <c:pt idx="1368">
                  <c:v>43720</c:v>
                </c:pt>
                <c:pt idx="1369">
                  <c:v>43724</c:v>
                </c:pt>
                <c:pt idx="1370">
                  <c:v>43725</c:v>
                </c:pt>
                <c:pt idx="1371">
                  <c:v>43726</c:v>
                </c:pt>
                <c:pt idx="1372">
                  <c:v>43727</c:v>
                </c:pt>
                <c:pt idx="1373">
                  <c:v>43728</c:v>
                </c:pt>
                <c:pt idx="1374">
                  <c:v>43731</c:v>
                </c:pt>
                <c:pt idx="1375">
                  <c:v>43732</c:v>
                </c:pt>
                <c:pt idx="1376">
                  <c:v>43733</c:v>
                </c:pt>
                <c:pt idx="1377">
                  <c:v>43734</c:v>
                </c:pt>
                <c:pt idx="1378">
                  <c:v>43735</c:v>
                </c:pt>
                <c:pt idx="1379">
                  <c:v>43738</c:v>
                </c:pt>
                <c:pt idx="1380">
                  <c:v>43746</c:v>
                </c:pt>
                <c:pt idx="1381">
                  <c:v>43747</c:v>
                </c:pt>
                <c:pt idx="1382">
                  <c:v>43748</c:v>
                </c:pt>
                <c:pt idx="1383">
                  <c:v>43749</c:v>
                </c:pt>
                <c:pt idx="1384">
                  <c:v>43752</c:v>
                </c:pt>
                <c:pt idx="1385">
                  <c:v>43753</c:v>
                </c:pt>
                <c:pt idx="1386">
                  <c:v>43754</c:v>
                </c:pt>
                <c:pt idx="1387">
                  <c:v>43755</c:v>
                </c:pt>
                <c:pt idx="1388">
                  <c:v>43756</c:v>
                </c:pt>
                <c:pt idx="1389">
                  <c:v>43759</c:v>
                </c:pt>
                <c:pt idx="1390">
                  <c:v>43760</c:v>
                </c:pt>
                <c:pt idx="1391">
                  <c:v>43761</c:v>
                </c:pt>
                <c:pt idx="1392">
                  <c:v>43762</c:v>
                </c:pt>
                <c:pt idx="1393">
                  <c:v>43763</c:v>
                </c:pt>
                <c:pt idx="1394">
                  <c:v>43766</c:v>
                </c:pt>
                <c:pt idx="1395">
                  <c:v>43767</c:v>
                </c:pt>
                <c:pt idx="1396">
                  <c:v>43768</c:v>
                </c:pt>
                <c:pt idx="1397">
                  <c:v>43769</c:v>
                </c:pt>
                <c:pt idx="1398">
                  <c:v>43770</c:v>
                </c:pt>
                <c:pt idx="1399">
                  <c:v>43773</c:v>
                </c:pt>
                <c:pt idx="1400">
                  <c:v>43774</c:v>
                </c:pt>
                <c:pt idx="1401">
                  <c:v>43775</c:v>
                </c:pt>
                <c:pt idx="1402">
                  <c:v>43776</c:v>
                </c:pt>
                <c:pt idx="1403">
                  <c:v>43777</c:v>
                </c:pt>
                <c:pt idx="1404">
                  <c:v>43780</c:v>
                </c:pt>
                <c:pt idx="1405">
                  <c:v>43781</c:v>
                </c:pt>
                <c:pt idx="1406">
                  <c:v>43782</c:v>
                </c:pt>
                <c:pt idx="1407">
                  <c:v>43783</c:v>
                </c:pt>
                <c:pt idx="1408">
                  <c:v>43784</c:v>
                </c:pt>
                <c:pt idx="1409">
                  <c:v>43787</c:v>
                </c:pt>
                <c:pt idx="1410">
                  <c:v>43788</c:v>
                </c:pt>
                <c:pt idx="1411">
                  <c:v>43789</c:v>
                </c:pt>
                <c:pt idx="1412">
                  <c:v>43790</c:v>
                </c:pt>
                <c:pt idx="1413">
                  <c:v>43791</c:v>
                </c:pt>
                <c:pt idx="1414">
                  <c:v>43794</c:v>
                </c:pt>
                <c:pt idx="1415">
                  <c:v>43795</c:v>
                </c:pt>
                <c:pt idx="1416">
                  <c:v>43796</c:v>
                </c:pt>
                <c:pt idx="1417">
                  <c:v>43797</c:v>
                </c:pt>
                <c:pt idx="1418">
                  <c:v>43798</c:v>
                </c:pt>
                <c:pt idx="1419">
                  <c:v>43801</c:v>
                </c:pt>
                <c:pt idx="1420">
                  <c:v>43802</c:v>
                </c:pt>
                <c:pt idx="1421">
                  <c:v>43803</c:v>
                </c:pt>
                <c:pt idx="1422">
                  <c:v>43804</c:v>
                </c:pt>
                <c:pt idx="1423">
                  <c:v>43805</c:v>
                </c:pt>
                <c:pt idx="1424">
                  <c:v>43808</c:v>
                </c:pt>
                <c:pt idx="1425">
                  <c:v>43809</c:v>
                </c:pt>
                <c:pt idx="1426">
                  <c:v>43810</c:v>
                </c:pt>
                <c:pt idx="1427">
                  <c:v>43811</c:v>
                </c:pt>
                <c:pt idx="1428">
                  <c:v>43812</c:v>
                </c:pt>
                <c:pt idx="1429">
                  <c:v>43815</c:v>
                </c:pt>
                <c:pt idx="1430">
                  <c:v>43816</c:v>
                </c:pt>
                <c:pt idx="1431">
                  <c:v>43817</c:v>
                </c:pt>
                <c:pt idx="1432">
                  <c:v>43818</c:v>
                </c:pt>
                <c:pt idx="1433">
                  <c:v>43819</c:v>
                </c:pt>
                <c:pt idx="1434">
                  <c:v>43822</c:v>
                </c:pt>
                <c:pt idx="1435">
                  <c:v>43823</c:v>
                </c:pt>
                <c:pt idx="1436">
                  <c:v>43824</c:v>
                </c:pt>
                <c:pt idx="1437">
                  <c:v>43825</c:v>
                </c:pt>
                <c:pt idx="1438">
                  <c:v>43826</c:v>
                </c:pt>
                <c:pt idx="1439">
                  <c:v>43829</c:v>
                </c:pt>
                <c:pt idx="1440">
                  <c:v>43830</c:v>
                </c:pt>
                <c:pt idx="1441">
                  <c:v>43832</c:v>
                </c:pt>
                <c:pt idx="1442">
                  <c:v>43833</c:v>
                </c:pt>
                <c:pt idx="1443">
                  <c:v>43836</c:v>
                </c:pt>
                <c:pt idx="1444">
                  <c:v>43837</c:v>
                </c:pt>
                <c:pt idx="1445">
                  <c:v>43838</c:v>
                </c:pt>
                <c:pt idx="1446">
                  <c:v>43839</c:v>
                </c:pt>
                <c:pt idx="1447">
                  <c:v>43840</c:v>
                </c:pt>
                <c:pt idx="1448">
                  <c:v>43843</c:v>
                </c:pt>
                <c:pt idx="1449">
                  <c:v>43844</c:v>
                </c:pt>
                <c:pt idx="1450">
                  <c:v>43845</c:v>
                </c:pt>
                <c:pt idx="1451">
                  <c:v>43846</c:v>
                </c:pt>
                <c:pt idx="1452">
                  <c:v>43847</c:v>
                </c:pt>
              </c:numCache>
            </c:numRef>
          </c:cat>
          <c:val>
            <c:numRef>
              <c:f>Sheet1!$C$2:$C$1454</c:f>
              <c:numCache>
                <c:formatCode>0.00</c:formatCode>
                <c:ptCount val="1453"/>
                <c:pt idx="0">
                  <c:v>1000</c:v>
                </c:pt>
                <c:pt idx="1">
                  <c:v>1011.6849042096725</c:v>
                </c:pt>
                <c:pt idx="2">
                  <c:v>996.93992105076404</c:v>
                </c:pt>
                <c:pt idx="3">
                  <c:v>1005.9047171895893</c:v>
                </c:pt>
                <c:pt idx="4">
                  <c:v>1012.5020287704908</c:v>
                </c:pt>
                <c:pt idx="5">
                  <c:v>994.83616784555056</c:v>
                </c:pt>
                <c:pt idx="6">
                  <c:v>1004.8299235818374</c:v>
                </c:pt>
                <c:pt idx="7">
                  <c:v>997.33659260735067</c:v>
                </c:pt>
                <c:pt idx="8">
                  <c:v>987.61832610838007</c:v>
                </c:pt>
                <c:pt idx="9">
                  <c:v>979.21638588134795</c:v>
                </c:pt>
                <c:pt idx="10">
                  <c:v>939.52422024401005</c:v>
                </c:pt>
                <c:pt idx="11">
                  <c:v>947.13108395949803</c:v>
                </c:pt>
                <c:pt idx="12">
                  <c:v>925.51675679304958</c:v>
                </c:pt>
                <c:pt idx="13">
                  <c:v>947.15052345986669</c:v>
                </c:pt>
                <c:pt idx="14">
                  <c:v>956.08150854214841</c:v>
                </c:pt>
                <c:pt idx="15">
                  <c:v>942.01645576409692</c:v>
                </c:pt>
                <c:pt idx="16">
                  <c:v>942.1238066401894</c:v>
                </c:pt>
                <c:pt idx="17">
                  <c:v>946.1279272864125</c:v>
                </c:pt>
                <c:pt idx="18">
                  <c:v>945.76635561957937</c:v>
                </c:pt>
                <c:pt idx="19">
                  <c:v>923.08141005919697</c:v>
                </c:pt>
                <c:pt idx="20">
                  <c:v>930.93474884925536</c:v>
                </c:pt>
                <c:pt idx="21">
                  <c:v>917.07724274385237</c:v>
                </c:pt>
                <c:pt idx="22">
                  <c:v>925.26885782240845</c:v>
                </c:pt>
                <c:pt idx="23">
                  <c:v>917.39992409114757</c:v>
                </c:pt>
                <c:pt idx="24">
                  <c:v>929.66356452229411</c:v>
                </c:pt>
                <c:pt idx="25">
                  <c:v>920.88099835156083</c:v>
                </c:pt>
                <c:pt idx="26">
                  <c:v>908.80825589630331</c:v>
                </c:pt>
                <c:pt idx="27">
                  <c:v>881.44448395371785</c:v>
                </c:pt>
                <c:pt idx="28">
                  <c:v>898.95238189274562</c:v>
                </c:pt>
                <c:pt idx="29">
                  <c:v>901.96038795722393</c:v>
                </c:pt>
                <c:pt idx="30">
                  <c:v>903.39982934424165</c:v>
                </c:pt>
                <c:pt idx="31">
                  <c:v>907.6655388376322</c:v>
                </c:pt>
                <c:pt idx="32">
                  <c:v>889.90200391287772</c:v>
                </c:pt>
                <c:pt idx="33">
                  <c:v>877.03939925190934</c:v>
                </c:pt>
                <c:pt idx="34">
                  <c:v>884.09813713792857</c:v>
                </c:pt>
                <c:pt idx="35">
                  <c:v>896.92440150234495</c:v>
                </c:pt>
                <c:pt idx="36">
                  <c:v>891.2190505115251</c:v>
                </c:pt>
                <c:pt idx="37">
                  <c:v>890.84311740321129</c:v>
                </c:pt>
                <c:pt idx="38">
                  <c:v>909.75128747219446</c:v>
                </c:pt>
                <c:pt idx="39">
                  <c:v>925.75904322182146</c:v>
                </c:pt>
                <c:pt idx="40">
                  <c:v>927.31352309536555</c:v>
                </c:pt>
                <c:pt idx="41">
                  <c:v>929.72337974356765</c:v>
                </c:pt>
                <c:pt idx="42">
                  <c:v>932.90658032355725</c:v>
                </c:pt>
                <c:pt idx="43">
                  <c:v>925.1812429405777</c:v>
                </c:pt>
                <c:pt idx="44">
                  <c:v>916.43607706344301</c:v>
                </c:pt>
                <c:pt idx="45">
                  <c:v>912.72399505856015</c:v>
                </c:pt>
                <c:pt idx="46">
                  <c:v>912.37749616522638</c:v>
                </c:pt>
                <c:pt idx="47">
                  <c:v>915.28468955706171</c:v>
                </c:pt>
                <c:pt idx="48">
                  <c:v>905.33226683404735</c:v>
                </c:pt>
                <c:pt idx="49">
                  <c:v>900.84821329365036</c:v>
                </c:pt>
                <c:pt idx="50">
                  <c:v>897.4090638817944</c:v>
                </c:pt>
                <c:pt idx="51">
                  <c:v>884.21493891142995</c:v>
                </c:pt>
                <c:pt idx="52">
                  <c:v>873.31298312289425</c:v>
                </c:pt>
                <c:pt idx="53">
                  <c:v>856.16827207298206</c:v>
                </c:pt>
                <c:pt idx="54">
                  <c:v>863.15933296596131</c:v>
                </c:pt>
                <c:pt idx="55">
                  <c:v>857.43256215767531</c:v>
                </c:pt>
                <c:pt idx="56">
                  <c:v>869.49030154549746</c:v>
                </c:pt>
                <c:pt idx="57">
                  <c:v>873.86324993116523</c:v>
                </c:pt>
                <c:pt idx="58">
                  <c:v>859.40476357418095</c:v>
                </c:pt>
                <c:pt idx="59">
                  <c:v>855.930476743246</c:v>
                </c:pt>
                <c:pt idx="60">
                  <c:v>859.3963528767905</c:v>
                </c:pt>
                <c:pt idx="61">
                  <c:v>874.41657334559761</c:v>
                </c:pt>
                <c:pt idx="62">
                  <c:v>872.25898452094293</c:v>
                </c:pt>
                <c:pt idx="63">
                  <c:v>873.48112341697515</c:v>
                </c:pt>
                <c:pt idx="64">
                  <c:v>851.25569948065072</c:v>
                </c:pt>
                <c:pt idx="65">
                  <c:v>854.00295724124987</c:v>
                </c:pt>
                <c:pt idx="66">
                  <c:v>845.07755508031516</c:v>
                </c:pt>
                <c:pt idx="67">
                  <c:v>845.4628133477546</c:v>
                </c:pt>
                <c:pt idx="68">
                  <c:v>851.74161843173204</c:v>
                </c:pt>
                <c:pt idx="69">
                  <c:v>857.1314819506232</c:v>
                </c:pt>
                <c:pt idx="70">
                  <c:v>865.30036543242193</c:v>
                </c:pt>
                <c:pt idx="71">
                  <c:v>876.57259179004609</c:v>
                </c:pt>
                <c:pt idx="72">
                  <c:v>870.55499586603548</c:v>
                </c:pt>
                <c:pt idx="73">
                  <c:v>884.88493630186463</c:v>
                </c:pt>
                <c:pt idx="74">
                  <c:v>876.76431248138317</c:v>
                </c:pt>
                <c:pt idx="75">
                  <c:v>884.72278357014181</c:v>
                </c:pt>
                <c:pt idx="76">
                  <c:v>883.34259200289546</c:v>
                </c:pt>
                <c:pt idx="77">
                  <c:v>871.54253469099706</c:v>
                </c:pt>
                <c:pt idx="78">
                  <c:v>885.38503323714929</c:v>
                </c:pt>
                <c:pt idx="79">
                  <c:v>887.89607207759764</c:v>
                </c:pt>
                <c:pt idx="80">
                  <c:v>897.12688517821368</c:v>
                </c:pt>
                <c:pt idx="81">
                  <c:v>905.60269198610149</c:v>
                </c:pt>
                <c:pt idx="82">
                  <c:v>907.37658731140732</c:v>
                </c:pt>
                <c:pt idx="83">
                  <c:v>904.39976424576071</c:v>
                </c:pt>
                <c:pt idx="84">
                  <c:v>914.51405221583161</c:v>
                </c:pt>
                <c:pt idx="85">
                  <c:v>912.37214566567445</c:v>
                </c:pt>
                <c:pt idx="86">
                  <c:v>901.63501866613763</c:v>
                </c:pt>
                <c:pt idx="87">
                  <c:v>902.78705280465829</c:v>
                </c:pt>
                <c:pt idx="88">
                  <c:v>882.72717623326912</c:v>
                </c:pt>
                <c:pt idx="89">
                  <c:v>884.58150018930678</c:v>
                </c:pt>
                <c:pt idx="90">
                  <c:v>890.32295640271184</c:v>
                </c:pt>
                <c:pt idx="91">
                  <c:v>893.19972577131284</c:v>
                </c:pt>
                <c:pt idx="92">
                  <c:v>889.26520803661595</c:v>
                </c:pt>
                <c:pt idx="93">
                  <c:v>896.77053026037049</c:v>
                </c:pt>
                <c:pt idx="94">
                  <c:v>901.78189141289727</c:v>
                </c:pt>
                <c:pt idx="95">
                  <c:v>911.78276318719156</c:v>
                </c:pt>
                <c:pt idx="96">
                  <c:v>1034.7284050324536</c:v>
                </c:pt>
                <c:pt idx="97">
                  <c:v>1036.8157794659312</c:v>
                </c:pt>
                <c:pt idx="98">
                  <c:v>1040.3919556011124</c:v>
                </c:pt>
                <c:pt idx="99">
                  <c:v>1032.3896984688399</c:v>
                </c:pt>
                <c:pt idx="100">
                  <c:v>1023.7384126295062</c:v>
                </c:pt>
                <c:pt idx="101">
                  <c:v>1029.9971374255792</c:v>
                </c:pt>
                <c:pt idx="102">
                  <c:v>1005.1193943816102</c:v>
                </c:pt>
                <c:pt idx="103">
                  <c:v>994.38045446154354</c:v>
                </c:pt>
                <c:pt idx="104">
                  <c:v>999.1461323898601</c:v>
                </c:pt>
                <c:pt idx="105">
                  <c:v>1018.1173127525032</c:v>
                </c:pt>
                <c:pt idx="106">
                  <c:v>1019.2094646109327</c:v>
                </c:pt>
                <c:pt idx="107">
                  <c:v>1004.9133414267812</c:v>
                </c:pt>
                <c:pt idx="108">
                  <c:v>1005.2873184335326</c:v>
                </c:pt>
                <c:pt idx="109">
                  <c:v>1004.8433347520299</c:v>
                </c:pt>
                <c:pt idx="110">
                  <c:v>1009.5145589208455</c:v>
                </c:pt>
                <c:pt idx="111">
                  <c:v>1025.5100252234324</c:v>
                </c:pt>
                <c:pt idx="112">
                  <c:v>1017.1479921736964</c:v>
                </c:pt>
                <c:pt idx="113">
                  <c:v>1019.57350775558</c:v>
                </c:pt>
                <c:pt idx="114">
                  <c:v>1034.6807797681774</c:v>
                </c:pt>
                <c:pt idx="115">
                  <c:v>1064.677529591148</c:v>
                </c:pt>
                <c:pt idx="116">
                  <c:v>1074.7880707433947</c:v>
                </c:pt>
                <c:pt idx="117">
                  <c:v>1076.8612427889971</c:v>
                </c:pt>
                <c:pt idx="118">
                  <c:v>1085.0838611592271</c:v>
                </c:pt>
                <c:pt idx="119">
                  <c:v>1075.9361145097148</c:v>
                </c:pt>
                <c:pt idx="120">
                  <c:v>1090.6554395786748</c:v>
                </c:pt>
                <c:pt idx="121">
                  <c:v>1090.7358405460393</c:v>
                </c:pt>
                <c:pt idx="122">
                  <c:v>1101.3734334844933</c:v>
                </c:pt>
                <c:pt idx="123">
                  <c:v>1085.5837646179061</c:v>
                </c:pt>
                <c:pt idx="124">
                  <c:v>1086.9707395887347</c:v>
                </c:pt>
                <c:pt idx="125">
                  <c:v>1105.8011911078102</c:v>
                </c:pt>
                <c:pt idx="126">
                  <c:v>1104.1550436635912</c:v>
                </c:pt>
                <c:pt idx="127">
                  <c:v>1107.8801851021988</c:v>
                </c:pt>
                <c:pt idx="128">
                  <c:v>1101.0946677617969</c:v>
                </c:pt>
                <c:pt idx="129">
                  <c:v>1108.3987194301847</c:v>
                </c:pt>
                <c:pt idx="130">
                  <c:v>1124.7625797960304</c:v>
                </c:pt>
                <c:pt idx="131">
                  <c:v>1122.4371509609991</c:v>
                </c:pt>
                <c:pt idx="132">
                  <c:v>1123.1377854132777</c:v>
                </c:pt>
                <c:pt idx="133">
                  <c:v>1130.0979248316</c:v>
                </c:pt>
                <c:pt idx="134">
                  <c:v>1134.9604361037962</c:v>
                </c:pt>
                <c:pt idx="135">
                  <c:v>1031.8726167748262</c:v>
                </c:pt>
                <c:pt idx="136">
                  <c:v>1015.0600988356604</c:v>
                </c:pt>
                <c:pt idx="137">
                  <c:v>1015.4849671294387</c:v>
                </c:pt>
                <c:pt idx="138">
                  <c:v>1003.9333346604147</c:v>
                </c:pt>
                <c:pt idx="139">
                  <c:v>1018.6049316135066</c:v>
                </c:pt>
                <c:pt idx="140">
                  <c:v>1032.4708691175356</c:v>
                </c:pt>
                <c:pt idx="141">
                  <c:v>1038.1804072533932</c:v>
                </c:pt>
                <c:pt idx="142">
                  <c:v>1045.7033427288645</c:v>
                </c:pt>
                <c:pt idx="143">
                  <c:v>1043.5342686558358</c:v>
                </c:pt>
                <c:pt idx="144">
                  <c:v>1050.4460256823027</c:v>
                </c:pt>
                <c:pt idx="145">
                  <c:v>1051.8707286314709</c:v>
                </c:pt>
                <c:pt idx="146">
                  <c:v>1051.077756409326</c:v>
                </c:pt>
                <c:pt idx="147">
                  <c:v>1043.6864068227808</c:v>
                </c:pt>
                <c:pt idx="148">
                  <c:v>1054.6083809679926</c:v>
                </c:pt>
                <c:pt idx="149">
                  <c:v>1051.4722312121496</c:v>
                </c:pt>
                <c:pt idx="150">
                  <c:v>1023.616606648211</c:v>
                </c:pt>
                <c:pt idx="151">
                  <c:v>1046.8445002029441</c:v>
                </c:pt>
                <c:pt idx="152">
                  <c:v>1085.2295922938602</c:v>
                </c:pt>
                <c:pt idx="153">
                  <c:v>1087.2169871797523</c:v>
                </c:pt>
                <c:pt idx="154">
                  <c:v>1068.3110254079475</c:v>
                </c:pt>
                <c:pt idx="155">
                  <c:v>1081.1895403561673</c:v>
                </c:pt>
                <c:pt idx="156">
                  <c:v>1091.7971824220235</c:v>
                </c:pt>
                <c:pt idx="157">
                  <c:v>1089.8562586789096</c:v>
                </c:pt>
                <c:pt idx="158">
                  <c:v>1086.8062267987789</c:v>
                </c:pt>
                <c:pt idx="159">
                  <c:v>1083.911381755144</c:v>
                </c:pt>
                <c:pt idx="160">
                  <c:v>1085.5840605564113</c:v>
                </c:pt>
                <c:pt idx="161">
                  <c:v>1102.6358917106597</c:v>
                </c:pt>
                <c:pt idx="162">
                  <c:v>1105.4995633430199</c:v>
                </c:pt>
                <c:pt idx="163">
                  <c:v>1093.9405534711993</c:v>
                </c:pt>
                <c:pt idx="164">
                  <c:v>1098.7627857179612</c:v>
                </c:pt>
                <c:pt idx="165">
                  <c:v>1092.5782212695349</c:v>
                </c:pt>
                <c:pt idx="166">
                  <c:v>1096.468170976759</c:v>
                </c:pt>
                <c:pt idx="167">
                  <c:v>1079.6842270357845</c:v>
                </c:pt>
                <c:pt idx="168">
                  <c:v>1078.3160638288359</c:v>
                </c:pt>
                <c:pt idx="169">
                  <c:v>1082.1334260854978</c:v>
                </c:pt>
                <c:pt idx="170">
                  <c:v>1080.4500078602637</c:v>
                </c:pt>
                <c:pt idx="171">
                  <c:v>1074.9751897220658</c:v>
                </c:pt>
                <c:pt idx="172">
                  <c:v>1062.7450586180523</c:v>
                </c:pt>
                <c:pt idx="173">
                  <c:v>1054.1066159594625</c:v>
                </c:pt>
                <c:pt idx="174">
                  <c:v>1048.3844460751995</c:v>
                </c:pt>
                <c:pt idx="175">
                  <c:v>1065.3473426171186</c:v>
                </c:pt>
                <c:pt idx="176">
                  <c:v>1076.010237961892</c:v>
                </c:pt>
                <c:pt idx="177">
                  <c:v>1074.0918842317831</c:v>
                </c:pt>
                <c:pt idx="178">
                  <c:v>1077.7730595441828</c:v>
                </c:pt>
                <c:pt idx="179">
                  <c:v>1081.2552211153638</c:v>
                </c:pt>
                <c:pt idx="180">
                  <c:v>1084.2419405594078</c:v>
                </c:pt>
                <c:pt idx="181">
                  <c:v>1083.6914457438972</c:v>
                </c:pt>
                <c:pt idx="182">
                  <c:v>1086.1016149587035</c:v>
                </c:pt>
                <c:pt idx="183">
                  <c:v>1080.3078705726027</c:v>
                </c:pt>
                <c:pt idx="184">
                  <c:v>1092.739602040461</c:v>
                </c:pt>
                <c:pt idx="185">
                  <c:v>1071.232772987732</c:v>
                </c:pt>
                <c:pt idx="186">
                  <c:v>1084.1934068693506</c:v>
                </c:pt>
                <c:pt idx="187">
                  <c:v>1071.4760557108846</c:v>
                </c:pt>
                <c:pt idx="188">
                  <c:v>1072.4615482366175</c:v>
                </c:pt>
                <c:pt idx="189">
                  <c:v>1076.1359470767215</c:v>
                </c:pt>
                <c:pt idx="190">
                  <c:v>1072.8035804653739</c:v>
                </c:pt>
                <c:pt idx="191">
                  <c:v>1074.9215027502473</c:v>
                </c:pt>
                <c:pt idx="192">
                  <c:v>1066.824069333039</c:v>
                </c:pt>
                <c:pt idx="193">
                  <c:v>1073.4821287608122</c:v>
                </c:pt>
                <c:pt idx="194">
                  <c:v>1082.7269664623227</c:v>
                </c:pt>
                <c:pt idx="195">
                  <c:v>1099.1816690951252</c:v>
                </c:pt>
                <c:pt idx="196">
                  <c:v>1106.8573294335899</c:v>
                </c:pt>
                <c:pt idx="197">
                  <c:v>1106.637664081042</c:v>
                </c:pt>
                <c:pt idx="198">
                  <c:v>1112.2705871029605</c:v>
                </c:pt>
                <c:pt idx="199">
                  <c:v>1122.4684076665499</c:v>
                </c:pt>
                <c:pt idx="200">
                  <c:v>1139.3632491285728</c:v>
                </c:pt>
                <c:pt idx="201">
                  <c:v>1166.2942404800003</c:v>
                </c:pt>
                <c:pt idx="202">
                  <c:v>1196.1113832289668</c:v>
                </c:pt>
                <c:pt idx="203">
                  <c:v>1170.6083965380776</c:v>
                </c:pt>
                <c:pt idx="204">
                  <c:v>1175.5041470287283</c:v>
                </c:pt>
                <c:pt idx="205">
                  <c:v>1149.822232415695</c:v>
                </c:pt>
                <c:pt idx="206">
                  <c:v>1190.0301211957701</c:v>
                </c:pt>
                <c:pt idx="207">
                  <c:v>1183.2770291952711</c:v>
                </c:pt>
                <c:pt idx="208">
                  <c:v>1200.553894714096</c:v>
                </c:pt>
                <c:pt idx="209">
                  <c:v>1238.7007434582717</c:v>
                </c:pt>
                <c:pt idx="210">
                  <c:v>1233.4347995546755</c:v>
                </c:pt>
                <c:pt idx="211">
                  <c:v>1212.6598951060564</c:v>
                </c:pt>
                <c:pt idx="212">
                  <c:v>1226.5294547583803</c:v>
                </c:pt>
                <c:pt idx="213">
                  <c:v>1234.8196817744779</c:v>
                </c:pt>
                <c:pt idx="214">
                  <c:v>1215.466795304096</c:v>
                </c:pt>
                <c:pt idx="215">
                  <c:v>1192.1320897457124</c:v>
                </c:pt>
                <c:pt idx="216">
                  <c:v>1196.3456031017711</c:v>
                </c:pt>
                <c:pt idx="217">
                  <c:v>1227.9370185993776</c:v>
                </c:pt>
                <c:pt idx="218">
                  <c:v>1245.1941261468528</c:v>
                </c:pt>
                <c:pt idx="219">
                  <c:v>1242.7545068901129</c:v>
                </c:pt>
                <c:pt idx="220">
                  <c:v>1221.4903854812424</c:v>
                </c:pt>
                <c:pt idx="221">
                  <c:v>1226.2756540919738</c:v>
                </c:pt>
                <c:pt idx="222">
                  <c:v>1272.911773155955</c:v>
                </c:pt>
                <c:pt idx="223">
                  <c:v>1308.8644862590554</c:v>
                </c:pt>
                <c:pt idx="224">
                  <c:v>1309.341080900223</c:v>
                </c:pt>
                <c:pt idx="225">
                  <c:v>1304.8786240927382</c:v>
                </c:pt>
                <c:pt idx="226">
                  <c:v>1292.5671052708926</c:v>
                </c:pt>
                <c:pt idx="227">
                  <c:v>1307.6196502003247</c:v>
                </c:pt>
                <c:pt idx="228">
                  <c:v>1315.8924958253917</c:v>
                </c:pt>
                <c:pt idx="229">
                  <c:v>1289.6264764186778</c:v>
                </c:pt>
                <c:pt idx="230">
                  <c:v>1306.4117790530631</c:v>
                </c:pt>
                <c:pt idx="231">
                  <c:v>1327.985152229121</c:v>
                </c:pt>
                <c:pt idx="232">
                  <c:v>1271.5251516892556</c:v>
                </c:pt>
                <c:pt idx="233">
                  <c:v>1302.7978074217351</c:v>
                </c:pt>
                <c:pt idx="234">
                  <c:v>1337.811315663402</c:v>
                </c:pt>
                <c:pt idx="235">
                  <c:v>1356.3529528169602</c:v>
                </c:pt>
                <c:pt idx="236">
                  <c:v>1328.5026626577753</c:v>
                </c:pt>
                <c:pt idx="237">
                  <c:v>1364.7903597681504</c:v>
                </c:pt>
                <c:pt idx="238">
                  <c:v>1372.1446040232659</c:v>
                </c:pt>
                <c:pt idx="239">
                  <c:v>1350.1902813299132</c:v>
                </c:pt>
                <c:pt idx="240">
                  <c:v>1341.6803026846071</c:v>
                </c:pt>
                <c:pt idx="241">
                  <c:v>1324.7373586020128</c:v>
                </c:pt>
                <c:pt idx="242">
                  <c:v>1319.5346811712132</c:v>
                </c:pt>
                <c:pt idx="243">
                  <c:v>1354.5739683216236</c:v>
                </c:pt>
                <c:pt idx="244">
                  <c:v>1348.7513486626053</c:v>
                </c:pt>
                <c:pt idx="245">
                  <c:v>1331.5490859666756</c:v>
                </c:pt>
                <c:pt idx="246">
                  <c:v>1309.2671795775063</c:v>
                </c:pt>
                <c:pt idx="247">
                  <c:v>1311.3639516571523</c:v>
                </c:pt>
                <c:pt idx="248">
                  <c:v>1337.1134739235274</c:v>
                </c:pt>
                <c:pt idx="249">
                  <c:v>1339.6516247528666</c:v>
                </c:pt>
                <c:pt idx="250">
                  <c:v>1349.2030108376223</c:v>
                </c:pt>
                <c:pt idx="251">
                  <c:v>1362.6094823810574</c:v>
                </c:pt>
                <c:pt idx="252">
                  <c:v>1393.8577591746125</c:v>
                </c:pt>
                <c:pt idx="253">
                  <c:v>1407.5343491358042</c:v>
                </c:pt>
                <c:pt idx="254">
                  <c:v>1394.2112711384427</c:v>
                </c:pt>
                <c:pt idx="255">
                  <c:v>1413.4516357663849</c:v>
                </c:pt>
                <c:pt idx="256">
                  <c:v>1416.0677429692894</c:v>
                </c:pt>
                <c:pt idx="257">
                  <c:v>1430.8546349492208</c:v>
                </c:pt>
                <c:pt idx="258">
                  <c:v>1412.1847417560921</c:v>
                </c:pt>
                <c:pt idx="259">
                  <c:v>1431.045218109118</c:v>
                </c:pt>
                <c:pt idx="260">
                  <c:v>1447.0426711357825</c:v>
                </c:pt>
                <c:pt idx="261">
                  <c:v>1419.6494631885853</c:v>
                </c:pt>
                <c:pt idx="262">
                  <c:v>1428.7828539922189</c:v>
                </c:pt>
                <c:pt idx="263">
                  <c:v>1431.6440811661612</c:v>
                </c:pt>
                <c:pt idx="264">
                  <c:v>1443.2917490860264</c:v>
                </c:pt>
                <c:pt idx="265">
                  <c:v>1429.9723517631146</c:v>
                </c:pt>
                <c:pt idx="266">
                  <c:v>1439.1352163301358</c:v>
                </c:pt>
                <c:pt idx="267">
                  <c:v>1469.4325021034583</c:v>
                </c:pt>
                <c:pt idx="268">
                  <c:v>1475.2174086386465</c:v>
                </c:pt>
                <c:pt idx="269">
                  <c:v>1507.6413607358236</c:v>
                </c:pt>
                <c:pt idx="270">
                  <c:v>1512.8828225786704</c:v>
                </c:pt>
                <c:pt idx="271">
                  <c:v>1517.679097919631</c:v>
                </c:pt>
                <c:pt idx="272">
                  <c:v>1539.7772208939252</c:v>
                </c:pt>
                <c:pt idx="273">
                  <c:v>1529.3422294778356</c:v>
                </c:pt>
                <c:pt idx="274">
                  <c:v>1545.3786768645796</c:v>
                </c:pt>
                <c:pt idx="275">
                  <c:v>1551.7607808141006</c:v>
                </c:pt>
                <c:pt idx="276">
                  <c:v>1546.0114268579268</c:v>
                </c:pt>
                <c:pt idx="277">
                  <c:v>1575.8960549865326</c:v>
                </c:pt>
                <c:pt idx="278">
                  <c:v>1586.3448220056114</c:v>
                </c:pt>
                <c:pt idx="279">
                  <c:v>1640.3988436639227</c:v>
                </c:pt>
                <c:pt idx="280">
                  <c:v>1662.2728655084134</c:v>
                </c:pt>
                <c:pt idx="281">
                  <c:v>1664.913882681559</c:v>
                </c:pt>
                <c:pt idx="282">
                  <c:v>1685.5308149033469</c:v>
                </c:pt>
                <c:pt idx="283">
                  <c:v>1663.9803341965944</c:v>
                </c:pt>
                <c:pt idx="284">
                  <c:v>1629.3180281829038</c:v>
                </c:pt>
                <c:pt idx="285">
                  <c:v>1665.3305348612585</c:v>
                </c:pt>
                <c:pt idx="286">
                  <c:v>1752.7035991034484</c:v>
                </c:pt>
                <c:pt idx="287">
                  <c:v>1744.2055760322071</c:v>
                </c:pt>
                <c:pt idx="288">
                  <c:v>1695.0003247034863</c:v>
                </c:pt>
                <c:pt idx="289">
                  <c:v>1740.5064919712056</c:v>
                </c:pt>
                <c:pt idx="290">
                  <c:v>1781.0687660199562</c:v>
                </c:pt>
                <c:pt idx="291">
                  <c:v>1755.2784797515064</c:v>
                </c:pt>
                <c:pt idx="292">
                  <c:v>1828.6158440696493</c:v>
                </c:pt>
                <c:pt idx="293">
                  <c:v>1885.8253009399662</c:v>
                </c:pt>
                <c:pt idx="294">
                  <c:v>1924.1346250139466</c:v>
                </c:pt>
                <c:pt idx="295">
                  <c:v>1929.2973495527478</c:v>
                </c:pt>
                <c:pt idx="296">
                  <c:v>1959.2535544733621</c:v>
                </c:pt>
                <c:pt idx="297">
                  <c:v>1915.3016781427582</c:v>
                </c:pt>
                <c:pt idx="298">
                  <c:v>1969.7658895189254</c:v>
                </c:pt>
                <c:pt idx="299">
                  <c:v>1982.6049573423745</c:v>
                </c:pt>
                <c:pt idx="300">
                  <c:v>1969.7266099775329</c:v>
                </c:pt>
                <c:pt idx="301">
                  <c:v>1920.3357225425966</c:v>
                </c:pt>
                <c:pt idx="302">
                  <c:v>1932.0821022772307</c:v>
                </c:pt>
                <c:pt idx="303">
                  <c:v>1892.3326347430318</c:v>
                </c:pt>
                <c:pt idx="304">
                  <c:v>1957.9438582607106</c:v>
                </c:pt>
                <c:pt idx="305">
                  <c:v>2055.2936069041057</c:v>
                </c:pt>
                <c:pt idx="306">
                  <c:v>2122.1755338363664</c:v>
                </c:pt>
                <c:pt idx="307">
                  <c:v>2117.9866763111354</c:v>
                </c:pt>
                <c:pt idx="308">
                  <c:v>2072.8000638058334</c:v>
                </c:pt>
                <c:pt idx="309">
                  <c:v>2042.9800335600873</c:v>
                </c:pt>
                <c:pt idx="310">
                  <c:v>2040.2742202324891</c:v>
                </c:pt>
                <c:pt idx="311">
                  <c:v>2084.6835601049129</c:v>
                </c:pt>
                <c:pt idx="312">
                  <c:v>2098.5448678793418</c:v>
                </c:pt>
                <c:pt idx="313">
                  <c:v>2189.2180770232317</c:v>
                </c:pt>
                <c:pt idx="314">
                  <c:v>2228.0927381520196</c:v>
                </c:pt>
                <c:pt idx="315">
                  <c:v>2239.9781384457242</c:v>
                </c:pt>
                <c:pt idx="316">
                  <c:v>2363.9433865522637</c:v>
                </c:pt>
                <c:pt idx="317">
                  <c:v>2349.2394089495083</c:v>
                </c:pt>
                <c:pt idx="318">
                  <c:v>2202.7506000385374</c:v>
                </c:pt>
                <c:pt idx="319">
                  <c:v>2211.9422713007912</c:v>
                </c:pt>
                <c:pt idx="320">
                  <c:v>2310.8784405788228</c:v>
                </c:pt>
                <c:pt idx="321">
                  <c:v>2364.410092692166</c:v>
                </c:pt>
                <c:pt idx="322">
                  <c:v>2368.1124861481653</c:v>
                </c:pt>
                <c:pt idx="323">
                  <c:v>2373.8093521764513</c:v>
                </c:pt>
                <c:pt idx="324">
                  <c:v>2349.0216016633267</c:v>
                </c:pt>
                <c:pt idx="325">
                  <c:v>2330.3583525476683</c:v>
                </c:pt>
                <c:pt idx="326">
                  <c:v>2342.3513854513308</c:v>
                </c:pt>
                <c:pt idx="327">
                  <c:v>2380.1586946872985</c:v>
                </c:pt>
                <c:pt idx="328">
                  <c:v>2395.5624728510438</c:v>
                </c:pt>
                <c:pt idx="329">
                  <c:v>2404.6660057525851</c:v>
                </c:pt>
                <c:pt idx="330">
                  <c:v>2306.7532681593384</c:v>
                </c:pt>
                <c:pt idx="331">
                  <c:v>2229.3435803489847</c:v>
                </c:pt>
                <c:pt idx="332">
                  <c:v>2278.5232846946119</c:v>
                </c:pt>
                <c:pt idx="333">
                  <c:v>2160.2258258202319</c:v>
                </c:pt>
                <c:pt idx="334">
                  <c:v>2054.1750625588456</c:v>
                </c:pt>
                <c:pt idx="335">
                  <c:v>2131.5033856293257</c:v>
                </c:pt>
                <c:pt idx="336">
                  <c:v>2159.7914244232798</c:v>
                </c:pt>
                <c:pt idx="337">
                  <c:v>2061.4519815875019</c:v>
                </c:pt>
                <c:pt idx="338">
                  <c:v>1881.6640574062251</c:v>
                </c:pt>
                <c:pt idx="339">
                  <c:v>1781.4957978122141</c:v>
                </c:pt>
                <c:pt idx="340">
                  <c:v>1925.5290168137196</c:v>
                </c:pt>
                <c:pt idx="341">
                  <c:v>1847.5262595510574</c:v>
                </c:pt>
                <c:pt idx="342">
                  <c:v>1767.6689966804292</c:v>
                </c:pt>
                <c:pt idx="343">
                  <c:v>1683.1294467515297</c:v>
                </c:pt>
                <c:pt idx="344">
                  <c:v>1707.6727869626282</c:v>
                </c:pt>
                <c:pt idx="345">
                  <c:v>1603.462671996894</c:v>
                </c:pt>
                <c:pt idx="346">
                  <c:v>1516.9092108974839</c:v>
                </c:pt>
                <c:pt idx="347">
                  <c:v>1644.3531243119576</c:v>
                </c:pt>
                <c:pt idx="348">
                  <c:v>1803.526312061316</c:v>
                </c:pt>
                <c:pt idx="349">
                  <c:v>1926.9080398085985</c:v>
                </c:pt>
                <c:pt idx="350">
                  <c:v>1892.6046617703439</c:v>
                </c:pt>
                <c:pt idx="351">
                  <c:v>1762.8018670992874</c:v>
                </c:pt>
                <c:pt idx="352">
                  <c:v>1813.7939374633395</c:v>
                </c:pt>
                <c:pt idx="353">
                  <c:v>1913.8264416235172</c:v>
                </c:pt>
                <c:pt idx="354">
                  <c:v>1929.4413847168366</c:v>
                </c:pt>
                <c:pt idx="355">
                  <c:v>1960.4102654103881</c:v>
                </c:pt>
                <c:pt idx="356">
                  <c:v>1952.521546942573</c:v>
                </c:pt>
                <c:pt idx="357">
                  <c:v>1984.7486142323178</c:v>
                </c:pt>
                <c:pt idx="358">
                  <c:v>1918.636379194593</c:v>
                </c:pt>
                <c:pt idx="359">
                  <c:v>1739.0732214323477</c:v>
                </c:pt>
                <c:pt idx="360">
                  <c:v>1750.7537813640856</c:v>
                </c:pt>
                <c:pt idx="361">
                  <c:v>1838.4431904606117</c:v>
                </c:pt>
                <c:pt idx="362">
                  <c:v>1747.9139753446798</c:v>
                </c:pt>
                <c:pt idx="363">
                  <c:v>1785.1026079251485</c:v>
                </c:pt>
                <c:pt idx="364">
                  <c:v>1801.0611102129546</c:v>
                </c:pt>
                <c:pt idx="365">
                  <c:v>1852.8019813664409</c:v>
                </c:pt>
                <c:pt idx="366">
                  <c:v>1825.9357146533343</c:v>
                </c:pt>
                <c:pt idx="367">
                  <c:v>1812.8180555031925</c:v>
                </c:pt>
                <c:pt idx="368">
                  <c:v>1842.6035172226013</c:v>
                </c:pt>
                <c:pt idx="369">
                  <c:v>1927.9293087491628</c:v>
                </c:pt>
                <c:pt idx="370">
                  <c:v>1935.9913118427762</c:v>
                </c:pt>
                <c:pt idx="371">
                  <c:v>1897.9915260791677</c:v>
                </c:pt>
                <c:pt idx="372">
                  <c:v>1954.1969246900483</c:v>
                </c:pt>
                <c:pt idx="373">
                  <c:v>1960.5187344626306</c:v>
                </c:pt>
                <c:pt idx="374">
                  <c:v>1943.2102153373723</c:v>
                </c:pt>
                <c:pt idx="375">
                  <c:v>1829.4305099348533</c:v>
                </c:pt>
                <c:pt idx="376">
                  <c:v>1870.2288759776134</c:v>
                </c:pt>
                <c:pt idx="377">
                  <c:v>1791.8632728547113</c:v>
                </c:pt>
                <c:pt idx="378">
                  <c:v>1681.1476232740606</c:v>
                </c:pt>
                <c:pt idx="379">
                  <c:v>1519.512800337541</c:v>
                </c:pt>
                <c:pt idx="380">
                  <c:v>1406.7392204229291</c:v>
                </c:pt>
                <c:pt idx="381">
                  <c:v>1438.1171194794576</c:v>
                </c:pt>
                <c:pt idx="382">
                  <c:v>1518.8428882754147</c:v>
                </c:pt>
                <c:pt idx="383">
                  <c:v>1603.7987635168718</c:v>
                </c:pt>
                <c:pt idx="384">
                  <c:v>1579.5734551726198</c:v>
                </c:pt>
                <c:pt idx="385">
                  <c:v>1533.5590358817319</c:v>
                </c:pt>
                <c:pt idx="386">
                  <c:v>1526.4900449709439</c:v>
                </c:pt>
                <c:pt idx="387">
                  <c:v>1527.1494860389384</c:v>
                </c:pt>
                <c:pt idx="388">
                  <c:v>1600.0184881325958</c:v>
                </c:pt>
                <c:pt idx="389">
                  <c:v>1628.7486369008639</c:v>
                </c:pt>
                <c:pt idx="390">
                  <c:v>1591.8120917266701</c:v>
                </c:pt>
                <c:pt idx="391">
                  <c:v>1585.3290377820238</c:v>
                </c:pt>
                <c:pt idx="392">
                  <c:v>1515.8456106410372</c:v>
                </c:pt>
                <c:pt idx="393">
                  <c:v>1433.8999793801372</c:v>
                </c:pt>
                <c:pt idx="394">
                  <c:v>1546.7349533707111</c:v>
                </c:pt>
                <c:pt idx="395">
                  <c:v>1504.9655855742783</c:v>
                </c:pt>
                <c:pt idx="396">
                  <c:v>1535.2103558612066</c:v>
                </c:pt>
                <c:pt idx="397">
                  <c:v>1584.856848258205</c:v>
                </c:pt>
                <c:pt idx="398">
                  <c:v>1595.9210868032926</c:v>
                </c:pt>
                <c:pt idx="399">
                  <c:v>1579.3801103589983</c:v>
                </c:pt>
                <c:pt idx="400">
                  <c:v>1601.8792474780598</c:v>
                </c:pt>
                <c:pt idx="401">
                  <c:v>1567.9148382431699</c:v>
                </c:pt>
                <c:pt idx="402">
                  <c:v>1590.403356509385</c:v>
                </c:pt>
                <c:pt idx="403">
                  <c:v>1558.8273111107198</c:v>
                </c:pt>
                <c:pt idx="404">
                  <c:v>1552.2835843150424</c:v>
                </c:pt>
                <c:pt idx="405">
                  <c:v>1622.6962121184158</c:v>
                </c:pt>
                <c:pt idx="406">
                  <c:v>1700.229857213136</c:v>
                </c:pt>
                <c:pt idx="407">
                  <c:v>1770.8798067495359</c:v>
                </c:pt>
                <c:pt idx="408">
                  <c:v>1768.8280776669712</c:v>
                </c:pt>
                <c:pt idx="409">
                  <c:v>1751.8776968807606</c:v>
                </c:pt>
                <c:pt idx="410">
                  <c:v>1810.4033044780508</c:v>
                </c:pt>
                <c:pt idx="411">
                  <c:v>1850.0646784347243</c:v>
                </c:pt>
                <c:pt idx="412">
                  <c:v>1865.5285723533045</c:v>
                </c:pt>
                <c:pt idx="413">
                  <c:v>1907.4733699924634</c:v>
                </c:pt>
                <c:pt idx="414">
                  <c:v>1791.8148278341928</c:v>
                </c:pt>
                <c:pt idx="415">
                  <c:v>1868.3030050842294</c:v>
                </c:pt>
                <c:pt idx="416">
                  <c:v>1895.1570215369968</c:v>
                </c:pt>
                <c:pt idx="417">
                  <c:v>1930.3896855496098</c:v>
                </c:pt>
                <c:pt idx="418">
                  <c:v>1955.1313007506758</c:v>
                </c:pt>
                <c:pt idx="419">
                  <c:v>1910.4034735483635</c:v>
                </c:pt>
                <c:pt idx="420">
                  <c:v>1941.7028103926025</c:v>
                </c:pt>
                <c:pt idx="421">
                  <c:v>1933.0263870807503</c:v>
                </c:pt>
                <c:pt idx="422">
                  <c:v>1901.0579018452986</c:v>
                </c:pt>
                <c:pt idx="423">
                  <c:v>1898.166153442558</c:v>
                </c:pt>
                <c:pt idx="424">
                  <c:v>1997.93792572198</c:v>
                </c:pt>
                <c:pt idx="425">
                  <c:v>2001.5508448288981</c:v>
                </c:pt>
                <c:pt idx="426">
                  <c:v>2040.9234017229714</c:v>
                </c:pt>
                <c:pt idx="427">
                  <c:v>2061.4787734868141</c:v>
                </c:pt>
                <c:pt idx="428">
                  <c:v>2036.8695239731187</c:v>
                </c:pt>
                <c:pt idx="429">
                  <c:v>2047.7304479255606</c:v>
                </c:pt>
                <c:pt idx="430">
                  <c:v>2026.8775456127048</c:v>
                </c:pt>
                <c:pt idx="431">
                  <c:v>2015.8706706637206</c:v>
                </c:pt>
                <c:pt idx="432">
                  <c:v>2033.018790665554</c:v>
                </c:pt>
                <c:pt idx="433">
                  <c:v>2004.2065612329047</c:v>
                </c:pt>
                <c:pt idx="434">
                  <c:v>1979.2824916352686</c:v>
                </c:pt>
                <c:pt idx="435">
                  <c:v>2018.5348026592744</c:v>
                </c:pt>
                <c:pt idx="436">
                  <c:v>2022.0580246714567</c:v>
                </c:pt>
                <c:pt idx="437">
                  <c:v>2030.862900622589</c:v>
                </c:pt>
                <c:pt idx="438">
                  <c:v>2033.0113027214925</c:v>
                </c:pt>
                <c:pt idx="439">
                  <c:v>2054.4847557193452</c:v>
                </c:pt>
                <c:pt idx="440">
                  <c:v>2032.6574235911276</c:v>
                </c:pt>
                <c:pt idx="441">
                  <c:v>1926.0438694065806</c:v>
                </c:pt>
                <c:pt idx="442">
                  <c:v>1933.0863284322097</c:v>
                </c:pt>
                <c:pt idx="443">
                  <c:v>1939.7867230081413</c:v>
                </c:pt>
                <c:pt idx="444">
                  <c:v>1975.1409478917385</c:v>
                </c:pt>
                <c:pt idx="445">
                  <c:v>1992.9769158669815</c:v>
                </c:pt>
                <c:pt idx="446">
                  <c:v>1969.9389539522472</c:v>
                </c:pt>
                <c:pt idx="447">
                  <c:v>1990.3715778422682</c:v>
                </c:pt>
                <c:pt idx="448">
                  <c:v>1934.9482734282835</c:v>
                </c:pt>
                <c:pt idx="449">
                  <c:v>1930.4915504160663</c:v>
                </c:pt>
                <c:pt idx="450">
                  <c:v>1940.1274028948501</c:v>
                </c:pt>
                <c:pt idx="451">
                  <c:v>1939.1313548723572</c:v>
                </c:pt>
                <c:pt idx="452">
                  <c:v>1966.7541174173634</c:v>
                </c:pt>
                <c:pt idx="453">
                  <c:v>1974.9418237580544</c:v>
                </c:pt>
                <c:pt idx="454">
                  <c:v>1974.9092759151465</c:v>
                </c:pt>
                <c:pt idx="455">
                  <c:v>2011.6420466211894</c:v>
                </c:pt>
                <c:pt idx="456">
                  <c:v>1986.578770757317</c:v>
                </c:pt>
                <c:pt idx="457">
                  <c:v>2023.9587372691501</c:v>
                </c:pt>
                <c:pt idx="458">
                  <c:v>2028.532388535114</c:v>
                </c:pt>
                <c:pt idx="459">
                  <c:v>2000.4184652250533</c:v>
                </c:pt>
                <c:pt idx="460">
                  <c:v>1996.8617170733357</c:v>
                </c:pt>
                <c:pt idx="461">
                  <c:v>1991.6658894005718</c:v>
                </c:pt>
                <c:pt idx="462">
                  <c:v>1946.8103014040721</c:v>
                </c:pt>
                <c:pt idx="463">
                  <c:v>1969.339781290754</c:v>
                </c:pt>
                <c:pt idx="464">
                  <c:v>1982.8596147555018</c:v>
                </c:pt>
                <c:pt idx="465">
                  <c:v>1948.3474099172381</c:v>
                </c:pt>
                <c:pt idx="466">
                  <c:v>1789.331341627558</c:v>
                </c:pt>
                <c:pt idx="467">
                  <c:v>1784.546126832862</c:v>
                </c:pt>
                <c:pt idx="468">
                  <c:v>1836.4089392107976</c:v>
                </c:pt>
                <c:pt idx="469">
                  <c:v>1696.2320590966247</c:v>
                </c:pt>
                <c:pt idx="470">
                  <c:v>1753.6533075523953</c:v>
                </c:pt>
                <c:pt idx="471">
                  <c:v>1674.0206895024144</c:v>
                </c:pt>
                <c:pt idx="472">
                  <c:v>1705.1950063390232</c:v>
                </c:pt>
                <c:pt idx="473">
                  <c:v>1661.3233635512895</c:v>
                </c:pt>
                <c:pt idx="474">
                  <c:v>1712.0181655285173</c:v>
                </c:pt>
                <c:pt idx="475">
                  <c:v>1647.2672161606247</c:v>
                </c:pt>
                <c:pt idx="476">
                  <c:v>1655.2495479469189</c:v>
                </c:pt>
                <c:pt idx="477">
                  <c:v>1707.8243499548819</c:v>
                </c:pt>
                <c:pt idx="478">
                  <c:v>1682.7628782726924</c:v>
                </c:pt>
                <c:pt idx="479">
                  <c:v>1619.2893757997272</c:v>
                </c:pt>
                <c:pt idx="480">
                  <c:v>1625.1966613183597</c:v>
                </c:pt>
                <c:pt idx="481">
                  <c:v>1632.5186143445721</c:v>
                </c:pt>
                <c:pt idx="482">
                  <c:v>1526.1151225101551</c:v>
                </c:pt>
                <c:pt idx="483">
                  <c:v>1523.800578394277</c:v>
                </c:pt>
                <c:pt idx="484">
                  <c:v>1482.5310176672617</c:v>
                </c:pt>
                <c:pt idx="485">
                  <c:v>1541.404488251183</c:v>
                </c:pt>
                <c:pt idx="486">
                  <c:v>1533.7627153910814</c:v>
                </c:pt>
                <c:pt idx="487">
                  <c:v>1565.8574425998193</c:v>
                </c:pt>
                <c:pt idx="488">
                  <c:v>1573.8023597363328</c:v>
                </c:pt>
                <c:pt idx="489">
                  <c:v>1593.0970738749536</c:v>
                </c:pt>
                <c:pt idx="490">
                  <c:v>1577.5275856432447</c:v>
                </c:pt>
                <c:pt idx="491">
                  <c:v>1575.7099096901766</c:v>
                </c:pt>
                <c:pt idx="492">
                  <c:v>1627.495229324772</c:v>
                </c:pt>
                <c:pt idx="493">
                  <c:v>1634.3075033149803</c:v>
                </c:pt>
                <c:pt idx="494">
                  <c:v>1640.0800089991171</c:v>
                </c:pt>
                <c:pt idx="495">
                  <c:v>1646.9506766287907</c:v>
                </c:pt>
                <c:pt idx="496">
                  <c:v>1673.3072403551657</c:v>
                </c:pt>
                <c:pt idx="497">
                  <c:v>1658.5197478274949</c:v>
                </c:pt>
                <c:pt idx="498">
                  <c:v>1667.8738652236657</c:v>
                </c:pt>
                <c:pt idx="499">
                  <c:v>1559.9670313637907</c:v>
                </c:pt>
                <c:pt idx="500">
                  <c:v>1579.2108177589705</c:v>
                </c:pt>
                <c:pt idx="501">
                  <c:v>1520.6520012972765</c:v>
                </c:pt>
                <c:pt idx="502">
                  <c:v>1551.4773524277684</c:v>
                </c:pt>
                <c:pt idx="503">
                  <c:v>1621.6898278822396</c:v>
                </c:pt>
                <c:pt idx="504">
                  <c:v>1621.2071366198986</c:v>
                </c:pt>
                <c:pt idx="505">
                  <c:v>1618.5655079444853</c:v>
                </c:pt>
                <c:pt idx="506">
                  <c:v>1639.9184268855111</c:v>
                </c:pt>
                <c:pt idx="507">
                  <c:v>1635.7456503976271</c:v>
                </c:pt>
                <c:pt idx="508">
                  <c:v>1608.5769316874505</c:v>
                </c:pt>
                <c:pt idx="509">
                  <c:v>1598.8009038789071</c:v>
                </c:pt>
                <c:pt idx="510">
                  <c:v>1599.0971661247065</c:v>
                </c:pt>
                <c:pt idx="511">
                  <c:v>1641.9955080755076</c:v>
                </c:pt>
                <c:pt idx="512">
                  <c:v>1640.6832668954769</c:v>
                </c:pt>
                <c:pt idx="513">
                  <c:v>1627.7774483332291</c:v>
                </c:pt>
                <c:pt idx="514">
                  <c:v>1673.936681269189</c:v>
                </c:pt>
                <c:pt idx="515">
                  <c:v>1716.577825824199</c:v>
                </c:pt>
                <c:pt idx="516">
                  <c:v>1740.9309764040593</c:v>
                </c:pt>
                <c:pt idx="517">
                  <c:v>1730.5814889644064</c:v>
                </c:pt>
                <c:pt idx="518">
                  <c:v>1750.5950358654529</c:v>
                </c:pt>
                <c:pt idx="519">
                  <c:v>1725.59688778024</c:v>
                </c:pt>
                <c:pt idx="520">
                  <c:v>1728.2652712937715</c:v>
                </c:pt>
                <c:pt idx="521">
                  <c:v>1717.8854417367793</c:v>
                </c:pt>
                <c:pt idx="522">
                  <c:v>1697.3954841986197</c:v>
                </c:pt>
                <c:pt idx="523">
                  <c:v>1742.6103908157345</c:v>
                </c:pt>
                <c:pt idx="524">
                  <c:v>1740.0536902065342</c:v>
                </c:pt>
                <c:pt idx="525">
                  <c:v>1726.3273521050851</c:v>
                </c:pt>
                <c:pt idx="526">
                  <c:v>1754.6554390803162</c:v>
                </c:pt>
                <c:pt idx="527">
                  <c:v>1752.4748173054429</c:v>
                </c:pt>
                <c:pt idx="528">
                  <c:v>1720.5199014170048</c:v>
                </c:pt>
                <c:pt idx="529">
                  <c:v>1715.3655993520279</c:v>
                </c:pt>
                <c:pt idx="530">
                  <c:v>1736.2094655008573</c:v>
                </c:pt>
                <c:pt idx="531">
                  <c:v>1733.2799426786837</c:v>
                </c:pt>
                <c:pt idx="532">
                  <c:v>1754.673668558192</c:v>
                </c:pt>
                <c:pt idx="533">
                  <c:v>1764.2474352129982</c:v>
                </c:pt>
                <c:pt idx="534">
                  <c:v>1767.8547679038807</c:v>
                </c:pt>
                <c:pt idx="535">
                  <c:v>1747.1134397826474</c:v>
                </c:pt>
                <c:pt idx="536">
                  <c:v>1750.2871811897649</c:v>
                </c:pt>
                <c:pt idx="537">
                  <c:v>1689.7301041359231</c:v>
                </c:pt>
                <c:pt idx="538">
                  <c:v>1674.8744414996993</c:v>
                </c:pt>
                <c:pt idx="539">
                  <c:v>1698.3232408283468</c:v>
                </c:pt>
                <c:pt idx="540">
                  <c:v>1699.7832636973806</c:v>
                </c:pt>
                <c:pt idx="541">
                  <c:v>1713.4638439532764</c:v>
                </c:pt>
                <c:pt idx="542">
                  <c:v>1706.1356170242257</c:v>
                </c:pt>
                <c:pt idx="543">
                  <c:v>1692.4833629736647</c:v>
                </c:pt>
                <c:pt idx="544">
                  <c:v>1705.7131054555584</c:v>
                </c:pt>
                <c:pt idx="545">
                  <c:v>1753.0879045524052</c:v>
                </c:pt>
                <c:pt idx="546">
                  <c:v>1739.8016972059133</c:v>
                </c:pt>
                <c:pt idx="547">
                  <c:v>1740.4103304694415</c:v>
                </c:pt>
                <c:pt idx="548">
                  <c:v>1689.2287431824363</c:v>
                </c:pt>
                <c:pt idx="549">
                  <c:v>1652.8607987606274</c:v>
                </c:pt>
                <c:pt idx="550">
                  <c:v>1658.8069591194558</c:v>
                </c:pt>
                <c:pt idx="551">
                  <c:v>1678.1039825780836</c:v>
                </c:pt>
                <c:pt idx="552">
                  <c:v>1674.604106782281</c:v>
                </c:pt>
                <c:pt idx="553">
                  <c:v>1663.0545157121653</c:v>
                </c:pt>
                <c:pt idx="554">
                  <c:v>1682.1323349070565</c:v>
                </c:pt>
                <c:pt idx="555">
                  <c:v>1681.9014525526991</c:v>
                </c:pt>
                <c:pt idx="556">
                  <c:v>1653.685543811343</c:v>
                </c:pt>
                <c:pt idx="557">
                  <c:v>1650.9957793559711</c:v>
                </c:pt>
                <c:pt idx="558">
                  <c:v>1659.3145391312141</c:v>
                </c:pt>
                <c:pt idx="559">
                  <c:v>1667.3634222084456</c:v>
                </c:pt>
                <c:pt idx="560">
                  <c:v>1653.2495977328476</c:v>
                </c:pt>
                <c:pt idx="561">
                  <c:v>1647.6126739530932</c:v>
                </c:pt>
                <c:pt idx="562">
                  <c:v>1661.807922778954</c:v>
                </c:pt>
                <c:pt idx="563">
                  <c:v>1659.089992864702</c:v>
                </c:pt>
                <c:pt idx="564">
                  <c:v>1655.6595376366365</c:v>
                </c:pt>
                <c:pt idx="565">
                  <c:v>1716.8609589499963</c:v>
                </c:pt>
                <c:pt idx="566">
                  <c:v>1749.5392644020626</c:v>
                </c:pt>
                <c:pt idx="567">
                  <c:v>1759.9904754038205</c:v>
                </c:pt>
                <c:pt idx="568">
                  <c:v>1794.1222367192556</c:v>
                </c:pt>
                <c:pt idx="569">
                  <c:v>1802.278817327518</c:v>
                </c:pt>
                <c:pt idx="570">
                  <c:v>1799.7012898771377</c:v>
                </c:pt>
                <c:pt idx="571">
                  <c:v>1778.5512013962561</c:v>
                </c:pt>
                <c:pt idx="572">
                  <c:v>1716.4591354750521</c:v>
                </c:pt>
                <c:pt idx="573">
                  <c:v>1721.9564769449171</c:v>
                </c:pt>
                <c:pt idx="574">
                  <c:v>1763.7175762535214</c:v>
                </c:pt>
                <c:pt idx="575">
                  <c:v>1758.5362549001018</c:v>
                </c:pt>
                <c:pt idx="576">
                  <c:v>1773.0993065550604</c:v>
                </c:pt>
                <c:pt idx="577">
                  <c:v>1772.1267853352472</c:v>
                </c:pt>
                <c:pt idx="578">
                  <c:v>1759.8769773620982</c:v>
                </c:pt>
                <c:pt idx="579">
                  <c:v>1781.4542976023347</c:v>
                </c:pt>
                <c:pt idx="580">
                  <c:v>1767.7128787553593</c:v>
                </c:pt>
                <c:pt idx="581">
                  <c:v>1752.3849034536786</c:v>
                </c:pt>
                <c:pt idx="582">
                  <c:v>1792.9019941901311</c:v>
                </c:pt>
                <c:pt idx="583">
                  <c:v>1802.8619089985798</c:v>
                </c:pt>
                <c:pt idx="584">
                  <c:v>1807.6098487509282</c:v>
                </c:pt>
                <c:pt idx="585">
                  <c:v>1811.5361899379716</c:v>
                </c:pt>
                <c:pt idx="586">
                  <c:v>1818.1790753209748</c:v>
                </c:pt>
                <c:pt idx="587">
                  <c:v>1848.8004653821158</c:v>
                </c:pt>
                <c:pt idx="588">
                  <c:v>1847.0694042519872</c:v>
                </c:pt>
                <c:pt idx="589">
                  <c:v>1861.8188674161281</c:v>
                </c:pt>
                <c:pt idx="590">
                  <c:v>1876.6768339789598</c:v>
                </c:pt>
                <c:pt idx="591">
                  <c:v>1858.7528447654968</c:v>
                </c:pt>
                <c:pt idx="592">
                  <c:v>1867.3053501445827</c:v>
                </c:pt>
                <c:pt idx="593">
                  <c:v>1920.4763372175394</c:v>
                </c:pt>
                <c:pt idx="594">
                  <c:v>1921.7318644240706</c:v>
                </c:pt>
                <c:pt idx="595">
                  <c:v>1908.59462728224</c:v>
                </c:pt>
                <c:pt idx="596">
                  <c:v>1916.5856603433213</c:v>
                </c:pt>
                <c:pt idx="597">
                  <c:v>1923.1977620448165</c:v>
                </c:pt>
                <c:pt idx="598">
                  <c:v>1913.7756635758085</c:v>
                </c:pt>
                <c:pt idx="599">
                  <c:v>1906.7908088308905</c:v>
                </c:pt>
                <c:pt idx="600">
                  <c:v>1925.8950873739445</c:v>
                </c:pt>
                <c:pt idx="601">
                  <c:v>1902.7911587579829</c:v>
                </c:pt>
                <c:pt idx="602">
                  <c:v>1899.218382710432</c:v>
                </c:pt>
                <c:pt idx="603">
                  <c:v>1922.9097448659677</c:v>
                </c:pt>
                <c:pt idx="604">
                  <c:v>1869.3799417257228</c:v>
                </c:pt>
                <c:pt idx="605">
                  <c:v>1891.2436458846366</c:v>
                </c:pt>
                <c:pt idx="606">
                  <c:v>1890.9762527557518</c:v>
                </c:pt>
                <c:pt idx="607">
                  <c:v>1871.1405723112434</c:v>
                </c:pt>
                <c:pt idx="608">
                  <c:v>1878.4304447757809</c:v>
                </c:pt>
                <c:pt idx="609">
                  <c:v>1880.6166959937752</c:v>
                </c:pt>
                <c:pt idx="610">
                  <c:v>1881.1308350790694</c:v>
                </c:pt>
                <c:pt idx="611">
                  <c:v>1887.4606833077626</c:v>
                </c:pt>
                <c:pt idx="612">
                  <c:v>1900.4856957484681</c:v>
                </c:pt>
                <c:pt idx="613">
                  <c:v>1916.2851148739137</c:v>
                </c:pt>
                <c:pt idx="614">
                  <c:v>1902.0928072603415</c:v>
                </c:pt>
                <c:pt idx="615">
                  <c:v>1884.5664227118496</c:v>
                </c:pt>
                <c:pt idx="616">
                  <c:v>1896.1518837507031</c:v>
                </c:pt>
                <c:pt idx="617">
                  <c:v>1940.2946652072283</c:v>
                </c:pt>
                <c:pt idx="618">
                  <c:v>1944.5488037509654</c:v>
                </c:pt>
                <c:pt idx="619">
                  <c:v>1945.8584598763064</c:v>
                </c:pt>
                <c:pt idx="620">
                  <c:v>1931.1560556541597</c:v>
                </c:pt>
                <c:pt idx="621">
                  <c:v>1926.3733818545265</c:v>
                </c:pt>
                <c:pt idx="622">
                  <c:v>1910.7453451971553</c:v>
                </c:pt>
                <c:pt idx="623">
                  <c:v>1910.3024214619204</c:v>
                </c:pt>
                <c:pt idx="624">
                  <c:v>1901.7334076756363</c:v>
                </c:pt>
                <c:pt idx="625">
                  <c:v>1892.1675219697163</c:v>
                </c:pt>
                <c:pt idx="626">
                  <c:v>1897.5626084800022</c:v>
                </c:pt>
                <c:pt idx="627">
                  <c:v>1900.4298616649637</c:v>
                </c:pt>
                <c:pt idx="628">
                  <c:v>1891.685758670272</c:v>
                </c:pt>
                <c:pt idx="629">
                  <c:v>1898.7142330127292</c:v>
                </c:pt>
                <c:pt idx="630">
                  <c:v>1898.088834709273</c:v>
                </c:pt>
                <c:pt idx="631">
                  <c:v>1896.9908020545952</c:v>
                </c:pt>
                <c:pt idx="632">
                  <c:v>1900.7237315633813</c:v>
                </c:pt>
                <c:pt idx="633">
                  <c:v>1914.1803681721055</c:v>
                </c:pt>
                <c:pt idx="634">
                  <c:v>1907.7208399179488</c:v>
                </c:pt>
                <c:pt idx="635">
                  <c:v>1900.8799880142051</c:v>
                </c:pt>
                <c:pt idx="636">
                  <c:v>1888.9052662670169</c:v>
                </c:pt>
                <c:pt idx="637">
                  <c:v>1851.5120223391805</c:v>
                </c:pt>
                <c:pt idx="638">
                  <c:v>1851.5019659735408</c:v>
                </c:pt>
                <c:pt idx="639">
                  <c:v>1835.0672059118403</c:v>
                </c:pt>
                <c:pt idx="640">
                  <c:v>2084.951406388886</c:v>
                </c:pt>
                <c:pt idx="641">
                  <c:v>2084.2303147880107</c:v>
                </c:pt>
                <c:pt idx="642">
                  <c:v>2086.2877149462079</c:v>
                </c:pt>
                <c:pt idx="643">
                  <c:v>2095.9298980892418</c:v>
                </c:pt>
                <c:pt idx="644">
                  <c:v>2101.4626489221141</c:v>
                </c:pt>
                <c:pt idx="645">
                  <c:v>2056.2406143384856</c:v>
                </c:pt>
                <c:pt idx="646">
                  <c:v>2064.4430413919531</c:v>
                </c:pt>
                <c:pt idx="647">
                  <c:v>2067.3047828147983</c:v>
                </c:pt>
                <c:pt idx="648">
                  <c:v>2077.684730841645</c:v>
                </c:pt>
                <c:pt idx="649">
                  <c:v>2090.7976635921946</c:v>
                </c:pt>
                <c:pt idx="650">
                  <c:v>2119.5797855066471</c:v>
                </c:pt>
                <c:pt idx="651">
                  <c:v>2130.2478677047893</c:v>
                </c:pt>
                <c:pt idx="652">
                  <c:v>2127.5662101457374</c:v>
                </c:pt>
                <c:pt idx="653">
                  <c:v>2133.9687308797065</c:v>
                </c:pt>
                <c:pt idx="654">
                  <c:v>2131.4632173916784</c:v>
                </c:pt>
                <c:pt idx="655">
                  <c:v>2123.5963451388538</c:v>
                </c:pt>
                <c:pt idx="656">
                  <c:v>2142.6298253567875</c:v>
                </c:pt>
                <c:pt idx="657">
                  <c:v>2143.8690037280171</c:v>
                </c:pt>
                <c:pt idx="658">
                  <c:v>2141.8510700241959</c:v>
                </c:pt>
                <c:pt idx="659">
                  <c:v>2246.7991398180893</c:v>
                </c:pt>
                <c:pt idx="660">
                  <c:v>2261.6583544239893</c:v>
                </c:pt>
                <c:pt idx="661">
                  <c:v>2259.0587661505683</c:v>
                </c:pt>
                <c:pt idx="662">
                  <c:v>2259.4935215565233</c:v>
                </c:pt>
                <c:pt idx="663">
                  <c:v>2245.653700567671</c:v>
                </c:pt>
                <c:pt idx="664">
                  <c:v>2239.8483829800521</c:v>
                </c:pt>
                <c:pt idx="665">
                  <c:v>2248.9386025675713</c:v>
                </c:pt>
                <c:pt idx="666">
                  <c:v>2274.237982293715</c:v>
                </c:pt>
                <c:pt idx="667">
                  <c:v>2262.6084207988188</c:v>
                </c:pt>
                <c:pt idx="668">
                  <c:v>2263.239344372982</c:v>
                </c:pt>
                <c:pt idx="669">
                  <c:v>2242.7456417421085</c:v>
                </c:pt>
                <c:pt idx="670">
                  <c:v>2233.8414704745373</c:v>
                </c:pt>
                <c:pt idx="671">
                  <c:v>2256.2262863527571</c:v>
                </c:pt>
                <c:pt idx="672">
                  <c:v>2240.5110042924352</c:v>
                </c:pt>
                <c:pt idx="673">
                  <c:v>2261.5816755971541</c:v>
                </c:pt>
                <c:pt idx="674">
                  <c:v>2275.4057725281041</c:v>
                </c:pt>
                <c:pt idx="675">
                  <c:v>2281.1486917290918</c:v>
                </c:pt>
                <c:pt idx="676">
                  <c:v>2272.8284825506439</c:v>
                </c:pt>
                <c:pt idx="677">
                  <c:v>2274.3617237062708</c:v>
                </c:pt>
                <c:pt idx="678">
                  <c:v>2280.7881538896809</c:v>
                </c:pt>
                <c:pt idx="679">
                  <c:v>2268.0788468456203</c:v>
                </c:pt>
                <c:pt idx="680">
                  <c:v>2272.8616726826745</c:v>
                </c:pt>
                <c:pt idx="681">
                  <c:v>2284.1569321326224</c:v>
                </c:pt>
                <c:pt idx="682">
                  <c:v>2293.0632270236802</c:v>
                </c:pt>
                <c:pt idx="683">
                  <c:v>2317.4311643977949</c:v>
                </c:pt>
                <c:pt idx="684">
                  <c:v>2319.2032470531944</c:v>
                </c:pt>
                <c:pt idx="685">
                  <c:v>2342.8852076243052</c:v>
                </c:pt>
                <c:pt idx="686">
                  <c:v>2371.5569378607806</c:v>
                </c:pt>
                <c:pt idx="687">
                  <c:v>2347.5614845104233</c:v>
                </c:pt>
                <c:pt idx="688">
                  <c:v>2359.6975508169967</c:v>
                </c:pt>
                <c:pt idx="689">
                  <c:v>2325.4172696346545</c:v>
                </c:pt>
                <c:pt idx="690">
                  <c:v>2285.1507670906685</c:v>
                </c:pt>
                <c:pt idx="691">
                  <c:v>2298.7689494297156</c:v>
                </c:pt>
                <c:pt idx="692">
                  <c:v>2315.4970188584562</c:v>
                </c:pt>
                <c:pt idx="693">
                  <c:v>2314.8970361156835</c:v>
                </c:pt>
                <c:pt idx="694">
                  <c:v>2321.8873349469695</c:v>
                </c:pt>
                <c:pt idx="695">
                  <c:v>2244.3063674033579</c:v>
                </c:pt>
                <c:pt idx="696">
                  <c:v>2234.3999243119638</c:v>
                </c:pt>
                <c:pt idx="697">
                  <c:v>2213.8916199649511</c:v>
                </c:pt>
                <c:pt idx="698">
                  <c:v>2210.9207761267503</c:v>
                </c:pt>
                <c:pt idx="699">
                  <c:v>2244.0744660107698</c:v>
                </c:pt>
                <c:pt idx="700">
                  <c:v>2222.9536648507246</c:v>
                </c:pt>
                <c:pt idx="701">
                  <c:v>2200.8600363418209</c:v>
                </c:pt>
                <c:pt idx="702">
                  <c:v>2212.7169815986736</c:v>
                </c:pt>
                <c:pt idx="703">
                  <c:v>2204.2266563988246</c:v>
                </c:pt>
                <c:pt idx="704">
                  <c:v>2184.7715654865142</c:v>
                </c:pt>
                <c:pt idx="705">
                  <c:v>2194.0132697320182</c:v>
                </c:pt>
                <c:pt idx="706">
                  <c:v>2194.9940766766385</c:v>
                </c:pt>
                <c:pt idx="707">
                  <c:v>2177.9797210488878</c:v>
                </c:pt>
                <c:pt idx="708">
                  <c:v>2303.5021306689041</c:v>
                </c:pt>
                <c:pt idx="709">
                  <c:v>2324.595564751025</c:v>
                </c:pt>
                <c:pt idx="710">
                  <c:v>2337.9851809903103</c:v>
                </c:pt>
                <c:pt idx="711">
                  <c:v>2375.0285712251266</c:v>
                </c:pt>
                <c:pt idx="712">
                  <c:v>2372.4585688746897</c:v>
                </c:pt>
                <c:pt idx="713">
                  <c:v>2348.7397054478674</c:v>
                </c:pt>
                <c:pt idx="714">
                  <c:v>2348.4623359214861</c:v>
                </c:pt>
                <c:pt idx="715">
                  <c:v>2350.6254861146526</c:v>
                </c:pt>
                <c:pt idx="716">
                  <c:v>2330.8476862591201</c:v>
                </c:pt>
                <c:pt idx="717">
                  <c:v>2306.6228954195449</c:v>
                </c:pt>
                <c:pt idx="718">
                  <c:v>2303.7375201453501</c:v>
                </c:pt>
                <c:pt idx="719">
                  <c:v>2288.3666844055292</c:v>
                </c:pt>
                <c:pt idx="720">
                  <c:v>2312.6368798207559</c:v>
                </c:pt>
                <c:pt idx="721">
                  <c:v>2315.5878327702153</c:v>
                </c:pt>
                <c:pt idx="722">
                  <c:v>2307.1138101035249</c:v>
                </c:pt>
                <c:pt idx="723">
                  <c:v>2327.2096669457942</c:v>
                </c:pt>
                <c:pt idx="724">
                  <c:v>2342.5289728956182</c:v>
                </c:pt>
                <c:pt idx="725">
                  <c:v>2342.9760953350533</c:v>
                </c:pt>
                <c:pt idx="726">
                  <c:v>2355.9379298463796</c:v>
                </c:pt>
                <c:pt idx="727">
                  <c:v>2373.439639666859</c:v>
                </c:pt>
                <c:pt idx="728">
                  <c:v>2374.8139125322282</c:v>
                </c:pt>
                <c:pt idx="729">
                  <c:v>2427.4795341088588</c:v>
                </c:pt>
                <c:pt idx="730">
                  <c:v>2423.0492181675709</c:v>
                </c:pt>
                <c:pt idx="731">
                  <c:v>2438.4810587805473</c:v>
                </c:pt>
                <c:pt idx="732">
                  <c:v>2444.7914902983985</c:v>
                </c:pt>
                <c:pt idx="733">
                  <c:v>2449.3164571673487</c:v>
                </c:pt>
                <c:pt idx="734">
                  <c:v>2709.1309209658471</c:v>
                </c:pt>
                <c:pt idx="735">
                  <c:v>2709.4874521095749</c:v>
                </c:pt>
                <c:pt idx="736">
                  <c:v>2683.4330931776876</c:v>
                </c:pt>
                <c:pt idx="737">
                  <c:v>2727.1878328080325</c:v>
                </c:pt>
                <c:pt idx="738">
                  <c:v>2726.6934550575534</c:v>
                </c:pt>
                <c:pt idx="739">
                  <c:v>2755.9612228428173</c:v>
                </c:pt>
                <c:pt idx="740">
                  <c:v>2772.6094552729642</c:v>
                </c:pt>
                <c:pt idx="741">
                  <c:v>2780.5387391865775</c:v>
                </c:pt>
                <c:pt idx="742">
                  <c:v>2805.2061498893977</c:v>
                </c:pt>
                <c:pt idx="743">
                  <c:v>2786.8641653870573</c:v>
                </c:pt>
                <c:pt idx="744">
                  <c:v>2764.4824420438035</c:v>
                </c:pt>
                <c:pt idx="745">
                  <c:v>2783.4089312263359</c:v>
                </c:pt>
                <c:pt idx="746">
                  <c:v>2781.2401994197298</c:v>
                </c:pt>
                <c:pt idx="747">
                  <c:v>2754.6324832140235</c:v>
                </c:pt>
                <c:pt idx="748">
                  <c:v>2747.5794946006681</c:v>
                </c:pt>
                <c:pt idx="749">
                  <c:v>2787.5302870154183</c:v>
                </c:pt>
                <c:pt idx="750">
                  <c:v>2797.671903493319</c:v>
                </c:pt>
                <c:pt idx="751">
                  <c:v>2795.1867480667183</c:v>
                </c:pt>
                <c:pt idx="752">
                  <c:v>2779.4504240729048</c:v>
                </c:pt>
                <c:pt idx="753">
                  <c:v>2812.3950818794588</c:v>
                </c:pt>
                <c:pt idx="754">
                  <c:v>2815.9705718108557</c:v>
                </c:pt>
                <c:pt idx="755">
                  <c:v>2823.2138808845198</c:v>
                </c:pt>
                <c:pt idx="756">
                  <c:v>2838.8024866160417</c:v>
                </c:pt>
                <c:pt idx="757">
                  <c:v>2833.9616427727242</c:v>
                </c:pt>
                <c:pt idx="758">
                  <c:v>2806.864306609094</c:v>
                </c:pt>
                <c:pt idx="759">
                  <c:v>2806.3721900090864</c:v>
                </c:pt>
                <c:pt idx="760">
                  <c:v>2835.5870065701956</c:v>
                </c:pt>
                <c:pt idx="761">
                  <c:v>2845.2202402870357</c:v>
                </c:pt>
                <c:pt idx="762">
                  <c:v>2871.297358968824</c:v>
                </c:pt>
                <c:pt idx="763">
                  <c:v>2880.2964155117211</c:v>
                </c:pt>
                <c:pt idx="764">
                  <c:v>2871.7102792251949</c:v>
                </c:pt>
                <c:pt idx="765">
                  <c:v>2877.0277790362748</c:v>
                </c:pt>
                <c:pt idx="766">
                  <c:v>2851.9674099957792</c:v>
                </c:pt>
                <c:pt idx="767">
                  <c:v>2817.6130357428533</c:v>
                </c:pt>
                <c:pt idx="768">
                  <c:v>2851.0023502578183</c:v>
                </c:pt>
                <c:pt idx="769">
                  <c:v>2891.8404382867284</c:v>
                </c:pt>
                <c:pt idx="770">
                  <c:v>2914.0804756750199</c:v>
                </c:pt>
                <c:pt idx="771">
                  <c:v>2906.8708100772046</c:v>
                </c:pt>
                <c:pt idx="772">
                  <c:v>2862.124769285364</c:v>
                </c:pt>
                <c:pt idx="773">
                  <c:v>2862.3357188457885</c:v>
                </c:pt>
                <c:pt idx="774">
                  <c:v>2856.5520896093594</c:v>
                </c:pt>
                <c:pt idx="775">
                  <c:v>2869.9942227927759</c:v>
                </c:pt>
                <c:pt idx="776">
                  <c:v>2839.8790686942075</c:v>
                </c:pt>
                <c:pt idx="777">
                  <c:v>2830.5778702484058</c:v>
                </c:pt>
                <c:pt idx="778">
                  <c:v>2859.1669647534118</c:v>
                </c:pt>
                <c:pt idx="779">
                  <c:v>2849.6961117283518</c:v>
                </c:pt>
                <c:pt idx="780">
                  <c:v>2893.2207843081319</c:v>
                </c:pt>
                <c:pt idx="781">
                  <c:v>2881.8592437096008</c:v>
                </c:pt>
                <c:pt idx="782">
                  <c:v>2825.0377205741684</c:v>
                </c:pt>
                <c:pt idx="783">
                  <c:v>2857.9545307195704</c:v>
                </c:pt>
                <c:pt idx="784">
                  <c:v>2878.8626639448589</c:v>
                </c:pt>
                <c:pt idx="785">
                  <c:v>2871.1945028983914</c:v>
                </c:pt>
                <c:pt idx="786">
                  <c:v>2850.294879355456</c:v>
                </c:pt>
                <c:pt idx="787">
                  <c:v>2876.5644412924985</c:v>
                </c:pt>
                <c:pt idx="788">
                  <c:v>2870.4888108271916</c:v>
                </c:pt>
                <c:pt idx="789">
                  <c:v>2871.4370635005448</c:v>
                </c:pt>
                <c:pt idx="790">
                  <c:v>2864.6401663568199</c:v>
                </c:pt>
                <c:pt idx="791">
                  <c:v>2847.9563725145968</c:v>
                </c:pt>
                <c:pt idx="792">
                  <c:v>2850.9678834761598</c:v>
                </c:pt>
                <c:pt idx="793">
                  <c:v>2835.2983138598875</c:v>
                </c:pt>
                <c:pt idx="794">
                  <c:v>2846.0031182872763</c:v>
                </c:pt>
                <c:pt idx="795">
                  <c:v>2847.9531500569788</c:v>
                </c:pt>
                <c:pt idx="796">
                  <c:v>2866.5593730040305</c:v>
                </c:pt>
                <c:pt idx="797">
                  <c:v>2901.2297348941706</c:v>
                </c:pt>
                <c:pt idx="798">
                  <c:v>2885.300654021481</c:v>
                </c:pt>
                <c:pt idx="799">
                  <c:v>2910.5370926252535</c:v>
                </c:pt>
                <c:pt idx="800">
                  <c:v>2931.686695836614</c:v>
                </c:pt>
                <c:pt idx="801">
                  <c:v>2933.2129782059687</c:v>
                </c:pt>
                <c:pt idx="802">
                  <c:v>2951.6947552343108</c:v>
                </c:pt>
                <c:pt idx="803">
                  <c:v>2947.985812412202</c:v>
                </c:pt>
                <c:pt idx="804">
                  <c:v>2919.9926885126747</c:v>
                </c:pt>
                <c:pt idx="805">
                  <c:v>2925.7745059568952</c:v>
                </c:pt>
                <c:pt idx="806">
                  <c:v>2950.9041393737707</c:v>
                </c:pt>
                <c:pt idx="807">
                  <c:v>2964.9992160135644</c:v>
                </c:pt>
                <c:pt idx="808">
                  <c:v>2961.1820465859396</c:v>
                </c:pt>
                <c:pt idx="809">
                  <c:v>2963.343498080721</c:v>
                </c:pt>
                <c:pt idx="810">
                  <c:v>3003.6408412529622</c:v>
                </c:pt>
                <c:pt idx="811">
                  <c:v>3054.553966349134</c:v>
                </c:pt>
                <c:pt idx="812">
                  <c:v>3112.4160174693025</c:v>
                </c:pt>
                <c:pt idx="813">
                  <c:v>3128.7450920721212</c:v>
                </c:pt>
                <c:pt idx="814">
                  <c:v>3129.9075373590349</c:v>
                </c:pt>
                <c:pt idx="815">
                  <c:v>3146.5525006303524</c:v>
                </c:pt>
                <c:pt idx="816">
                  <c:v>3111.1189027005184</c:v>
                </c:pt>
                <c:pt idx="817">
                  <c:v>3110.7327148618469</c:v>
                </c:pt>
                <c:pt idx="818">
                  <c:v>3119.4857375534275</c:v>
                </c:pt>
                <c:pt idx="819">
                  <c:v>3126.3304324070864</c:v>
                </c:pt>
                <c:pt idx="820">
                  <c:v>3119.9915585179274</c:v>
                </c:pt>
                <c:pt idx="821">
                  <c:v>3184.3699725351562</c:v>
                </c:pt>
                <c:pt idx="822">
                  <c:v>3157.2320695052349</c:v>
                </c:pt>
                <c:pt idx="823">
                  <c:v>3219.1827030030413</c:v>
                </c:pt>
                <c:pt idx="824">
                  <c:v>3249.5878392913701</c:v>
                </c:pt>
                <c:pt idx="825">
                  <c:v>3266.0577435504783</c:v>
                </c:pt>
                <c:pt idx="826">
                  <c:v>3207.4727771036773</c:v>
                </c:pt>
                <c:pt idx="827">
                  <c:v>3229.7498034874238</c:v>
                </c:pt>
                <c:pt idx="828">
                  <c:v>3243.1123408249287</c:v>
                </c:pt>
                <c:pt idx="829">
                  <c:v>3211.6840793016663</c:v>
                </c:pt>
                <c:pt idx="830">
                  <c:v>3180.3691412021631</c:v>
                </c:pt>
                <c:pt idx="831">
                  <c:v>3242.4515688704105</c:v>
                </c:pt>
                <c:pt idx="832">
                  <c:v>3235.0261468096901</c:v>
                </c:pt>
                <c:pt idx="833">
                  <c:v>3210.3351315177579</c:v>
                </c:pt>
                <c:pt idx="834">
                  <c:v>3227.6928550917219</c:v>
                </c:pt>
                <c:pt idx="835">
                  <c:v>3240.4414314020046</c:v>
                </c:pt>
                <c:pt idx="836">
                  <c:v>3214.1620125568857</c:v>
                </c:pt>
                <c:pt idx="837">
                  <c:v>3190.0163372791867</c:v>
                </c:pt>
                <c:pt idx="838">
                  <c:v>3212.9830907058795</c:v>
                </c:pt>
                <c:pt idx="839">
                  <c:v>3167.9879912810288</c:v>
                </c:pt>
                <c:pt idx="840">
                  <c:v>3191.6525463691332</c:v>
                </c:pt>
                <c:pt idx="841">
                  <c:v>3249.119342065921</c:v>
                </c:pt>
                <c:pt idx="842">
                  <c:v>3281.5816838576834</c:v>
                </c:pt>
                <c:pt idx="843">
                  <c:v>3278.6556761416837</c:v>
                </c:pt>
                <c:pt idx="844">
                  <c:v>3297.5054021203118</c:v>
                </c:pt>
                <c:pt idx="845">
                  <c:v>3317.063077193658</c:v>
                </c:pt>
                <c:pt idx="846">
                  <c:v>3293.0463112400821</c:v>
                </c:pt>
                <c:pt idx="847">
                  <c:v>3273.6386044212918</c:v>
                </c:pt>
                <c:pt idx="848">
                  <c:v>3304.099050147322</c:v>
                </c:pt>
                <c:pt idx="849">
                  <c:v>3342.3005220602736</c:v>
                </c:pt>
                <c:pt idx="850">
                  <c:v>3354.2851073395532</c:v>
                </c:pt>
                <c:pt idx="851">
                  <c:v>3326.0129539275781</c:v>
                </c:pt>
                <c:pt idx="852">
                  <c:v>3327.6041462065787</c:v>
                </c:pt>
                <c:pt idx="853">
                  <c:v>3287.3713064118415</c:v>
                </c:pt>
                <c:pt idx="854">
                  <c:v>3326.1357761251365</c:v>
                </c:pt>
                <c:pt idx="855">
                  <c:v>3328.293335767969</c:v>
                </c:pt>
                <c:pt idx="856">
                  <c:v>3373.7709924900996</c:v>
                </c:pt>
                <c:pt idx="857">
                  <c:v>3355.3652403391056</c:v>
                </c:pt>
                <c:pt idx="858">
                  <c:v>3293.3307894499353</c:v>
                </c:pt>
                <c:pt idx="859">
                  <c:v>3369.6435331748617</c:v>
                </c:pt>
                <c:pt idx="860">
                  <c:v>3366.827016561208</c:v>
                </c:pt>
                <c:pt idx="861">
                  <c:v>3349.7035702038588</c:v>
                </c:pt>
                <c:pt idx="862">
                  <c:v>3344.2856918621528</c:v>
                </c:pt>
                <c:pt idx="863">
                  <c:v>3342.9176215799425</c:v>
                </c:pt>
                <c:pt idx="864">
                  <c:v>3367.9775761850369</c:v>
                </c:pt>
                <c:pt idx="865">
                  <c:v>3393.282148893245</c:v>
                </c:pt>
                <c:pt idx="866">
                  <c:v>3379.9049783574965</c:v>
                </c:pt>
                <c:pt idx="867">
                  <c:v>3382.078621217855</c:v>
                </c:pt>
                <c:pt idx="868">
                  <c:v>3412.8478601612837</c:v>
                </c:pt>
                <c:pt idx="869">
                  <c:v>3456.4861507453211</c:v>
                </c:pt>
                <c:pt idx="870">
                  <c:v>3444.3087999576919</c:v>
                </c:pt>
                <c:pt idx="871">
                  <c:v>3461.6568124443997</c:v>
                </c:pt>
                <c:pt idx="872">
                  <c:v>3457.4704068452997</c:v>
                </c:pt>
                <c:pt idx="873">
                  <c:v>3470.1762990830453</c:v>
                </c:pt>
                <c:pt idx="874">
                  <c:v>3523.267257207071</c:v>
                </c:pt>
                <c:pt idx="875">
                  <c:v>3515.9529975744422</c:v>
                </c:pt>
                <c:pt idx="876">
                  <c:v>3541.2496849202998</c:v>
                </c:pt>
                <c:pt idx="877">
                  <c:v>3521.3601632531395</c:v>
                </c:pt>
                <c:pt idx="878">
                  <c:v>3560.5376370871236</c:v>
                </c:pt>
                <c:pt idx="879">
                  <c:v>3581.5225836069426</c:v>
                </c:pt>
                <c:pt idx="880">
                  <c:v>3572.8487569552694</c:v>
                </c:pt>
                <c:pt idx="881">
                  <c:v>3616.1773311590118</c:v>
                </c:pt>
                <c:pt idx="882">
                  <c:v>3591.9207929613167</c:v>
                </c:pt>
                <c:pt idx="883">
                  <c:v>3610.3433041410844</c:v>
                </c:pt>
                <c:pt idx="884">
                  <c:v>3668.5201094980907</c:v>
                </c:pt>
                <c:pt idx="885">
                  <c:v>3654.1069368194458</c:v>
                </c:pt>
                <c:pt idx="886">
                  <c:v>3723.2094930533931</c:v>
                </c:pt>
                <c:pt idx="887">
                  <c:v>3692.0022886837814</c:v>
                </c:pt>
                <c:pt idx="888">
                  <c:v>3701.8607114270712</c:v>
                </c:pt>
                <c:pt idx="889">
                  <c:v>3663.0907099110877</c:v>
                </c:pt>
                <c:pt idx="890">
                  <c:v>3663.062304863895</c:v>
                </c:pt>
                <c:pt idx="891">
                  <c:v>3730.0571569691047</c:v>
                </c:pt>
                <c:pt idx="892">
                  <c:v>3769.8018492872552</c:v>
                </c:pt>
                <c:pt idx="893">
                  <c:v>3806.4190587383569</c:v>
                </c:pt>
                <c:pt idx="894">
                  <c:v>3891.8141273554988</c:v>
                </c:pt>
                <c:pt idx="895">
                  <c:v>3895.4886696764752</c:v>
                </c:pt>
                <c:pt idx="896">
                  <c:v>3919.5199987144642</c:v>
                </c:pt>
                <c:pt idx="897">
                  <c:v>3917.1311163613968</c:v>
                </c:pt>
                <c:pt idx="898">
                  <c:v>3928.8623813618105</c:v>
                </c:pt>
                <c:pt idx="899">
                  <c:v>3901.414197028455</c:v>
                </c:pt>
                <c:pt idx="900">
                  <c:v>3945.2938654831382</c:v>
                </c:pt>
                <c:pt idx="901">
                  <c:v>3967.8112846946892</c:v>
                </c:pt>
                <c:pt idx="902">
                  <c:v>3972.0167915112279</c:v>
                </c:pt>
                <c:pt idx="903">
                  <c:v>3975.5725642290386</c:v>
                </c:pt>
                <c:pt idx="904">
                  <c:v>3992.2475251551109</c:v>
                </c:pt>
                <c:pt idx="905">
                  <c:v>4043.4645671491539</c:v>
                </c:pt>
                <c:pt idx="906">
                  <c:v>4102.4520536201562</c:v>
                </c:pt>
                <c:pt idx="907">
                  <c:v>4145.7885932740874</c:v>
                </c:pt>
                <c:pt idx="908">
                  <c:v>4152.9151036326557</c:v>
                </c:pt>
                <c:pt idx="909">
                  <c:v>4138.3968210926259</c:v>
                </c:pt>
                <c:pt idx="910">
                  <c:v>4161.5115146316384</c:v>
                </c:pt>
                <c:pt idx="911">
                  <c:v>4148.6071247970731</c:v>
                </c:pt>
                <c:pt idx="912">
                  <c:v>4136.0730799736129</c:v>
                </c:pt>
                <c:pt idx="913">
                  <c:v>4173.3379138366345</c:v>
                </c:pt>
                <c:pt idx="914">
                  <c:v>4317.0994920001076</c:v>
                </c:pt>
                <c:pt idx="915">
                  <c:v>4311.9839668330496</c:v>
                </c:pt>
                <c:pt idx="916">
                  <c:v>4260.5613976144232</c:v>
                </c:pt>
                <c:pt idx="917">
                  <c:v>4299.0699581691424</c:v>
                </c:pt>
                <c:pt idx="918">
                  <c:v>4365.460338197996</c:v>
                </c:pt>
                <c:pt idx="919">
                  <c:v>4351.7840272009853</c:v>
                </c:pt>
                <c:pt idx="920">
                  <c:v>4265.2117704531656</c:v>
                </c:pt>
                <c:pt idx="921">
                  <c:v>4214.5118335771394</c:v>
                </c:pt>
                <c:pt idx="922">
                  <c:v>4279.1384845338871</c:v>
                </c:pt>
                <c:pt idx="923">
                  <c:v>4241.7141670789333</c:v>
                </c:pt>
                <c:pt idx="924">
                  <c:v>4358.1522078764401</c:v>
                </c:pt>
                <c:pt idx="925">
                  <c:v>4486.6860537886178</c:v>
                </c:pt>
                <c:pt idx="926">
                  <c:v>4448.1646291345878</c:v>
                </c:pt>
                <c:pt idx="927">
                  <c:v>4237.5032277867658</c:v>
                </c:pt>
                <c:pt idx="928">
                  <c:v>4255.5967754372805</c:v>
                </c:pt>
                <c:pt idx="929">
                  <c:v>4136.4404495062199</c:v>
                </c:pt>
                <c:pt idx="930">
                  <c:v>4220.5884979828406</c:v>
                </c:pt>
                <c:pt idx="931">
                  <c:v>4192.2318736388415</c:v>
                </c:pt>
                <c:pt idx="932">
                  <c:v>4143.1670117283711</c:v>
                </c:pt>
                <c:pt idx="933">
                  <c:v>4189.5503486106163</c:v>
                </c:pt>
                <c:pt idx="934">
                  <c:v>4228.0742566922581</c:v>
                </c:pt>
                <c:pt idx="935">
                  <c:v>4189.8420036226071</c:v>
                </c:pt>
                <c:pt idx="936">
                  <c:v>4167.8239133176676</c:v>
                </c:pt>
                <c:pt idx="937">
                  <c:v>4094.4466453470568</c:v>
                </c:pt>
                <c:pt idx="938">
                  <c:v>4179.9221406261859</c:v>
                </c:pt>
                <c:pt idx="939">
                  <c:v>4349.901802512938</c:v>
                </c:pt>
                <c:pt idx="940">
                  <c:v>4307.2048721234896</c:v>
                </c:pt>
                <c:pt idx="941">
                  <c:v>4359.68313578383</c:v>
                </c:pt>
                <c:pt idx="942">
                  <c:v>4355.4960982680313</c:v>
                </c:pt>
                <c:pt idx="943">
                  <c:v>4299.772665425503</c:v>
                </c:pt>
                <c:pt idx="944">
                  <c:v>4310.0067430703084</c:v>
                </c:pt>
                <c:pt idx="945">
                  <c:v>4344.8128009642733</c:v>
                </c:pt>
                <c:pt idx="946">
                  <c:v>4341.0744872045661</c:v>
                </c:pt>
                <c:pt idx="947">
                  <c:v>4403.2755908197778</c:v>
                </c:pt>
                <c:pt idx="948">
                  <c:v>4420.517909741965</c:v>
                </c:pt>
                <c:pt idx="949">
                  <c:v>4422.3397185137665</c:v>
                </c:pt>
                <c:pt idx="950">
                  <c:v>4398.5476948051764</c:v>
                </c:pt>
                <c:pt idx="951">
                  <c:v>4314.035736529534</c:v>
                </c:pt>
                <c:pt idx="952">
                  <c:v>4384.6476867513957</c:v>
                </c:pt>
                <c:pt idx="953">
                  <c:v>4389.7601133300468</c:v>
                </c:pt>
                <c:pt idx="954">
                  <c:v>4441.8179186627331</c:v>
                </c:pt>
                <c:pt idx="955">
                  <c:v>4462.8894088564339</c:v>
                </c:pt>
                <c:pt idx="956">
                  <c:v>4542.0265499783809</c:v>
                </c:pt>
                <c:pt idx="957">
                  <c:v>4538.0275399631382</c:v>
                </c:pt>
                <c:pt idx="958">
                  <c:v>4552.6385735056265</c:v>
                </c:pt>
                <c:pt idx="959">
                  <c:v>4629.6339820602552</c:v>
                </c:pt>
                <c:pt idx="960">
                  <c:v>4676.3055528542263</c:v>
                </c:pt>
                <c:pt idx="961">
                  <c:v>4651.8172811587492</c:v>
                </c:pt>
                <c:pt idx="962">
                  <c:v>4687.2929047896432</c:v>
                </c:pt>
                <c:pt idx="963">
                  <c:v>4659.755460704816</c:v>
                </c:pt>
                <c:pt idx="964">
                  <c:v>4718.1440316973994</c:v>
                </c:pt>
                <c:pt idx="965">
                  <c:v>4637.9334352594797</c:v>
                </c:pt>
                <c:pt idx="966">
                  <c:v>4639.7594344963463</c:v>
                </c:pt>
                <c:pt idx="967">
                  <c:v>4641.0785287332683</c:v>
                </c:pt>
                <c:pt idx="968">
                  <c:v>4796.2025602614467</c:v>
                </c:pt>
                <c:pt idx="969">
                  <c:v>4901.7193745758732</c:v>
                </c:pt>
                <c:pt idx="970">
                  <c:v>4877.3190787675976</c:v>
                </c:pt>
                <c:pt idx="971">
                  <c:v>4855.7156649504523</c:v>
                </c:pt>
                <c:pt idx="972">
                  <c:v>4874.8506135328807</c:v>
                </c:pt>
                <c:pt idx="973">
                  <c:v>4727.2802582433233</c:v>
                </c:pt>
                <c:pt idx="974">
                  <c:v>4689.7263988597861</c:v>
                </c:pt>
                <c:pt idx="975">
                  <c:v>4732.6549038129569</c:v>
                </c:pt>
                <c:pt idx="976">
                  <c:v>4662.4448211878871</c:v>
                </c:pt>
                <c:pt idx="977">
                  <c:v>4738.1347832941565</c:v>
                </c:pt>
                <c:pt idx="978">
                  <c:v>4636.3758646730657</c:v>
                </c:pt>
                <c:pt idx="979">
                  <c:v>4415.4625223947942</c:v>
                </c:pt>
                <c:pt idx="980">
                  <c:v>4331.3701717093509</c:v>
                </c:pt>
                <c:pt idx="981">
                  <c:v>4360.609645534726</c:v>
                </c:pt>
                <c:pt idx="982">
                  <c:v>4209.7618860342054</c:v>
                </c:pt>
                <c:pt idx="983">
                  <c:v>4394.6026769505843</c:v>
                </c:pt>
                <c:pt idx="984">
                  <c:v>4423.0350782926444</c:v>
                </c:pt>
                <c:pt idx="985">
                  <c:v>4493.7853784799454</c:v>
                </c:pt>
                <c:pt idx="986">
                  <c:v>4622.8297284564796</c:v>
                </c:pt>
                <c:pt idx="987">
                  <c:v>4611.7033938605455</c:v>
                </c:pt>
                <c:pt idx="988">
                  <c:v>4720.1464718043599</c:v>
                </c:pt>
                <c:pt idx="989">
                  <c:v>4615.3684367096403</c:v>
                </c:pt>
                <c:pt idx="990">
                  <c:v>4608.1414752654618</c:v>
                </c:pt>
                <c:pt idx="991">
                  <c:v>4658.5969272708808</c:v>
                </c:pt>
                <c:pt idx="992">
                  <c:v>4647.3451094065531</c:v>
                </c:pt>
                <c:pt idx="993">
                  <c:v>4681.013050750229</c:v>
                </c:pt>
                <c:pt idx="994">
                  <c:v>4730.6493126056585</c:v>
                </c:pt>
                <c:pt idx="995">
                  <c:v>4679.1785229534353</c:v>
                </c:pt>
                <c:pt idx="996">
                  <c:v>4769.8876838228334</c:v>
                </c:pt>
                <c:pt idx="997">
                  <c:v>4862.004320459122</c:v>
                </c:pt>
                <c:pt idx="998">
                  <c:v>4930.8854796206379</c:v>
                </c:pt>
                <c:pt idx="999">
                  <c:v>4905.7732587238615</c:v>
                </c:pt>
                <c:pt idx="1000">
                  <c:v>4884.8592611952481</c:v>
                </c:pt>
                <c:pt idx="1001">
                  <c:v>4965.9245071267096</c:v>
                </c:pt>
                <c:pt idx="1002">
                  <c:v>4890.5129809790678</c:v>
                </c:pt>
                <c:pt idx="1003">
                  <c:v>4934.9984138815635</c:v>
                </c:pt>
                <c:pt idx="1004">
                  <c:v>4946.0782228676944</c:v>
                </c:pt>
                <c:pt idx="1005">
                  <c:v>4950.7836673464599</c:v>
                </c:pt>
                <c:pt idx="1006">
                  <c:v>4901.5843276143178</c:v>
                </c:pt>
                <c:pt idx="1007">
                  <c:v>4751.4468191522801</c:v>
                </c:pt>
                <c:pt idx="1008">
                  <c:v>4790.921770131049</c:v>
                </c:pt>
                <c:pt idx="1009">
                  <c:v>4829.4993390584405</c:v>
                </c:pt>
                <c:pt idx="1010">
                  <c:v>4679.0646708592412</c:v>
                </c:pt>
                <c:pt idx="1011">
                  <c:v>4724.7627708862028</c:v>
                </c:pt>
                <c:pt idx="1012">
                  <c:v>4755.4004749538244</c:v>
                </c:pt>
                <c:pt idx="1013">
                  <c:v>4676.4808423784934</c:v>
                </c:pt>
                <c:pt idx="1014">
                  <c:v>4659.534326180551</c:v>
                </c:pt>
                <c:pt idx="1015">
                  <c:v>4660.197385726724</c:v>
                </c:pt>
                <c:pt idx="1016">
                  <c:v>4605.6337684135569</c:v>
                </c:pt>
                <c:pt idx="1017">
                  <c:v>4706.796200230453</c:v>
                </c:pt>
                <c:pt idx="1018">
                  <c:v>4748.8369696769723</c:v>
                </c:pt>
                <c:pt idx="1019">
                  <c:v>4721.8738225846082</c:v>
                </c:pt>
                <c:pt idx="1020">
                  <c:v>4647.4347313825674</c:v>
                </c:pt>
                <c:pt idx="1021">
                  <c:v>4607.1248518432621</c:v>
                </c:pt>
                <c:pt idx="1022">
                  <c:v>4523.3635139346561</c:v>
                </c:pt>
                <c:pt idx="1023">
                  <c:v>4533.9954224523108</c:v>
                </c:pt>
                <c:pt idx="1024">
                  <c:v>4631.9608212710582</c:v>
                </c:pt>
                <c:pt idx="1025">
                  <c:v>4595.3456594317804</c:v>
                </c:pt>
                <c:pt idx="1026">
                  <c:v>4596.4151253537475</c:v>
                </c:pt>
                <c:pt idx="1027">
                  <c:v>4705.3044513651666</c:v>
                </c:pt>
                <c:pt idx="1028">
                  <c:v>4739.7257759997938</c:v>
                </c:pt>
                <c:pt idx="1029">
                  <c:v>4626.0386675839536</c:v>
                </c:pt>
                <c:pt idx="1030">
                  <c:v>4643.6446543418151</c:v>
                </c:pt>
                <c:pt idx="1031">
                  <c:v>4636.9836999127765</c:v>
                </c:pt>
                <c:pt idx="1032">
                  <c:v>4698.6410555036227</c:v>
                </c:pt>
                <c:pt idx="1033">
                  <c:v>4637.4951222380287</c:v>
                </c:pt>
                <c:pt idx="1034">
                  <c:v>4720.025773865561</c:v>
                </c:pt>
                <c:pt idx="1035">
                  <c:v>4807.4197708330676</c:v>
                </c:pt>
                <c:pt idx="1036">
                  <c:v>4804.1652869562713</c:v>
                </c:pt>
                <c:pt idx="1037">
                  <c:v>4899.9541681779065</c:v>
                </c:pt>
                <c:pt idx="1038">
                  <c:v>4884.1300809503809</c:v>
                </c:pt>
                <c:pt idx="1039">
                  <c:v>4968.2655056698486</c:v>
                </c:pt>
                <c:pt idx="1040">
                  <c:v>5021.9650151485894</c:v>
                </c:pt>
                <c:pt idx="1041">
                  <c:v>5000.411995465236</c:v>
                </c:pt>
                <c:pt idx="1042">
                  <c:v>4895.5693086859519</c:v>
                </c:pt>
                <c:pt idx="1043">
                  <c:v>4966.2152034837573</c:v>
                </c:pt>
                <c:pt idx="1044">
                  <c:v>4984.7258192697718</c:v>
                </c:pt>
                <c:pt idx="1045">
                  <c:v>4999.7050243102449</c:v>
                </c:pt>
                <c:pt idx="1046">
                  <c:v>4938.8102095014947</c:v>
                </c:pt>
                <c:pt idx="1047">
                  <c:v>4895.9831819126975</c:v>
                </c:pt>
                <c:pt idx="1048">
                  <c:v>4922.0987630023792</c:v>
                </c:pt>
                <c:pt idx="1049">
                  <c:v>5014.6567537848459</c:v>
                </c:pt>
                <c:pt idx="1050">
                  <c:v>4913.0795460773697</c:v>
                </c:pt>
                <c:pt idx="1051">
                  <c:v>4882.9872979804377</c:v>
                </c:pt>
                <c:pt idx="1052">
                  <c:v>5026.9549452746323</c:v>
                </c:pt>
                <c:pt idx="1053">
                  <c:v>4927.8880095530467</c:v>
                </c:pt>
                <c:pt idx="1054">
                  <c:v>5007.7315466721602</c:v>
                </c:pt>
                <c:pt idx="1055">
                  <c:v>5110.2023776715041</c:v>
                </c:pt>
                <c:pt idx="1056">
                  <c:v>5143.1705045229974</c:v>
                </c:pt>
                <c:pt idx="1057">
                  <c:v>5098.6052963433549</c:v>
                </c:pt>
                <c:pt idx="1058">
                  <c:v>5081.2648759129652</c:v>
                </c:pt>
                <c:pt idx="1059">
                  <c:v>5030.2230666132746</c:v>
                </c:pt>
                <c:pt idx="1060">
                  <c:v>5137.4159015130535</c:v>
                </c:pt>
                <c:pt idx="1061">
                  <c:v>5059.0747373017048</c:v>
                </c:pt>
                <c:pt idx="1062">
                  <c:v>5005.1789672231835</c:v>
                </c:pt>
                <c:pt idx="1063">
                  <c:v>4978.9448892706605</c:v>
                </c:pt>
                <c:pt idx="1064">
                  <c:v>4808.1773836667344</c:v>
                </c:pt>
                <c:pt idx="1065">
                  <c:v>4913.1875748365483</c:v>
                </c:pt>
                <c:pt idx="1066">
                  <c:v>4837.8830078752753</c:v>
                </c:pt>
                <c:pt idx="1067">
                  <c:v>4874.3020318761555</c:v>
                </c:pt>
                <c:pt idx="1068">
                  <c:v>4861.9380742362609</c:v>
                </c:pt>
                <c:pt idx="1069">
                  <c:v>4839.4359141700179</c:v>
                </c:pt>
                <c:pt idx="1070">
                  <c:v>4690.9749982535041</c:v>
                </c:pt>
                <c:pt idx="1071">
                  <c:v>4615.572805591939</c:v>
                </c:pt>
                <c:pt idx="1072">
                  <c:v>4812.5708555522979</c:v>
                </c:pt>
                <c:pt idx="1073">
                  <c:v>4681.597141718933</c:v>
                </c:pt>
                <c:pt idx="1074">
                  <c:v>4616.6412665305143</c:v>
                </c:pt>
                <c:pt idx="1075">
                  <c:v>4482.7450698816519</c:v>
                </c:pt>
                <c:pt idx="1076">
                  <c:v>4415.6765130933636</c:v>
                </c:pt>
                <c:pt idx="1077">
                  <c:v>4509.6302438450784</c:v>
                </c:pt>
                <c:pt idx="1078">
                  <c:v>4663.5980974216354</c:v>
                </c:pt>
                <c:pt idx="1079">
                  <c:v>4706.1545307356973</c:v>
                </c:pt>
                <c:pt idx="1080">
                  <c:v>4647.6047770761388</c:v>
                </c:pt>
                <c:pt idx="1081">
                  <c:v>4744.5817755508624</c:v>
                </c:pt>
                <c:pt idx="1082">
                  <c:v>4787.6817822480034</c:v>
                </c:pt>
                <c:pt idx="1083">
                  <c:v>4777.6801246536115</c:v>
                </c:pt>
                <c:pt idx="1084">
                  <c:v>4707.8484828104638</c:v>
                </c:pt>
                <c:pt idx="1085">
                  <c:v>4689.8818845091573</c:v>
                </c:pt>
                <c:pt idx="1086">
                  <c:v>4686.0282498256083</c:v>
                </c:pt>
                <c:pt idx="1087">
                  <c:v>4722.6419230731826</c:v>
                </c:pt>
                <c:pt idx="1088">
                  <c:v>4673.6691039507987</c:v>
                </c:pt>
                <c:pt idx="1089">
                  <c:v>4824.7552771469345</c:v>
                </c:pt>
                <c:pt idx="1090">
                  <c:v>4829.4107151614553</c:v>
                </c:pt>
                <c:pt idx="1091">
                  <c:v>4755.6281489642333</c:v>
                </c:pt>
                <c:pt idx="1092">
                  <c:v>4757.6758315267543</c:v>
                </c:pt>
                <c:pt idx="1093">
                  <c:v>4694.5391858991643</c:v>
                </c:pt>
                <c:pt idx="1094">
                  <c:v>4690.3955042324087</c:v>
                </c:pt>
                <c:pt idx="1095">
                  <c:v>4619.1018418629701</c:v>
                </c:pt>
                <c:pt idx="1096">
                  <c:v>4575.1453973845255</c:v>
                </c:pt>
                <c:pt idx="1097">
                  <c:v>4423.7760376034867</c:v>
                </c:pt>
                <c:pt idx="1098">
                  <c:v>4256.9891531378335</c:v>
                </c:pt>
                <c:pt idx="1099">
                  <c:v>4420.0907017172485</c:v>
                </c:pt>
                <c:pt idx="1100">
                  <c:v>4335.0783144537927</c:v>
                </c:pt>
                <c:pt idx="1101">
                  <c:v>4497.7009560384286</c:v>
                </c:pt>
                <c:pt idx="1102">
                  <c:v>4554.9299659979915</c:v>
                </c:pt>
                <c:pt idx="1103">
                  <c:v>4574.3271399473033</c:v>
                </c:pt>
                <c:pt idx="1104">
                  <c:v>4538.2775405211432</c:v>
                </c:pt>
                <c:pt idx="1105">
                  <c:v>4402.8735046687207</c:v>
                </c:pt>
                <c:pt idx="1106">
                  <c:v>4363.2467462881796</c:v>
                </c:pt>
                <c:pt idx="1107">
                  <c:v>4227.9759500351702</c:v>
                </c:pt>
                <c:pt idx="1108">
                  <c:v>4238.6917743856757</c:v>
                </c:pt>
                <c:pt idx="1109">
                  <c:v>4373.3977393750192</c:v>
                </c:pt>
                <c:pt idx="1110">
                  <c:v>4330.5595441085143</c:v>
                </c:pt>
                <c:pt idx="1111">
                  <c:v>4376.6490043594249</c:v>
                </c:pt>
                <c:pt idx="1112">
                  <c:v>4372.0449181562153</c:v>
                </c:pt>
                <c:pt idx="1113">
                  <c:v>4517.3059020883211</c:v>
                </c:pt>
                <c:pt idx="1114">
                  <c:v>4532.3993182016084</c:v>
                </c:pt>
                <c:pt idx="1115">
                  <c:v>4489.420730269042</c:v>
                </c:pt>
                <c:pt idx="1116">
                  <c:v>4421.65127620353</c:v>
                </c:pt>
                <c:pt idx="1117">
                  <c:v>4385.3151265213246</c:v>
                </c:pt>
                <c:pt idx="1118">
                  <c:v>4360.630695252964</c:v>
                </c:pt>
                <c:pt idx="1119">
                  <c:v>4407.9763377758018</c:v>
                </c:pt>
                <c:pt idx="1120">
                  <c:v>4336.9234138764095</c:v>
                </c:pt>
                <c:pt idx="1121">
                  <c:v>4275.945391472269</c:v>
                </c:pt>
                <c:pt idx="1122">
                  <c:v>4298.7125749350271</c:v>
                </c:pt>
                <c:pt idx="1123">
                  <c:v>4202.3110590599117</c:v>
                </c:pt>
                <c:pt idx="1124">
                  <c:v>4221.3097363503821</c:v>
                </c:pt>
                <c:pt idx="1125">
                  <c:v>4176.4935785022362</c:v>
                </c:pt>
                <c:pt idx="1126">
                  <c:v>4161.8970427703143</c:v>
                </c:pt>
                <c:pt idx="1127">
                  <c:v>4158.7259834161769</c:v>
                </c:pt>
                <c:pt idx="1128">
                  <c:v>4089.4943485325161</c:v>
                </c:pt>
                <c:pt idx="1129">
                  <c:v>4165.1734569381779</c:v>
                </c:pt>
                <c:pt idx="1130">
                  <c:v>4220.1878933003463</c:v>
                </c:pt>
                <c:pt idx="1131">
                  <c:v>4231.7485075586128</c:v>
                </c:pt>
                <c:pt idx="1132">
                  <c:v>4351.9444532715015</c:v>
                </c:pt>
                <c:pt idx="1133">
                  <c:v>4349.2524330906108</c:v>
                </c:pt>
                <c:pt idx="1134">
                  <c:v>4417.823819710984</c:v>
                </c:pt>
                <c:pt idx="1135">
                  <c:v>4412.013995242758</c:v>
                </c:pt>
                <c:pt idx="1136">
                  <c:v>4458.0934166612496</c:v>
                </c:pt>
                <c:pt idx="1137">
                  <c:v>4247.9679188793816</c:v>
                </c:pt>
                <c:pt idx="1138">
                  <c:v>4261.2671526892636</c:v>
                </c:pt>
                <c:pt idx="1139">
                  <c:v>4252.8746279883462</c:v>
                </c:pt>
                <c:pt idx="1140">
                  <c:v>4086.0562476450623</c:v>
                </c:pt>
                <c:pt idx="1141">
                  <c:v>4172.8199222940466</c:v>
                </c:pt>
                <c:pt idx="1142">
                  <c:v>4128.9390460801751</c:v>
                </c:pt>
                <c:pt idx="1143">
                  <c:v>4101.2030693692441</c:v>
                </c:pt>
                <c:pt idx="1144">
                  <c:v>4106.6339621823736</c:v>
                </c:pt>
                <c:pt idx="1145">
                  <c:v>4015.2799526418194</c:v>
                </c:pt>
                <c:pt idx="1146">
                  <c:v>4113.531221225825</c:v>
                </c:pt>
                <c:pt idx="1147">
                  <c:v>4302.7315181389367</c:v>
                </c:pt>
                <c:pt idx="1148">
                  <c:v>4204.7719357369797</c:v>
                </c:pt>
                <c:pt idx="1149">
                  <c:v>4157.2268462320762</c:v>
                </c:pt>
                <c:pt idx="1150">
                  <c:v>4115.9970476973622</c:v>
                </c:pt>
                <c:pt idx="1151">
                  <c:v>4059.9769055751481</c:v>
                </c:pt>
                <c:pt idx="1152">
                  <c:v>3849.9509956109209</c:v>
                </c:pt>
                <c:pt idx="1153">
                  <c:v>3879.3456139975187</c:v>
                </c:pt>
                <c:pt idx="1154">
                  <c:v>4007.6873115163485</c:v>
                </c:pt>
                <c:pt idx="1155">
                  <c:v>4056.0257125438593</c:v>
                </c:pt>
                <c:pt idx="1156">
                  <c:v>4281.472760658914</c:v>
                </c:pt>
                <c:pt idx="1157">
                  <c:v>4235.8922776628024</c:v>
                </c:pt>
                <c:pt idx="1158">
                  <c:v>4194.5503200657595</c:v>
                </c:pt>
                <c:pt idx="1159">
                  <c:v>4212.4697975919516</c:v>
                </c:pt>
                <c:pt idx="1160">
                  <c:v>4201.3939813321804</c:v>
                </c:pt>
                <c:pt idx="1161">
                  <c:v>4158.210804400861</c:v>
                </c:pt>
                <c:pt idx="1162">
                  <c:v>4210.0624756504667</c:v>
                </c:pt>
                <c:pt idx="1163">
                  <c:v>4247.881462215837</c:v>
                </c:pt>
                <c:pt idx="1164">
                  <c:v>4199.1003014692078</c:v>
                </c:pt>
                <c:pt idx="1165">
                  <c:v>4237.3388177569859</c:v>
                </c:pt>
                <c:pt idx="1166">
                  <c:v>4231.1250814840696</c:v>
                </c:pt>
                <c:pt idx="1167">
                  <c:v>4272.3061302085925</c:v>
                </c:pt>
                <c:pt idx="1168">
                  <c:v>4175.2957561375997</c:v>
                </c:pt>
                <c:pt idx="1169">
                  <c:v>4197.0379561581303</c:v>
                </c:pt>
                <c:pt idx="1170">
                  <c:v>4186.1131192379926</c:v>
                </c:pt>
                <c:pt idx="1171">
                  <c:v>4095.3087601063039</c:v>
                </c:pt>
                <c:pt idx="1172">
                  <c:v>4080.4352817947802</c:v>
                </c:pt>
                <c:pt idx="1173">
                  <c:v>4088.0624549573827</c:v>
                </c:pt>
                <c:pt idx="1174">
                  <c:v>4160.3793271043114</c:v>
                </c:pt>
                <c:pt idx="1175">
                  <c:v>4101.094416003406</c:v>
                </c:pt>
                <c:pt idx="1176">
                  <c:v>4148.2397837763965</c:v>
                </c:pt>
                <c:pt idx="1177">
                  <c:v>4306.0854705908878</c:v>
                </c:pt>
                <c:pt idx="1178">
                  <c:v>4304.8064930593173</c:v>
                </c:pt>
                <c:pt idx="1179">
                  <c:v>4303.8972979458104</c:v>
                </c:pt>
                <c:pt idx="1180">
                  <c:v>4166.5303705983233</c:v>
                </c:pt>
                <c:pt idx="1181">
                  <c:v>4108.8058532141567</c:v>
                </c:pt>
                <c:pt idx="1182">
                  <c:v>4063.2495556773852</c:v>
                </c:pt>
                <c:pt idx="1183">
                  <c:v>4102.4424559590007</c:v>
                </c:pt>
                <c:pt idx="1184">
                  <c:v>4117.6952735199393</c:v>
                </c:pt>
                <c:pt idx="1185">
                  <c:v>4221.4556831024274</c:v>
                </c:pt>
                <c:pt idx="1186">
                  <c:v>4154.3536082957544</c:v>
                </c:pt>
                <c:pt idx="1187">
                  <c:v>4112.141582243974</c:v>
                </c:pt>
                <c:pt idx="1188">
                  <c:v>4074.5269333932033</c:v>
                </c:pt>
                <c:pt idx="1189">
                  <c:v>3986.1600407667047</c:v>
                </c:pt>
                <c:pt idx="1190">
                  <c:v>3971.7765923511752</c:v>
                </c:pt>
                <c:pt idx="1191">
                  <c:v>3895.3524683523515</c:v>
                </c:pt>
                <c:pt idx="1192">
                  <c:v>3957.3327958205596</c:v>
                </c:pt>
                <c:pt idx="1193">
                  <c:v>3926.6767453509096</c:v>
                </c:pt>
                <c:pt idx="1194">
                  <c:v>3897.5388597113733</c:v>
                </c:pt>
                <c:pt idx="1195">
                  <c:v>3883.9621966845989</c:v>
                </c:pt>
                <c:pt idx="1196">
                  <c:v>3915.7869397186601</c:v>
                </c:pt>
                <c:pt idx="1197">
                  <c:v>3983.1772250321937</c:v>
                </c:pt>
                <c:pt idx="1198">
                  <c:v>3922.360027883487</c:v>
                </c:pt>
                <c:pt idx="1199">
                  <c:v>4039.9171303818057</c:v>
                </c:pt>
                <c:pt idx="1200">
                  <c:v>4078.2251624931905</c:v>
                </c:pt>
                <c:pt idx="1201">
                  <c:v>4086.4418512114075</c:v>
                </c:pt>
                <c:pt idx="1202">
                  <c:v>4160.1224626795274</c:v>
                </c:pt>
                <c:pt idx="1203">
                  <c:v>4173.9612865806976</c:v>
                </c:pt>
                <c:pt idx="1204">
                  <c:v>4184.2748429014482</c:v>
                </c:pt>
                <c:pt idx="1205">
                  <c:v>4139.5727315679696</c:v>
                </c:pt>
                <c:pt idx="1206">
                  <c:v>4266.7920559535642</c:v>
                </c:pt>
                <c:pt idx="1207">
                  <c:v>4293.9061140862168</c:v>
                </c:pt>
                <c:pt idx="1208">
                  <c:v>4271.2428288156498</c:v>
                </c:pt>
                <c:pt idx="1209">
                  <c:v>4359.0012612498203</c:v>
                </c:pt>
                <c:pt idx="1210">
                  <c:v>4378.1173422737693</c:v>
                </c:pt>
                <c:pt idx="1211">
                  <c:v>4312.6544990361481</c:v>
                </c:pt>
                <c:pt idx="1212">
                  <c:v>4319.8593156830048</c:v>
                </c:pt>
                <c:pt idx="1213">
                  <c:v>4346.2358726425091</c:v>
                </c:pt>
                <c:pt idx="1214">
                  <c:v>4372.0470983042887</c:v>
                </c:pt>
                <c:pt idx="1215">
                  <c:v>4326.427486279852</c:v>
                </c:pt>
                <c:pt idx="1216">
                  <c:v>4374.1807814586673</c:v>
                </c:pt>
                <c:pt idx="1217">
                  <c:v>4342.173704476897</c:v>
                </c:pt>
                <c:pt idx="1218">
                  <c:v>4378.9764084887047</c:v>
                </c:pt>
                <c:pt idx="1219">
                  <c:v>4499.1616356564737</c:v>
                </c:pt>
                <c:pt idx="1220">
                  <c:v>4645.0835001044998</c:v>
                </c:pt>
                <c:pt idx="1221">
                  <c:v>4688.6863109817759</c:v>
                </c:pt>
                <c:pt idx="1222">
                  <c:v>4764.7153804338632</c:v>
                </c:pt>
                <c:pt idx="1223">
                  <c:v>4805.7485287419167</c:v>
                </c:pt>
                <c:pt idx="1224">
                  <c:v>4705.924359492341</c:v>
                </c:pt>
                <c:pt idx="1225">
                  <c:v>4869.62525101545</c:v>
                </c:pt>
                <c:pt idx="1226">
                  <c:v>4831.4955331259198</c:v>
                </c:pt>
                <c:pt idx="1227">
                  <c:v>4842.6696279928774</c:v>
                </c:pt>
                <c:pt idx="1228">
                  <c:v>4878.6367309650805</c:v>
                </c:pt>
                <c:pt idx="1229">
                  <c:v>4969.1070516576228</c:v>
                </c:pt>
                <c:pt idx="1230">
                  <c:v>5202.578536424553</c:v>
                </c:pt>
                <c:pt idx="1231">
                  <c:v>5158.2402987761043</c:v>
                </c:pt>
                <c:pt idx="1232">
                  <c:v>5103.1020283973294</c:v>
                </c:pt>
                <c:pt idx="1233">
                  <c:v>5148.7257173466987</c:v>
                </c:pt>
                <c:pt idx="1234">
                  <c:v>5230.6845630887019</c:v>
                </c:pt>
                <c:pt idx="1235">
                  <c:v>5301.3829766227473</c:v>
                </c:pt>
                <c:pt idx="1236">
                  <c:v>5326.9324796668916</c:v>
                </c:pt>
                <c:pt idx="1237">
                  <c:v>5317.4085371188294</c:v>
                </c:pt>
                <c:pt idx="1238">
                  <c:v>5207.3978320719516</c:v>
                </c:pt>
                <c:pt idx="1239">
                  <c:v>5067.3442106997281</c:v>
                </c:pt>
                <c:pt idx="1240">
                  <c:v>5175.2181167674607</c:v>
                </c:pt>
                <c:pt idx="1241">
                  <c:v>5218.9508169241881</c:v>
                </c:pt>
                <c:pt idx="1242">
                  <c:v>5138.2085895794098</c:v>
                </c:pt>
                <c:pt idx="1243">
                  <c:v>5141.1449923463506</c:v>
                </c:pt>
                <c:pt idx="1244">
                  <c:v>5262.167365038963</c:v>
                </c:pt>
                <c:pt idx="1245">
                  <c:v>5462.5571864013546</c:v>
                </c:pt>
                <c:pt idx="1246">
                  <c:v>5405.3029751633085</c:v>
                </c:pt>
                <c:pt idx="1247">
                  <c:v>5412.9156857833987</c:v>
                </c:pt>
                <c:pt idx="1248">
                  <c:v>5385.7246343166626</c:v>
                </c:pt>
                <c:pt idx="1249">
                  <c:v>5395.8296993946487</c:v>
                </c:pt>
                <c:pt idx="1250">
                  <c:v>5281.1749536248544</c:v>
                </c:pt>
                <c:pt idx="1251">
                  <c:v>5262.7063786813605</c:v>
                </c:pt>
                <c:pt idx="1252">
                  <c:v>5367.1055074480937</c:v>
                </c:pt>
                <c:pt idx="1253">
                  <c:v>5393.6676984224532</c:v>
                </c:pt>
                <c:pt idx="1254">
                  <c:v>5597.5659734844039</c:v>
                </c:pt>
                <c:pt idx="1255">
                  <c:v>5808.3383525192266</c:v>
                </c:pt>
                <c:pt idx="1256">
                  <c:v>5740.785715043593</c:v>
                </c:pt>
                <c:pt idx="1257">
                  <c:v>5801.0734518137579</c:v>
                </c:pt>
                <c:pt idx="1258">
                  <c:v>5870.2876784897271</c:v>
                </c:pt>
                <c:pt idx="1259">
                  <c:v>5833.0804276213639</c:v>
                </c:pt>
                <c:pt idx="1260">
                  <c:v>5870.7389133692941</c:v>
                </c:pt>
                <c:pt idx="1261">
                  <c:v>5890.8522501564321</c:v>
                </c:pt>
                <c:pt idx="1262">
                  <c:v>5746.2076171539165</c:v>
                </c:pt>
                <c:pt idx="1263">
                  <c:v>5739.9826543733161</c:v>
                </c:pt>
                <c:pt idx="1264">
                  <c:v>5672.2292395582963</c:v>
                </c:pt>
                <c:pt idx="1265">
                  <c:v>5871.6432680298549</c:v>
                </c:pt>
                <c:pt idx="1266">
                  <c:v>5956.5468515226275</c:v>
                </c:pt>
                <c:pt idx="1267">
                  <c:v>5938.1743643420941</c:v>
                </c:pt>
                <c:pt idx="1268">
                  <c:v>5988.9665807635893</c:v>
                </c:pt>
                <c:pt idx="1269">
                  <c:v>5844.2083442220155</c:v>
                </c:pt>
                <c:pt idx="1270">
                  <c:v>5865.9423559230308</c:v>
                </c:pt>
                <c:pt idx="1271">
                  <c:v>5893.3342137292075</c:v>
                </c:pt>
                <c:pt idx="1272">
                  <c:v>5825.0048427119145</c:v>
                </c:pt>
                <c:pt idx="1273">
                  <c:v>5667.8570558072906</c:v>
                </c:pt>
                <c:pt idx="1274">
                  <c:v>5754.1297399623045</c:v>
                </c:pt>
                <c:pt idx="1275">
                  <c:v>5798.4891862902941</c:v>
                </c:pt>
                <c:pt idx="1276">
                  <c:v>5493.5587686917088</c:v>
                </c:pt>
                <c:pt idx="1277">
                  <c:v>5675.5555371656619</c:v>
                </c:pt>
                <c:pt idx="1278">
                  <c:v>5548.4802098414229</c:v>
                </c:pt>
                <c:pt idx="1279">
                  <c:v>5458.9917665452449</c:v>
                </c:pt>
                <c:pt idx="1280">
                  <c:v>5625.3389145045057</c:v>
                </c:pt>
                <c:pt idx="1281">
                  <c:v>5571.139836076306</c:v>
                </c:pt>
                <c:pt idx="1282">
                  <c:v>5521.7579537372221</c:v>
                </c:pt>
                <c:pt idx="1283">
                  <c:v>5668.4119865676412</c:v>
                </c:pt>
                <c:pt idx="1284">
                  <c:v>5660.5480441097516</c:v>
                </c:pt>
                <c:pt idx="1285">
                  <c:v>5548.4525936681348</c:v>
                </c:pt>
                <c:pt idx="1286">
                  <c:v>5447.0258346473138</c:v>
                </c:pt>
                <c:pt idx="1287">
                  <c:v>5505.7841109704077</c:v>
                </c:pt>
                <c:pt idx="1288">
                  <c:v>5512.2534246582054</c:v>
                </c:pt>
                <c:pt idx="1289">
                  <c:v>5372.5985327193303</c:v>
                </c:pt>
                <c:pt idx="1290">
                  <c:v>5396.5379299536198</c:v>
                </c:pt>
                <c:pt idx="1291">
                  <c:v>5475.4772221695721</c:v>
                </c:pt>
                <c:pt idx="1292">
                  <c:v>5614.2738683056659</c:v>
                </c:pt>
                <c:pt idx="1293">
                  <c:v>5565.7176505960642</c:v>
                </c:pt>
                <c:pt idx="1294">
                  <c:v>5570.8031153648735</c:v>
                </c:pt>
                <c:pt idx="1295">
                  <c:v>5586.1091360819255</c:v>
                </c:pt>
                <c:pt idx="1296">
                  <c:v>5606.5828274308424</c:v>
                </c:pt>
                <c:pt idx="1297">
                  <c:v>5537.4039649356546</c:v>
                </c:pt>
                <c:pt idx="1298">
                  <c:v>5486.7365578704566</c:v>
                </c:pt>
                <c:pt idx="1299">
                  <c:v>5452.3073583831156</c:v>
                </c:pt>
                <c:pt idx="1300">
                  <c:v>5556.7691959290969</c:v>
                </c:pt>
                <c:pt idx="1301">
                  <c:v>5730.2938521298838</c:v>
                </c:pt>
                <c:pt idx="1302">
                  <c:v>5698.6948108287479</c:v>
                </c:pt>
                <c:pt idx="1303">
                  <c:v>5690.7384199603248</c:v>
                </c:pt>
                <c:pt idx="1304">
                  <c:v>5636.5784364353412</c:v>
                </c:pt>
                <c:pt idx="1305">
                  <c:v>5615.7473225948033</c:v>
                </c:pt>
                <c:pt idx="1306">
                  <c:v>5652.0267396442969</c:v>
                </c:pt>
                <c:pt idx="1307">
                  <c:v>5744.9604384249433</c:v>
                </c:pt>
                <c:pt idx="1308">
                  <c:v>5917.0045587332024</c:v>
                </c:pt>
                <c:pt idx="1309">
                  <c:v>5904.9906432141961</c:v>
                </c:pt>
                <c:pt idx="1310">
                  <c:v>5926.7573809425758</c:v>
                </c:pt>
                <c:pt idx="1311">
                  <c:v>5879.3337091762496</c:v>
                </c:pt>
                <c:pt idx="1312">
                  <c:v>5890.3213307220185</c:v>
                </c:pt>
                <c:pt idx="1313">
                  <c:v>5947.5021433273541</c:v>
                </c:pt>
                <c:pt idx="1314">
                  <c:v>5926.3229668134654</c:v>
                </c:pt>
                <c:pt idx="1315">
                  <c:v>6127.0212080107403</c:v>
                </c:pt>
                <c:pt idx="1316">
                  <c:v>6157.9235529890957</c:v>
                </c:pt>
                <c:pt idx="1317">
                  <c:v>6047.7004662221425</c:v>
                </c:pt>
                <c:pt idx="1318">
                  <c:v>5965.8608978547527</c:v>
                </c:pt>
                <c:pt idx="1319">
                  <c:v>6039.4414849504019</c:v>
                </c:pt>
                <c:pt idx="1320">
                  <c:v>5931.7016422430488</c:v>
                </c:pt>
                <c:pt idx="1321">
                  <c:v>5937.8946247254444</c:v>
                </c:pt>
                <c:pt idx="1322">
                  <c:v>5929.0023029054355</c:v>
                </c:pt>
                <c:pt idx="1323">
                  <c:v>5903.8159653948205</c:v>
                </c:pt>
                <c:pt idx="1324">
                  <c:v>5942.704559956338</c:v>
                </c:pt>
                <c:pt idx="1325">
                  <c:v>6016.7115777741446</c:v>
                </c:pt>
                <c:pt idx="1326">
                  <c:v>5957.8919636689297</c:v>
                </c:pt>
                <c:pt idx="1327">
                  <c:v>5963.3950129049517</c:v>
                </c:pt>
                <c:pt idx="1328">
                  <c:v>5943.0005001508616</c:v>
                </c:pt>
                <c:pt idx="1329">
                  <c:v>5961.2178962787284</c:v>
                </c:pt>
                <c:pt idx="1330">
                  <c:v>5946.6778991061828</c:v>
                </c:pt>
                <c:pt idx="1331">
                  <c:v>5973.1442137421673</c:v>
                </c:pt>
                <c:pt idx="1332">
                  <c:v>6015.4935200426744</c:v>
                </c:pt>
                <c:pt idx="1333">
                  <c:v>6043.5753292561667</c:v>
                </c:pt>
                <c:pt idx="1334">
                  <c:v>6081.7440093768355</c:v>
                </c:pt>
                <c:pt idx="1335">
                  <c:v>6095.047919634103</c:v>
                </c:pt>
                <c:pt idx="1336">
                  <c:v>6133.7952059126101</c:v>
                </c:pt>
                <c:pt idx="1337">
                  <c:v>6109.1363455632973</c:v>
                </c:pt>
                <c:pt idx="1338">
                  <c:v>6061.6226078271648</c:v>
                </c:pt>
                <c:pt idx="1339">
                  <c:v>5992.2993874424164</c:v>
                </c:pt>
                <c:pt idx="1340">
                  <c:v>5833.8429372753362</c:v>
                </c:pt>
                <c:pt idx="1341">
                  <c:v>5801.9947596178627</c:v>
                </c:pt>
                <c:pt idx="1342">
                  <c:v>5833.216051706836</c:v>
                </c:pt>
                <c:pt idx="1343">
                  <c:v>5929.9610298194339</c:v>
                </c:pt>
                <c:pt idx="1344">
                  <c:v>5905.0667082033005</c:v>
                </c:pt>
                <c:pt idx="1345">
                  <c:v>5960.2722222163429</c:v>
                </c:pt>
                <c:pt idx="1346">
                  <c:v>5905.7408039577076</c:v>
                </c:pt>
                <c:pt idx="1347">
                  <c:v>5942.3375689288805</c:v>
                </c:pt>
                <c:pt idx="1348">
                  <c:v>5965.3001275928746</c:v>
                </c:pt>
                <c:pt idx="1349">
                  <c:v>6036.2635290529724</c:v>
                </c:pt>
                <c:pt idx="1350">
                  <c:v>6155.3086492778493</c:v>
                </c:pt>
                <c:pt idx="1351">
                  <c:v>6180.0676135966314</c:v>
                </c:pt>
                <c:pt idx="1352">
                  <c:v>6186.2335125011541</c:v>
                </c:pt>
                <c:pt idx="1353">
                  <c:v>6201.6787338326949</c:v>
                </c:pt>
                <c:pt idx="1354">
                  <c:v>6325.535160058711</c:v>
                </c:pt>
                <c:pt idx="1355">
                  <c:v>6253.6570219113528</c:v>
                </c:pt>
                <c:pt idx="1356">
                  <c:v>6356.2539151625515</c:v>
                </c:pt>
                <c:pt idx="1357">
                  <c:v>6388.8044513608702</c:v>
                </c:pt>
                <c:pt idx="1358">
                  <c:v>6386.8762615244768</c:v>
                </c:pt>
                <c:pt idx="1359">
                  <c:v>6479.1684789866695</c:v>
                </c:pt>
                <c:pt idx="1360">
                  <c:v>6560.0793255008402</c:v>
                </c:pt>
                <c:pt idx="1361">
                  <c:v>6582.282068702455</c:v>
                </c:pt>
                <c:pt idx="1362">
                  <c:v>6597.5472391445164</c:v>
                </c:pt>
                <c:pt idx="1363">
                  <c:v>6648.9567880626255</c:v>
                </c:pt>
                <c:pt idx="1364">
                  <c:v>6669.670027557042</c:v>
                </c:pt>
                <c:pt idx="1365">
                  <c:v>6700.252635019564</c:v>
                </c:pt>
                <c:pt idx="1366">
                  <c:v>6676.5009058499299</c:v>
                </c:pt>
                <c:pt idx="1367">
                  <c:v>6585.9315376762397</c:v>
                </c:pt>
                <c:pt idx="1368">
                  <c:v>6648.372505467104</c:v>
                </c:pt>
                <c:pt idx="1369">
                  <c:v>6678.0574661376058</c:v>
                </c:pt>
                <c:pt idx="1370">
                  <c:v>6589.838341482885</c:v>
                </c:pt>
                <c:pt idx="1371">
                  <c:v>6646.9752390371459</c:v>
                </c:pt>
                <c:pt idx="1372">
                  <c:v>6672.2223304516137</c:v>
                </c:pt>
                <c:pt idx="1373">
                  <c:v>6716.4223097804133</c:v>
                </c:pt>
                <c:pt idx="1374">
                  <c:v>6637.1942547336275</c:v>
                </c:pt>
                <c:pt idx="1375">
                  <c:v>6649.7338282418323</c:v>
                </c:pt>
                <c:pt idx="1376">
                  <c:v>6418.6657227101477</c:v>
                </c:pt>
                <c:pt idx="1377">
                  <c:v>6318.5177777471044</c:v>
                </c:pt>
                <c:pt idx="1378">
                  <c:v>6381.1933555619598</c:v>
                </c:pt>
                <c:pt idx="1379">
                  <c:v>6343.9942582627036</c:v>
                </c:pt>
                <c:pt idx="1380">
                  <c:v>6358.9210303738146</c:v>
                </c:pt>
                <c:pt idx="1381">
                  <c:v>6355.6649926628434</c:v>
                </c:pt>
                <c:pt idx="1382">
                  <c:v>6478.8997140879965</c:v>
                </c:pt>
                <c:pt idx="1383">
                  <c:v>6519.6749891320396</c:v>
                </c:pt>
                <c:pt idx="1384">
                  <c:v>6595.4334022934145</c:v>
                </c:pt>
                <c:pt idx="1385">
                  <c:v>6608.7137656413706</c:v>
                </c:pt>
                <c:pt idx="1386">
                  <c:v>6595.2793934916044</c:v>
                </c:pt>
                <c:pt idx="1387">
                  <c:v>6602.0939589650152</c:v>
                </c:pt>
                <c:pt idx="1388">
                  <c:v>6527.8276837289204</c:v>
                </c:pt>
                <c:pt idx="1389">
                  <c:v>6519.9730997605184</c:v>
                </c:pt>
                <c:pt idx="1390">
                  <c:v>6601.6288626516671</c:v>
                </c:pt>
                <c:pt idx="1391">
                  <c:v>6560.683604704609</c:v>
                </c:pt>
                <c:pt idx="1392">
                  <c:v>6518.1232358736161</c:v>
                </c:pt>
                <c:pt idx="1393">
                  <c:v>6675.7352885210084</c:v>
                </c:pt>
                <c:pt idx="1394">
                  <c:v>6760.2062164387617</c:v>
                </c:pt>
                <c:pt idx="1395">
                  <c:v>6769.0175222957741</c:v>
                </c:pt>
                <c:pt idx="1396">
                  <c:v>6781.5606208271856</c:v>
                </c:pt>
                <c:pt idx="1397">
                  <c:v>6781.8686781491851</c:v>
                </c:pt>
                <c:pt idx="1398">
                  <c:v>6913.778235054594</c:v>
                </c:pt>
                <c:pt idx="1399">
                  <c:v>6970.910521353986</c:v>
                </c:pt>
                <c:pt idx="1400">
                  <c:v>7028.7820551783971</c:v>
                </c:pt>
                <c:pt idx="1401">
                  <c:v>6979.7877924143258</c:v>
                </c:pt>
                <c:pt idx="1402">
                  <c:v>6983.2005339936222</c:v>
                </c:pt>
                <c:pt idx="1403">
                  <c:v>6968.5803176481286</c:v>
                </c:pt>
                <c:pt idx="1404">
                  <c:v>6828.6130682235307</c:v>
                </c:pt>
                <c:pt idx="1405">
                  <c:v>6817.2927274551594</c:v>
                </c:pt>
                <c:pt idx="1406">
                  <c:v>6883.7029246950506</c:v>
                </c:pt>
                <c:pt idx="1407">
                  <c:v>6926.6017611343232</c:v>
                </c:pt>
                <c:pt idx="1408">
                  <c:v>6842.4015233562604</c:v>
                </c:pt>
                <c:pt idx="1409">
                  <c:v>6869.9190379849933</c:v>
                </c:pt>
                <c:pt idx="1410">
                  <c:v>7034.532479559537</c:v>
                </c:pt>
                <c:pt idx="1411">
                  <c:v>6956.8437982417699</c:v>
                </c:pt>
                <c:pt idx="1412">
                  <c:v>6879.4467694225641</c:v>
                </c:pt>
                <c:pt idx="1413">
                  <c:v>6748.907688678195</c:v>
                </c:pt>
                <c:pt idx="1414">
                  <c:v>6735.4888131698335</c:v>
                </c:pt>
                <c:pt idx="1415">
                  <c:v>6793.1714376851987</c:v>
                </c:pt>
                <c:pt idx="1416">
                  <c:v>6775.593925364833</c:v>
                </c:pt>
                <c:pt idx="1417">
                  <c:v>6767.4633379029283</c:v>
                </c:pt>
                <c:pt idx="1418">
                  <c:v>6640.2905252416513</c:v>
                </c:pt>
                <c:pt idx="1419">
                  <c:v>6655.9941481981232</c:v>
                </c:pt>
                <c:pt idx="1420">
                  <c:v>6676.7296625302324</c:v>
                </c:pt>
                <c:pt idx="1421">
                  <c:v>6720.7308324666456</c:v>
                </c:pt>
                <c:pt idx="1422">
                  <c:v>6803.5383309656172</c:v>
                </c:pt>
                <c:pt idx="1423">
                  <c:v>6893.8662604917636</c:v>
                </c:pt>
                <c:pt idx="1424">
                  <c:v>6774.6511574366186</c:v>
                </c:pt>
                <c:pt idx="1425">
                  <c:v>6807.2592734891841</c:v>
                </c:pt>
                <c:pt idx="1426">
                  <c:v>6784.5393388059283</c:v>
                </c:pt>
                <c:pt idx="1427">
                  <c:v>6758.0002447096567</c:v>
                </c:pt>
                <c:pt idx="1428">
                  <c:v>6888.7147075712583</c:v>
                </c:pt>
                <c:pt idx="1429">
                  <c:v>6874.8526894267852</c:v>
                </c:pt>
                <c:pt idx="1430">
                  <c:v>6941.0648003353272</c:v>
                </c:pt>
                <c:pt idx="1431">
                  <c:v>6877.3647669994289</c:v>
                </c:pt>
                <c:pt idx="1432">
                  <c:v>6839.3358993935235</c:v>
                </c:pt>
                <c:pt idx="1433">
                  <c:v>6829.1290297433707</c:v>
                </c:pt>
                <c:pt idx="1434">
                  <c:v>6772.6258214345489</c:v>
                </c:pt>
                <c:pt idx="1435">
                  <c:v>6802.6001629066513</c:v>
                </c:pt>
                <c:pt idx="1436">
                  <c:v>6824.6486358556194</c:v>
                </c:pt>
                <c:pt idx="1437">
                  <c:v>6842.0194637826453</c:v>
                </c:pt>
                <c:pt idx="1438">
                  <c:v>6844.2152336763875</c:v>
                </c:pt>
                <c:pt idx="1439">
                  <c:v>6938.6397816278059</c:v>
                </c:pt>
                <c:pt idx="1440">
                  <c:v>7011.0504181536762</c:v>
                </c:pt>
                <c:pt idx="1441">
                  <c:v>7150.2179595853049</c:v>
                </c:pt>
                <c:pt idx="1442">
                  <c:v>7073.1530564697086</c:v>
                </c:pt>
                <c:pt idx="1443">
                  <c:v>7023.5170448175886</c:v>
                </c:pt>
                <c:pt idx="1444">
                  <c:v>7095.9530343410943</c:v>
                </c:pt>
                <c:pt idx="1445">
                  <c:v>7053.5654871808147</c:v>
                </c:pt>
                <c:pt idx="1446">
                  <c:v>7250.7177932774093</c:v>
                </c:pt>
                <c:pt idx="1447">
                  <c:v>7275.4265677822732</c:v>
                </c:pt>
                <c:pt idx="1448">
                  <c:v>7355.6746361766009</c:v>
                </c:pt>
                <c:pt idx="1449">
                  <c:v>7315.8475019491634</c:v>
                </c:pt>
                <c:pt idx="1450">
                  <c:v>7342.7868668648925</c:v>
                </c:pt>
                <c:pt idx="1451">
                  <c:v>7335.9258948539255</c:v>
                </c:pt>
                <c:pt idx="1452">
                  <c:v>7412.3167929908741</c:v>
                </c:pt>
              </c:numCache>
            </c:numRef>
          </c:val>
          <c:smooth val="0"/>
          <c:extLst>
            <c:ext xmlns:c16="http://schemas.microsoft.com/office/drawing/2014/chart" uri="{C3380CC4-5D6E-409C-BE32-E72D297353CC}">
              <c16:uniqueId val="{00000001-9C55-4414-BEA8-148356EDEE1D}"/>
            </c:ext>
          </c:extLst>
        </c:ser>
        <c:ser>
          <c:idx val="2"/>
          <c:order val="2"/>
          <c:tx>
            <c:strRef>
              <c:f>Sheet1!$D$1</c:f>
              <c:strCache>
                <c:ptCount val="1"/>
                <c:pt idx="0">
                  <c:v>CSI index</c:v>
                </c:pt>
              </c:strCache>
            </c:strRef>
          </c:tx>
          <c:spPr>
            <a:ln w="28575" cap="rnd">
              <a:solidFill>
                <a:schemeClr val="accent2">
                  <a:lumMod val="75000"/>
                </a:schemeClr>
              </a:solidFill>
              <a:round/>
            </a:ln>
            <a:effectLst/>
          </c:spPr>
          <c:marker>
            <c:symbol val="none"/>
          </c:marker>
          <c:cat>
            <c:numRef>
              <c:f>Sheet1!$A$2:$A$1454</c:f>
              <c:numCache>
                <c:formatCode>yyyy/mm/dd;@</c:formatCode>
                <c:ptCount val="1453"/>
                <c:pt idx="0">
                  <c:v>41681</c:v>
                </c:pt>
                <c:pt idx="1">
                  <c:v>41682</c:v>
                </c:pt>
                <c:pt idx="2">
                  <c:v>41683</c:v>
                </c:pt>
                <c:pt idx="3">
                  <c:v>41684</c:v>
                </c:pt>
                <c:pt idx="4">
                  <c:v>41687</c:v>
                </c:pt>
                <c:pt idx="5">
                  <c:v>41688</c:v>
                </c:pt>
                <c:pt idx="6">
                  <c:v>41689</c:v>
                </c:pt>
                <c:pt idx="7">
                  <c:v>41690</c:v>
                </c:pt>
                <c:pt idx="8">
                  <c:v>41691</c:v>
                </c:pt>
                <c:pt idx="9">
                  <c:v>41694</c:v>
                </c:pt>
                <c:pt idx="10">
                  <c:v>41695</c:v>
                </c:pt>
                <c:pt idx="11">
                  <c:v>41696</c:v>
                </c:pt>
                <c:pt idx="12">
                  <c:v>41697</c:v>
                </c:pt>
                <c:pt idx="13">
                  <c:v>41698</c:v>
                </c:pt>
                <c:pt idx="14">
                  <c:v>41701</c:v>
                </c:pt>
                <c:pt idx="15">
                  <c:v>41702</c:v>
                </c:pt>
                <c:pt idx="16">
                  <c:v>41703</c:v>
                </c:pt>
                <c:pt idx="17">
                  <c:v>41704</c:v>
                </c:pt>
                <c:pt idx="18">
                  <c:v>41705</c:v>
                </c:pt>
                <c:pt idx="19">
                  <c:v>41708</c:v>
                </c:pt>
                <c:pt idx="20">
                  <c:v>41709</c:v>
                </c:pt>
                <c:pt idx="21">
                  <c:v>41710</c:v>
                </c:pt>
                <c:pt idx="22">
                  <c:v>41711</c:v>
                </c:pt>
                <c:pt idx="23">
                  <c:v>41712</c:v>
                </c:pt>
                <c:pt idx="24">
                  <c:v>41715</c:v>
                </c:pt>
                <c:pt idx="25">
                  <c:v>41716</c:v>
                </c:pt>
                <c:pt idx="26">
                  <c:v>41717</c:v>
                </c:pt>
                <c:pt idx="27">
                  <c:v>41718</c:v>
                </c:pt>
                <c:pt idx="28">
                  <c:v>41719</c:v>
                </c:pt>
                <c:pt idx="29">
                  <c:v>41722</c:v>
                </c:pt>
                <c:pt idx="30">
                  <c:v>41723</c:v>
                </c:pt>
                <c:pt idx="31">
                  <c:v>41724</c:v>
                </c:pt>
                <c:pt idx="32">
                  <c:v>41725</c:v>
                </c:pt>
                <c:pt idx="33">
                  <c:v>41726</c:v>
                </c:pt>
                <c:pt idx="34">
                  <c:v>41729</c:v>
                </c:pt>
                <c:pt idx="35">
                  <c:v>41730</c:v>
                </c:pt>
                <c:pt idx="36">
                  <c:v>41731</c:v>
                </c:pt>
                <c:pt idx="37">
                  <c:v>41732</c:v>
                </c:pt>
                <c:pt idx="38">
                  <c:v>41733</c:v>
                </c:pt>
                <c:pt idx="39">
                  <c:v>41737</c:v>
                </c:pt>
                <c:pt idx="40">
                  <c:v>41738</c:v>
                </c:pt>
                <c:pt idx="41">
                  <c:v>41739</c:v>
                </c:pt>
                <c:pt idx="42">
                  <c:v>41740</c:v>
                </c:pt>
                <c:pt idx="43">
                  <c:v>41743</c:v>
                </c:pt>
                <c:pt idx="44">
                  <c:v>41744</c:v>
                </c:pt>
                <c:pt idx="45">
                  <c:v>41745</c:v>
                </c:pt>
                <c:pt idx="46">
                  <c:v>41746</c:v>
                </c:pt>
                <c:pt idx="47">
                  <c:v>41747</c:v>
                </c:pt>
                <c:pt idx="48">
                  <c:v>41750</c:v>
                </c:pt>
                <c:pt idx="49">
                  <c:v>41751</c:v>
                </c:pt>
                <c:pt idx="50">
                  <c:v>41752</c:v>
                </c:pt>
                <c:pt idx="51">
                  <c:v>41753</c:v>
                </c:pt>
                <c:pt idx="52">
                  <c:v>41754</c:v>
                </c:pt>
                <c:pt idx="53">
                  <c:v>41757</c:v>
                </c:pt>
                <c:pt idx="54">
                  <c:v>41758</c:v>
                </c:pt>
                <c:pt idx="55">
                  <c:v>41759</c:v>
                </c:pt>
                <c:pt idx="56">
                  <c:v>41764</c:v>
                </c:pt>
                <c:pt idx="57">
                  <c:v>41765</c:v>
                </c:pt>
                <c:pt idx="58">
                  <c:v>41766</c:v>
                </c:pt>
                <c:pt idx="59">
                  <c:v>41767</c:v>
                </c:pt>
                <c:pt idx="60">
                  <c:v>41768</c:v>
                </c:pt>
                <c:pt idx="61">
                  <c:v>41771</c:v>
                </c:pt>
                <c:pt idx="62">
                  <c:v>41772</c:v>
                </c:pt>
                <c:pt idx="63">
                  <c:v>41773</c:v>
                </c:pt>
                <c:pt idx="64">
                  <c:v>41774</c:v>
                </c:pt>
                <c:pt idx="65">
                  <c:v>41775</c:v>
                </c:pt>
                <c:pt idx="66">
                  <c:v>41778</c:v>
                </c:pt>
                <c:pt idx="67">
                  <c:v>41779</c:v>
                </c:pt>
                <c:pt idx="68">
                  <c:v>41780</c:v>
                </c:pt>
                <c:pt idx="69">
                  <c:v>41781</c:v>
                </c:pt>
                <c:pt idx="70">
                  <c:v>41782</c:v>
                </c:pt>
                <c:pt idx="71">
                  <c:v>41785</c:v>
                </c:pt>
                <c:pt idx="72">
                  <c:v>41786</c:v>
                </c:pt>
                <c:pt idx="73">
                  <c:v>41787</c:v>
                </c:pt>
                <c:pt idx="74">
                  <c:v>41788</c:v>
                </c:pt>
                <c:pt idx="75">
                  <c:v>41789</c:v>
                </c:pt>
                <c:pt idx="76">
                  <c:v>41793</c:v>
                </c:pt>
                <c:pt idx="77">
                  <c:v>41794</c:v>
                </c:pt>
                <c:pt idx="78">
                  <c:v>41795</c:v>
                </c:pt>
                <c:pt idx="79">
                  <c:v>41796</c:v>
                </c:pt>
                <c:pt idx="80">
                  <c:v>41799</c:v>
                </c:pt>
                <c:pt idx="81">
                  <c:v>41800</c:v>
                </c:pt>
                <c:pt idx="82">
                  <c:v>41801</c:v>
                </c:pt>
                <c:pt idx="83">
                  <c:v>41802</c:v>
                </c:pt>
                <c:pt idx="84">
                  <c:v>41803</c:v>
                </c:pt>
                <c:pt idx="85">
                  <c:v>41806</c:v>
                </c:pt>
                <c:pt idx="86">
                  <c:v>41807</c:v>
                </c:pt>
                <c:pt idx="87">
                  <c:v>41808</c:v>
                </c:pt>
                <c:pt idx="88">
                  <c:v>41809</c:v>
                </c:pt>
                <c:pt idx="89">
                  <c:v>41810</c:v>
                </c:pt>
                <c:pt idx="90">
                  <c:v>41813</c:v>
                </c:pt>
                <c:pt idx="91">
                  <c:v>41814</c:v>
                </c:pt>
                <c:pt idx="92">
                  <c:v>41815</c:v>
                </c:pt>
                <c:pt idx="93">
                  <c:v>41816</c:v>
                </c:pt>
                <c:pt idx="94">
                  <c:v>41817</c:v>
                </c:pt>
                <c:pt idx="95">
                  <c:v>41820</c:v>
                </c:pt>
                <c:pt idx="96">
                  <c:v>41821</c:v>
                </c:pt>
                <c:pt idx="97">
                  <c:v>41822</c:v>
                </c:pt>
                <c:pt idx="98">
                  <c:v>41823</c:v>
                </c:pt>
                <c:pt idx="99">
                  <c:v>41824</c:v>
                </c:pt>
                <c:pt idx="100">
                  <c:v>41827</c:v>
                </c:pt>
                <c:pt idx="101">
                  <c:v>41828</c:v>
                </c:pt>
                <c:pt idx="102">
                  <c:v>41829</c:v>
                </c:pt>
                <c:pt idx="103">
                  <c:v>41830</c:v>
                </c:pt>
                <c:pt idx="104">
                  <c:v>41831</c:v>
                </c:pt>
                <c:pt idx="105">
                  <c:v>41834</c:v>
                </c:pt>
                <c:pt idx="106">
                  <c:v>41835</c:v>
                </c:pt>
                <c:pt idx="107">
                  <c:v>41836</c:v>
                </c:pt>
                <c:pt idx="108">
                  <c:v>41837</c:v>
                </c:pt>
                <c:pt idx="109">
                  <c:v>41838</c:v>
                </c:pt>
                <c:pt idx="110">
                  <c:v>41841</c:v>
                </c:pt>
                <c:pt idx="111">
                  <c:v>41842</c:v>
                </c:pt>
                <c:pt idx="112">
                  <c:v>41843</c:v>
                </c:pt>
                <c:pt idx="113">
                  <c:v>41844</c:v>
                </c:pt>
                <c:pt idx="114">
                  <c:v>41845</c:v>
                </c:pt>
                <c:pt idx="115">
                  <c:v>41848</c:v>
                </c:pt>
                <c:pt idx="116">
                  <c:v>41849</c:v>
                </c:pt>
                <c:pt idx="117">
                  <c:v>41850</c:v>
                </c:pt>
                <c:pt idx="118">
                  <c:v>41851</c:v>
                </c:pt>
                <c:pt idx="119">
                  <c:v>41852</c:v>
                </c:pt>
                <c:pt idx="120">
                  <c:v>41855</c:v>
                </c:pt>
                <c:pt idx="121">
                  <c:v>41856</c:v>
                </c:pt>
                <c:pt idx="122">
                  <c:v>41857</c:v>
                </c:pt>
                <c:pt idx="123">
                  <c:v>41858</c:v>
                </c:pt>
                <c:pt idx="124">
                  <c:v>41859</c:v>
                </c:pt>
                <c:pt idx="125">
                  <c:v>41862</c:v>
                </c:pt>
                <c:pt idx="126">
                  <c:v>41863</c:v>
                </c:pt>
                <c:pt idx="127">
                  <c:v>41864</c:v>
                </c:pt>
                <c:pt idx="128">
                  <c:v>41865</c:v>
                </c:pt>
                <c:pt idx="129">
                  <c:v>41866</c:v>
                </c:pt>
                <c:pt idx="130">
                  <c:v>41869</c:v>
                </c:pt>
                <c:pt idx="131">
                  <c:v>41870</c:v>
                </c:pt>
                <c:pt idx="132">
                  <c:v>41871</c:v>
                </c:pt>
                <c:pt idx="133">
                  <c:v>41872</c:v>
                </c:pt>
                <c:pt idx="134">
                  <c:v>41873</c:v>
                </c:pt>
                <c:pt idx="135">
                  <c:v>41876</c:v>
                </c:pt>
                <c:pt idx="136">
                  <c:v>41877</c:v>
                </c:pt>
                <c:pt idx="137">
                  <c:v>41878</c:v>
                </c:pt>
                <c:pt idx="138">
                  <c:v>41879</c:v>
                </c:pt>
                <c:pt idx="139">
                  <c:v>41880</c:v>
                </c:pt>
                <c:pt idx="140">
                  <c:v>41883</c:v>
                </c:pt>
                <c:pt idx="141">
                  <c:v>41884</c:v>
                </c:pt>
                <c:pt idx="142">
                  <c:v>41885</c:v>
                </c:pt>
                <c:pt idx="143">
                  <c:v>41886</c:v>
                </c:pt>
                <c:pt idx="144">
                  <c:v>41887</c:v>
                </c:pt>
                <c:pt idx="145">
                  <c:v>41891</c:v>
                </c:pt>
                <c:pt idx="146">
                  <c:v>41892</c:v>
                </c:pt>
                <c:pt idx="147">
                  <c:v>41893</c:v>
                </c:pt>
                <c:pt idx="148">
                  <c:v>41894</c:v>
                </c:pt>
                <c:pt idx="149">
                  <c:v>41897</c:v>
                </c:pt>
                <c:pt idx="150">
                  <c:v>41898</c:v>
                </c:pt>
                <c:pt idx="151">
                  <c:v>41899</c:v>
                </c:pt>
                <c:pt idx="152">
                  <c:v>41900</c:v>
                </c:pt>
                <c:pt idx="153">
                  <c:v>41901</c:v>
                </c:pt>
                <c:pt idx="154">
                  <c:v>41904</c:v>
                </c:pt>
                <c:pt idx="155">
                  <c:v>41905</c:v>
                </c:pt>
                <c:pt idx="156">
                  <c:v>41906</c:v>
                </c:pt>
                <c:pt idx="157">
                  <c:v>41907</c:v>
                </c:pt>
                <c:pt idx="158">
                  <c:v>41908</c:v>
                </c:pt>
                <c:pt idx="159">
                  <c:v>41911</c:v>
                </c:pt>
                <c:pt idx="160">
                  <c:v>41912</c:v>
                </c:pt>
                <c:pt idx="161">
                  <c:v>41920</c:v>
                </c:pt>
                <c:pt idx="162">
                  <c:v>41921</c:v>
                </c:pt>
                <c:pt idx="163">
                  <c:v>41922</c:v>
                </c:pt>
                <c:pt idx="164">
                  <c:v>41925</c:v>
                </c:pt>
                <c:pt idx="165">
                  <c:v>41926</c:v>
                </c:pt>
                <c:pt idx="166">
                  <c:v>41927</c:v>
                </c:pt>
                <c:pt idx="167">
                  <c:v>41928</c:v>
                </c:pt>
                <c:pt idx="168">
                  <c:v>41929</c:v>
                </c:pt>
                <c:pt idx="169">
                  <c:v>41932</c:v>
                </c:pt>
                <c:pt idx="170">
                  <c:v>41933</c:v>
                </c:pt>
                <c:pt idx="171">
                  <c:v>41934</c:v>
                </c:pt>
                <c:pt idx="172">
                  <c:v>41935</c:v>
                </c:pt>
                <c:pt idx="173">
                  <c:v>41936</c:v>
                </c:pt>
                <c:pt idx="174">
                  <c:v>41939</c:v>
                </c:pt>
                <c:pt idx="175">
                  <c:v>41940</c:v>
                </c:pt>
                <c:pt idx="176">
                  <c:v>41941</c:v>
                </c:pt>
                <c:pt idx="177">
                  <c:v>41942</c:v>
                </c:pt>
                <c:pt idx="178">
                  <c:v>41943</c:v>
                </c:pt>
                <c:pt idx="179">
                  <c:v>41946</c:v>
                </c:pt>
                <c:pt idx="180">
                  <c:v>41947</c:v>
                </c:pt>
                <c:pt idx="181">
                  <c:v>41948</c:v>
                </c:pt>
                <c:pt idx="182">
                  <c:v>41949</c:v>
                </c:pt>
                <c:pt idx="183">
                  <c:v>41950</c:v>
                </c:pt>
                <c:pt idx="184">
                  <c:v>41953</c:v>
                </c:pt>
                <c:pt idx="185">
                  <c:v>41954</c:v>
                </c:pt>
                <c:pt idx="186">
                  <c:v>41955</c:v>
                </c:pt>
                <c:pt idx="187">
                  <c:v>41956</c:v>
                </c:pt>
                <c:pt idx="188">
                  <c:v>41957</c:v>
                </c:pt>
                <c:pt idx="189">
                  <c:v>41960</c:v>
                </c:pt>
                <c:pt idx="190">
                  <c:v>41961</c:v>
                </c:pt>
                <c:pt idx="191">
                  <c:v>41962</c:v>
                </c:pt>
                <c:pt idx="192">
                  <c:v>41963</c:v>
                </c:pt>
                <c:pt idx="193">
                  <c:v>41964</c:v>
                </c:pt>
                <c:pt idx="194">
                  <c:v>41967</c:v>
                </c:pt>
                <c:pt idx="195">
                  <c:v>41968</c:v>
                </c:pt>
                <c:pt idx="196">
                  <c:v>41969</c:v>
                </c:pt>
                <c:pt idx="197">
                  <c:v>41970</c:v>
                </c:pt>
                <c:pt idx="198">
                  <c:v>41971</c:v>
                </c:pt>
                <c:pt idx="199">
                  <c:v>41974</c:v>
                </c:pt>
                <c:pt idx="200">
                  <c:v>41975</c:v>
                </c:pt>
                <c:pt idx="201">
                  <c:v>41976</c:v>
                </c:pt>
                <c:pt idx="202">
                  <c:v>41977</c:v>
                </c:pt>
                <c:pt idx="203">
                  <c:v>41978</c:v>
                </c:pt>
                <c:pt idx="204">
                  <c:v>41981</c:v>
                </c:pt>
                <c:pt idx="205">
                  <c:v>41982</c:v>
                </c:pt>
                <c:pt idx="206">
                  <c:v>41983</c:v>
                </c:pt>
                <c:pt idx="207">
                  <c:v>41984</c:v>
                </c:pt>
                <c:pt idx="208">
                  <c:v>41985</c:v>
                </c:pt>
                <c:pt idx="209">
                  <c:v>41988</c:v>
                </c:pt>
                <c:pt idx="210">
                  <c:v>41989</c:v>
                </c:pt>
                <c:pt idx="211">
                  <c:v>41990</c:v>
                </c:pt>
                <c:pt idx="212">
                  <c:v>41991</c:v>
                </c:pt>
                <c:pt idx="213">
                  <c:v>41992</c:v>
                </c:pt>
                <c:pt idx="214">
                  <c:v>41995</c:v>
                </c:pt>
                <c:pt idx="215">
                  <c:v>41996</c:v>
                </c:pt>
                <c:pt idx="216">
                  <c:v>41997</c:v>
                </c:pt>
                <c:pt idx="217">
                  <c:v>41998</c:v>
                </c:pt>
                <c:pt idx="218">
                  <c:v>41999</c:v>
                </c:pt>
                <c:pt idx="219">
                  <c:v>42002</c:v>
                </c:pt>
                <c:pt idx="220">
                  <c:v>42003</c:v>
                </c:pt>
                <c:pt idx="221">
                  <c:v>42004</c:v>
                </c:pt>
                <c:pt idx="222">
                  <c:v>42009</c:v>
                </c:pt>
                <c:pt idx="223">
                  <c:v>42010</c:v>
                </c:pt>
                <c:pt idx="224">
                  <c:v>42011</c:v>
                </c:pt>
                <c:pt idx="225">
                  <c:v>42012</c:v>
                </c:pt>
                <c:pt idx="226">
                  <c:v>42013</c:v>
                </c:pt>
                <c:pt idx="227">
                  <c:v>42016</c:v>
                </c:pt>
                <c:pt idx="228">
                  <c:v>42017</c:v>
                </c:pt>
                <c:pt idx="229">
                  <c:v>42018</c:v>
                </c:pt>
                <c:pt idx="230">
                  <c:v>42019</c:v>
                </c:pt>
                <c:pt idx="231">
                  <c:v>42020</c:v>
                </c:pt>
                <c:pt idx="232">
                  <c:v>42023</c:v>
                </c:pt>
                <c:pt idx="233">
                  <c:v>42024</c:v>
                </c:pt>
                <c:pt idx="234">
                  <c:v>42025</c:v>
                </c:pt>
                <c:pt idx="235">
                  <c:v>42026</c:v>
                </c:pt>
                <c:pt idx="236">
                  <c:v>42027</c:v>
                </c:pt>
                <c:pt idx="237">
                  <c:v>42030</c:v>
                </c:pt>
                <c:pt idx="238">
                  <c:v>42031</c:v>
                </c:pt>
                <c:pt idx="239">
                  <c:v>42032</c:v>
                </c:pt>
                <c:pt idx="240">
                  <c:v>42033</c:v>
                </c:pt>
                <c:pt idx="241">
                  <c:v>42034</c:v>
                </c:pt>
                <c:pt idx="242">
                  <c:v>42037</c:v>
                </c:pt>
                <c:pt idx="243">
                  <c:v>42038</c:v>
                </c:pt>
                <c:pt idx="244">
                  <c:v>42039</c:v>
                </c:pt>
                <c:pt idx="245">
                  <c:v>42040</c:v>
                </c:pt>
                <c:pt idx="246">
                  <c:v>42041</c:v>
                </c:pt>
                <c:pt idx="247">
                  <c:v>42044</c:v>
                </c:pt>
                <c:pt idx="248">
                  <c:v>42045</c:v>
                </c:pt>
                <c:pt idx="249">
                  <c:v>42046</c:v>
                </c:pt>
                <c:pt idx="250">
                  <c:v>42047</c:v>
                </c:pt>
                <c:pt idx="251">
                  <c:v>42048</c:v>
                </c:pt>
                <c:pt idx="252">
                  <c:v>42051</c:v>
                </c:pt>
                <c:pt idx="253">
                  <c:v>42052</c:v>
                </c:pt>
                <c:pt idx="254">
                  <c:v>42060</c:v>
                </c:pt>
                <c:pt idx="255">
                  <c:v>42061</c:v>
                </c:pt>
                <c:pt idx="256">
                  <c:v>42062</c:v>
                </c:pt>
                <c:pt idx="257">
                  <c:v>42065</c:v>
                </c:pt>
                <c:pt idx="258">
                  <c:v>42066</c:v>
                </c:pt>
                <c:pt idx="259">
                  <c:v>42067</c:v>
                </c:pt>
                <c:pt idx="260">
                  <c:v>42068</c:v>
                </c:pt>
                <c:pt idx="261">
                  <c:v>42069</c:v>
                </c:pt>
                <c:pt idx="262">
                  <c:v>42072</c:v>
                </c:pt>
                <c:pt idx="263">
                  <c:v>42073</c:v>
                </c:pt>
                <c:pt idx="264">
                  <c:v>42074</c:v>
                </c:pt>
                <c:pt idx="265">
                  <c:v>42075</c:v>
                </c:pt>
                <c:pt idx="266">
                  <c:v>42076</c:v>
                </c:pt>
                <c:pt idx="267">
                  <c:v>42079</c:v>
                </c:pt>
                <c:pt idx="268">
                  <c:v>42080</c:v>
                </c:pt>
                <c:pt idx="269">
                  <c:v>42081</c:v>
                </c:pt>
                <c:pt idx="270">
                  <c:v>42082</c:v>
                </c:pt>
                <c:pt idx="271">
                  <c:v>42083</c:v>
                </c:pt>
                <c:pt idx="272">
                  <c:v>42086</c:v>
                </c:pt>
                <c:pt idx="273">
                  <c:v>42087</c:v>
                </c:pt>
                <c:pt idx="274">
                  <c:v>42088</c:v>
                </c:pt>
                <c:pt idx="275">
                  <c:v>42089</c:v>
                </c:pt>
                <c:pt idx="276">
                  <c:v>42090</c:v>
                </c:pt>
                <c:pt idx="277">
                  <c:v>42093</c:v>
                </c:pt>
                <c:pt idx="278">
                  <c:v>42094</c:v>
                </c:pt>
                <c:pt idx="279">
                  <c:v>42095</c:v>
                </c:pt>
                <c:pt idx="280">
                  <c:v>42096</c:v>
                </c:pt>
                <c:pt idx="281">
                  <c:v>42097</c:v>
                </c:pt>
                <c:pt idx="282">
                  <c:v>42101</c:v>
                </c:pt>
                <c:pt idx="283">
                  <c:v>42102</c:v>
                </c:pt>
                <c:pt idx="284">
                  <c:v>42103</c:v>
                </c:pt>
                <c:pt idx="285">
                  <c:v>42104</c:v>
                </c:pt>
                <c:pt idx="286">
                  <c:v>42107</c:v>
                </c:pt>
                <c:pt idx="287">
                  <c:v>42108</c:v>
                </c:pt>
                <c:pt idx="288">
                  <c:v>42109</c:v>
                </c:pt>
                <c:pt idx="289">
                  <c:v>42110</c:v>
                </c:pt>
                <c:pt idx="290">
                  <c:v>42111</c:v>
                </c:pt>
                <c:pt idx="291">
                  <c:v>42114</c:v>
                </c:pt>
                <c:pt idx="292">
                  <c:v>42115</c:v>
                </c:pt>
                <c:pt idx="293">
                  <c:v>42116</c:v>
                </c:pt>
                <c:pt idx="294">
                  <c:v>42117</c:v>
                </c:pt>
                <c:pt idx="295">
                  <c:v>42118</c:v>
                </c:pt>
                <c:pt idx="296">
                  <c:v>42121</c:v>
                </c:pt>
                <c:pt idx="297">
                  <c:v>42122</c:v>
                </c:pt>
                <c:pt idx="298">
                  <c:v>42123</c:v>
                </c:pt>
                <c:pt idx="299">
                  <c:v>42124</c:v>
                </c:pt>
                <c:pt idx="300">
                  <c:v>42128</c:v>
                </c:pt>
                <c:pt idx="301">
                  <c:v>42129</c:v>
                </c:pt>
                <c:pt idx="302">
                  <c:v>42130</c:v>
                </c:pt>
                <c:pt idx="303">
                  <c:v>42131</c:v>
                </c:pt>
                <c:pt idx="304">
                  <c:v>42132</c:v>
                </c:pt>
                <c:pt idx="305">
                  <c:v>42135</c:v>
                </c:pt>
                <c:pt idx="306">
                  <c:v>42136</c:v>
                </c:pt>
                <c:pt idx="307">
                  <c:v>42137</c:v>
                </c:pt>
                <c:pt idx="308">
                  <c:v>42138</c:v>
                </c:pt>
                <c:pt idx="309">
                  <c:v>42139</c:v>
                </c:pt>
                <c:pt idx="310">
                  <c:v>42142</c:v>
                </c:pt>
                <c:pt idx="311">
                  <c:v>42143</c:v>
                </c:pt>
                <c:pt idx="312">
                  <c:v>42144</c:v>
                </c:pt>
                <c:pt idx="313">
                  <c:v>42145</c:v>
                </c:pt>
                <c:pt idx="314">
                  <c:v>42146</c:v>
                </c:pt>
                <c:pt idx="315">
                  <c:v>42149</c:v>
                </c:pt>
                <c:pt idx="316">
                  <c:v>42150</c:v>
                </c:pt>
                <c:pt idx="317">
                  <c:v>42151</c:v>
                </c:pt>
                <c:pt idx="318">
                  <c:v>42152</c:v>
                </c:pt>
                <c:pt idx="319">
                  <c:v>42153</c:v>
                </c:pt>
                <c:pt idx="320">
                  <c:v>42156</c:v>
                </c:pt>
                <c:pt idx="321">
                  <c:v>42157</c:v>
                </c:pt>
                <c:pt idx="322">
                  <c:v>42158</c:v>
                </c:pt>
                <c:pt idx="323">
                  <c:v>42159</c:v>
                </c:pt>
                <c:pt idx="324">
                  <c:v>42160</c:v>
                </c:pt>
                <c:pt idx="325">
                  <c:v>42163</c:v>
                </c:pt>
                <c:pt idx="326">
                  <c:v>42164</c:v>
                </c:pt>
                <c:pt idx="327">
                  <c:v>42165</c:v>
                </c:pt>
                <c:pt idx="328">
                  <c:v>42166</c:v>
                </c:pt>
                <c:pt idx="329">
                  <c:v>42167</c:v>
                </c:pt>
                <c:pt idx="330">
                  <c:v>42170</c:v>
                </c:pt>
                <c:pt idx="331">
                  <c:v>42171</c:v>
                </c:pt>
                <c:pt idx="332">
                  <c:v>42172</c:v>
                </c:pt>
                <c:pt idx="333">
                  <c:v>42173</c:v>
                </c:pt>
                <c:pt idx="334">
                  <c:v>42174</c:v>
                </c:pt>
                <c:pt idx="335">
                  <c:v>42178</c:v>
                </c:pt>
                <c:pt idx="336">
                  <c:v>42179</c:v>
                </c:pt>
                <c:pt idx="337">
                  <c:v>42180</c:v>
                </c:pt>
                <c:pt idx="338">
                  <c:v>42181</c:v>
                </c:pt>
                <c:pt idx="339">
                  <c:v>42184</c:v>
                </c:pt>
                <c:pt idx="340">
                  <c:v>42185</c:v>
                </c:pt>
                <c:pt idx="341">
                  <c:v>42186</c:v>
                </c:pt>
                <c:pt idx="342">
                  <c:v>42187</c:v>
                </c:pt>
                <c:pt idx="343">
                  <c:v>42188</c:v>
                </c:pt>
                <c:pt idx="344">
                  <c:v>42191</c:v>
                </c:pt>
                <c:pt idx="345">
                  <c:v>42192</c:v>
                </c:pt>
                <c:pt idx="346">
                  <c:v>42193</c:v>
                </c:pt>
                <c:pt idx="347">
                  <c:v>42194</c:v>
                </c:pt>
                <c:pt idx="348">
                  <c:v>42195</c:v>
                </c:pt>
                <c:pt idx="349">
                  <c:v>42198</c:v>
                </c:pt>
                <c:pt idx="350">
                  <c:v>42199</c:v>
                </c:pt>
                <c:pt idx="351">
                  <c:v>42200</c:v>
                </c:pt>
                <c:pt idx="352">
                  <c:v>42201</c:v>
                </c:pt>
                <c:pt idx="353">
                  <c:v>42202</c:v>
                </c:pt>
                <c:pt idx="354">
                  <c:v>42205</c:v>
                </c:pt>
                <c:pt idx="355">
                  <c:v>42206</c:v>
                </c:pt>
                <c:pt idx="356">
                  <c:v>42207</c:v>
                </c:pt>
                <c:pt idx="357">
                  <c:v>42208</c:v>
                </c:pt>
                <c:pt idx="358">
                  <c:v>42209</c:v>
                </c:pt>
                <c:pt idx="359">
                  <c:v>42212</c:v>
                </c:pt>
                <c:pt idx="360">
                  <c:v>42213</c:v>
                </c:pt>
                <c:pt idx="361">
                  <c:v>42214</c:v>
                </c:pt>
                <c:pt idx="362">
                  <c:v>42215</c:v>
                </c:pt>
                <c:pt idx="363">
                  <c:v>42216</c:v>
                </c:pt>
                <c:pt idx="364">
                  <c:v>42219</c:v>
                </c:pt>
                <c:pt idx="365">
                  <c:v>42220</c:v>
                </c:pt>
                <c:pt idx="366">
                  <c:v>42221</c:v>
                </c:pt>
                <c:pt idx="367">
                  <c:v>42222</c:v>
                </c:pt>
                <c:pt idx="368">
                  <c:v>42223</c:v>
                </c:pt>
                <c:pt idx="369">
                  <c:v>42226</c:v>
                </c:pt>
                <c:pt idx="370">
                  <c:v>42227</c:v>
                </c:pt>
                <c:pt idx="371">
                  <c:v>42228</c:v>
                </c:pt>
                <c:pt idx="372">
                  <c:v>42229</c:v>
                </c:pt>
                <c:pt idx="373">
                  <c:v>42230</c:v>
                </c:pt>
                <c:pt idx="374">
                  <c:v>42233</c:v>
                </c:pt>
                <c:pt idx="375">
                  <c:v>42234</c:v>
                </c:pt>
                <c:pt idx="376">
                  <c:v>42235</c:v>
                </c:pt>
                <c:pt idx="377">
                  <c:v>42236</c:v>
                </c:pt>
                <c:pt idx="378">
                  <c:v>42237</c:v>
                </c:pt>
                <c:pt idx="379">
                  <c:v>42240</c:v>
                </c:pt>
                <c:pt idx="380">
                  <c:v>42241</c:v>
                </c:pt>
                <c:pt idx="381">
                  <c:v>42242</c:v>
                </c:pt>
                <c:pt idx="382">
                  <c:v>42243</c:v>
                </c:pt>
                <c:pt idx="383">
                  <c:v>42244</c:v>
                </c:pt>
                <c:pt idx="384">
                  <c:v>42247</c:v>
                </c:pt>
                <c:pt idx="385">
                  <c:v>42248</c:v>
                </c:pt>
                <c:pt idx="386">
                  <c:v>42249</c:v>
                </c:pt>
                <c:pt idx="387">
                  <c:v>42254</c:v>
                </c:pt>
                <c:pt idx="388">
                  <c:v>42255</c:v>
                </c:pt>
                <c:pt idx="389">
                  <c:v>42256</c:v>
                </c:pt>
                <c:pt idx="390">
                  <c:v>42257</c:v>
                </c:pt>
                <c:pt idx="391">
                  <c:v>42258</c:v>
                </c:pt>
                <c:pt idx="392">
                  <c:v>42261</c:v>
                </c:pt>
                <c:pt idx="393">
                  <c:v>42262</c:v>
                </c:pt>
                <c:pt idx="394">
                  <c:v>42263</c:v>
                </c:pt>
                <c:pt idx="395">
                  <c:v>42264</c:v>
                </c:pt>
                <c:pt idx="396">
                  <c:v>42265</c:v>
                </c:pt>
                <c:pt idx="397">
                  <c:v>42268</c:v>
                </c:pt>
                <c:pt idx="398">
                  <c:v>42269</c:v>
                </c:pt>
                <c:pt idx="399">
                  <c:v>42270</c:v>
                </c:pt>
                <c:pt idx="400">
                  <c:v>42271</c:v>
                </c:pt>
                <c:pt idx="401">
                  <c:v>42272</c:v>
                </c:pt>
                <c:pt idx="402">
                  <c:v>42275</c:v>
                </c:pt>
                <c:pt idx="403">
                  <c:v>42276</c:v>
                </c:pt>
                <c:pt idx="404">
                  <c:v>42277</c:v>
                </c:pt>
                <c:pt idx="405">
                  <c:v>42285</c:v>
                </c:pt>
                <c:pt idx="406">
                  <c:v>42286</c:v>
                </c:pt>
                <c:pt idx="407">
                  <c:v>42289</c:v>
                </c:pt>
                <c:pt idx="408">
                  <c:v>42290</c:v>
                </c:pt>
                <c:pt idx="409">
                  <c:v>42291</c:v>
                </c:pt>
                <c:pt idx="410">
                  <c:v>42292</c:v>
                </c:pt>
                <c:pt idx="411">
                  <c:v>42293</c:v>
                </c:pt>
                <c:pt idx="412">
                  <c:v>42296</c:v>
                </c:pt>
                <c:pt idx="413">
                  <c:v>42297</c:v>
                </c:pt>
                <c:pt idx="414">
                  <c:v>42298</c:v>
                </c:pt>
                <c:pt idx="415">
                  <c:v>42299</c:v>
                </c:pt>
                <c:pt idx="416">
                  <c:v>42300</c:v>
                </c:pt>
                <c:pt idx="417">
                  <c:v>42303</c:v>
                </c:pt>
                <c:pt idx="418">
                  <c:v>42304</c:v>
                </c:pt>
                <c:pt idx="419">
                  <c:v>42305</c:v>
                </c:pt>
                <c:pt idx="420">
                  <c:v>42306</c:v>
                </c:pt>
                <c:pt idx="421">
                  <c:v>42307</c:v>
                </c:pt>
                <c:pt idx="422">
                  <c:v>42310</c:v>
                </c:pt>
                <c:pt idx="423">
                  <c:v>42311</c:v>
                </c:pt>
                <c:pt idx="424">
                  <c:v>42312</c:v>
                </c:pt>
                <c:pt idx="425">
                  <c:v>42313</c:v>
                </c:pt>
                <c:pt idx="426">
                  <c:v>42314</c:v>
                </c:pt>
                <c:pt idx="427">
                  <c:v>42317</c:v>
                </c:pt>
                <c:pt idx="428">
                  <c:v>42318</c:v>
                </c:pt>
                <c:pt idx="429">
                  <c:v>42319</c:v>
                </c:pt>
                <c:pt idx="430">
                  <c:v>42320</c:v>
                </c:pt>
                <c:pt idx="431">
                  <c:v>42321</c:v>
                </c:pt>
                <c:pt idx="432">
                  <c:v>42324</c:v>
                </c:pt>
                <c:pt idx="433">
                  <c:v>42325</c:v>
                </c:pt>
                <c:pt idx="434">
                  <c:v>42326</c:v>
                </c:pt>
                <c:pt idx="435">
                  <c:v>42327</c:v>
                </c:pt>
                <c:pt idx="436">
                  <c:v>42328</c:v>
                </c:pt>
                <c:pt idx="437">
                  <c:v>42331</c:v>
                </c:pt>
                <c:pt idx="438">
                  <c:v>42332</c:v>
                </c:pt>
                <c:pt idx="439">
                  <c:v>42333</c:v>
                </c:pt>
                <c:pt idx="440">
                  <c:v>42334</c:v>
                </c:pt>
                <c:pt idx="441">
                  <c:v>42335</c:v>
                </c:pt>
                <c:pt idx="442">
                  <c:v>42338</c:v>
                </c:pt>
                <c:pt idx="443">
                  <c:v>42339</c:v>
                </c:pt>
                <c:pt idx="444">
                  <c:v>42340</c:v>
                </c:pt>
                <c:pt idx="445">
                  <c:v>42341</c:v>
                </c:pt>
                <c:pt idx="446">
                  <c:v>42342</c:v>
                </c:pt>
                <c:pt idx="447">
                  <c:v>42345</c:v>
                </c:pt>
                <c:pt idx="448">
                  <c:v>42346</c:v>
                </c:pt>
                <c:pt idx="449">
                  <c:v>42347</c:v>
                </c:pt>
                <c:pt idx="450">
                  <c:v>42348</c:v>
                </c:pt>
                <c:pt idx="451">
                  <c:v>42349</c:v>
                </c:pt>
                <c:pt idx="452">
                  <c:v>42352</c:v>
                </c:pt>
                <c:pt idx="453">
                  <c:v>42353</c:v>
                </c:pt>
                <c:pt idx="454">
                  <c:v>42354</c:v>
                </c:pt>
                <c:pt idx="455">
                  <c:v>42355</c:v>
                </c:pt>
                <c:pt idx="456">
                  <c:v>42356</c:v>
                </c:pt>
                <c:pt idx="457">
                  <c:v>42359</c:v>
                </c:pt>
                <c:pt idx="458">
                  <c:v>42360</c:v>
                </c:pt>
                <c:pt idx="459">
                  <c:v>42361</c:v>
                </c:pt>
                <c:pt idx="460">
                  <c:v>42362</c:v>
                </c:pt>
                <c:pt idx="461">
                  <c:v>42363</c:v>
                </c:pt>
                <c:pt idx="462">
                  <c:v>42366</c:v>
                </c:pt>
                <c:pt idx="463">
                  <c:v>42367</c:v>
                </c:pt>
                <c:pt idx="464">
                  <c:v>42368</c:v>
                </c:pt>
                <c:pt idx="465">
                  <c:v>42369</c:v>
                </c:pt>
                <c:pt idx="466">
                  <c:v>42373</c:v>
                </c:pt>
                <c:pt idx="467">
                  <c:v>42374</c:v>
                </c:pt>
                <c:pt idx="468">
                  <c:v>42375</c:v>
                </c:pt>
                <c:pt idx="469">
                  <c:v>42376</c:v>
                </c:pt>
                <c:pt idx="470">
                  <c:v>42377</c:v>
                </c:pt>
                <c:pt idx="471">
                  <c:v>42380</c:v>
                </c:pt>
                <c:pt idx="472">
                  <c:v>42381</c:v>
                </c:pt>
                <c:pt idx="473">
                  <c:v>42382</c:v>
                </c:pt>
                <c:pt idx="474">
                  <c:v>42383</c:v>
                </c:pt>
                <c:pt idx="475">
                  <c:v>42384</c:v>
                </c:pt>
                <c:pt idx="476">
                  <c:v>42387</c:v>
                </c:pt>
                <c:pt idx="477">
                  <c:v>42388</c:v>
                </c:pt>
                <c:pt idx="478">
                  <c:v>42389</c:v>
                </c:pt>
                <c:pt idx="479">
                  <c:v>42390</c:v>
                </c:pt>
                <c:pt idx="480">
                  <c:v>42391</c:v>
                </c:pt>
                <c:pt idx="481">
                  <c:v>42394</c:v>
                </c:pt>
                <c:pt idx="482">
                  <c:v>42395</c:v>
                </c:pt>
                <c:pt idx="483">
                  <c:v>42396</c:v>
                </c:pt>
                <c:pt idx="484">
                  <c:v>42397</c:v>
                </c:pt>
                <c:pt idx="485">
                  <c:v>42398</c:v>
                </c:pt>
                <c:pt idx="486">
                  <c:v>42401</c:v>
                </c:pt>
                <c:pt idx="487">
                  <c:v>42402</c:v>
                </c:pt>
                <c:pt idx="488">
                  <c:v>42403</c:v>
                </c:pt>
                <c:pt idx="489">
                  <c:v>42404</c:v>
                </c:pt>
                <c:pt idx="490">
                  <c:v>42405</c:v>
                </c:pt>
                <c:pt idx="491">
                  <c:v>42415</c:v>
                </c:pt>
                <c:pt idx="492">
                  <c:v>42416</c:v>
                </c:pt>
                <c:pt idx="493">
                  <c:v>42417</c:v>
                </c:pt>
                <c:pt idx="494">
                  <c:v>42418</c:v>
                </c:pt>
                <c:pt idx="495">
                  <c:v>42419</c:v>
                </c:pt>
                <c:pt idx="496">
                  <c:v>42422</c:v>
                </c:pt>
                <c:pt idx="497">
                  <c:v>42423</c:v>
                </c:pt>
                <c:pt idx="498">
                  <c:v>42424</c:v>
                </c:pt>
                <c:pt idx="499">
                  <c:v>42425</c:v>
                </c:pt>
                <c:pt idx="500">
                  <c:v>42426</c:v>
                </c:pt>
                <c:pt idx="501">
                  <c:v>42429</c:v>
                </c:pt>
                <c:pt idx="502">
                  <c:v>42430</c:v>
                </c:pt>
                <c:pt idx="503">
                  <c:v>42431</c:v>
                </c:pt>
                <c:pt idx="504">
                  <c:v>42432</c:v>
                </c:pt>
                <c:pt idx="505">
                  <c:v>42433</c:v>
                </c:pt>
                <c:pt idx="506">
                  <c:v>42436</c:v>
                </c:pt>
                <c:pt idx="507">
                  <c:v>42437</c:v>
                </c:pt>
                <c:pt idx="508">
                  <c:v>42438</c:v>
                </c:pt>
                <c:pt idx="509">
                  <c:v>42439</c:v>
                </c:pt>
                <c:pt idx="510">
                  <c:v>42440</c:v>
                </c:pt>
                <c:pt idx="511">
                  <c:v>42443</c:v>
                </c:pt>
                <c:pt idx="512">
                  <c:v>42444</c:v>
                </c:pt>
                <c:pt idx="513">
                  <c:v>42445</c:v>
                </c:pt>
                <c:pt idx="514">
                  <c:v>42446</c:v>
                </c:pt>
                <c:pt idx="515">
                  <c:v>42447</c:v>
                </c:pt>
                <c:pt idx="516">
                  <c:v>42450</c:v>
                </c:pt>
                <c:pt idx="517">
                  <c:v>42451</c:v>
                </c:pt>
                <c:pt idx="518">
                  <c:v>42452</c:v>
                </c:pt>
                <c:pt idx="519">
                  <c:v>42453</c:v>
                </c:pt>
                <c:pt idx="520">
                  <c:v>42454</c:v>
                </c:pt>
                <c:pt idx="521">
                  <c:v>42457</c:v>
                </c:pt>
                <c:pt idx="522">
                  <c:v>42458</c:v>
                </c:pt>
                <c:pt idx="523">
                  <c:v>42459</c:v>
                </c:pt>
                <c:pt idx="524">
                  <c:v>42460</c:v>
                </c:pt>
                <c:pt idx="525">
                  <c:v>42461</c:v>
                </c:pt>
                <c:pt idx="526">
                  <c:v>42465</c:v>
                </c:pt>
                <c:pt idx="527">
                  <c:v>42466</c:v>
                </c:pt>
                <c:pt idx="528">
                  <c:v>42467</c:v>
                </c:pt>
                <c:pt idx="529">
                  <c:v>42468</c:v>
                </c:pt>
                <c:pt idx="530">
                  <c:v>42471</c:v>
                </c:pt>
                <c:pt idx="531">
                  <c:v>42472</c:v>
                </c:pt>
                <c:pt idx="532">
                  <c:v>42473</c:v>
                </c:pt>
                <c:pt idx="533">
                  <c:v>42474</c:v>
                </c:pt>
                <c:pt idx="534">
                  <c:v>42475</c:v>
                </c:pt>
                <c:pt idx="535">
                  <c:v>42478</c:v>
                </c:pt>
                <c:pt idx="536">
                  <c:v>42479</c:v>
                </c:pt>
                <c:pt idx="537">
                  <c:v>42480</c:v>
                </c:pt>
                <c:pt idx="538">
                  <c:v>42481</c:v>
                </c:pt>
                <c:pt idx="539">
                  <c:v>42482</c:v>
                </c:pt>
                <c:pt idx="540">
                  <c:v>42485</c:v>
                </c:pt>
                <c:pt idx="541">
                  <c:v>42486</c:v>
                </c:pt>
                <c:pt idx="542">
                  <c:v>42487</c:v>
                </c:pt>
                <c:pt idx="543">
                  <c:v>42488</c:v>
                </c:pt>
                <c:pt idx="544">
                  <c:v>42489</c:v>
                </c:pt>
                <c:pt idx="545">
                  <c:v>42493</c:v>
                </c:pt>
                <c:pt idx="546">
                  <c:v>42494</c:v>
                </c:pt>
                <c:pt idx="547">
                  <c:v>42495</c:v>
                </c:pt>
                <c:pt idx="548">
                  <c:v>42496</c:v>
                </c:pt>
                <c:pt idx="549">
                  <c:v>42499</c:v>
                </c:pt>
                <c:pt idx="550">
                  <c:v>42500</c:v>
                </c:pt>
                <c:pt idx="551">
                  <c:v>42501</c:v>
                </c:pt>
                <c:pt idx="552">
                  <c:v>42502</c:v>
                </c:pt>
                <c:pt idx="553">
                  <c:v>42503</c:v>
                </c:pt>
                <c:pt idx="554">
                  <c:v>42506</c:v>
                </c:pt>
                <c:pt idx="555">
                  <c:v>42507</c:v>
                </c:pt>
                <c:pt idx="556">
                  <c:v>42508</c:v>
                </c:pt>
                <c:pt idx="557">
                  <c:v>42509</c:v>
                </c:pt>
                <c:pt idx="558">
                  <c:v>42510</c:v>
                </c:pt>
                <c:pt idx="559">
                  <c:v>42513</c:v>
                </c:pt>
                <c:pt idx="560">
                  <c:v>42514</c:v>
                </c:pt>
                <c:pt idx="561">
                  <c:v>42515</c:v>
                </c:pt>
                <c:pt idx="562">
                  <c:v>42516</c:v>
                </c:pt>
                <c:pt idx="563">
                  <c:v>42517</c:v>
                </c:pt>
                <c:pt idx="564">
                  <c:v>42520</c:v>
                </c:pt>
                <c:pt idx="565">
                  <c:v>42521</c:v>
                </c:pt>
                <c:pt idx="566">
                  <c:v>42522</c:v>
                </c:pt>
                <c:pt idx="567">
                  <c:v>42523</c:v>
                </c:pt>
                <c:pt idx="568">
                  <c:v>42524</c:v>
                </c:pt>
                <c:pt idx="569">
                  <c:v>42527</c:v>
                </c:pt>
                <c:pt idx="570">
                  <c:v>42528</c:v>
                </c:pt>
                <c:pt idx="571">
                  <c:v>42529</c:v>
                </c:pt>
                <c:pt idx="572">
                  <c:v>42534</c:v>
                </c:pt>
                <c:pt idx="573">
                  <c:v>42535</c:v>
                </c:pt>
                <c:pt idx="574">
                  <c:v>42536</c:v>
                </c:pt>
                <c:pt idx="575">
                  <c:v>42537</c:v>
                </c:pt>
                <c:pt idx="576">
                  <c:v>42538</c:v>
                </c:pt>
                <c:pt idx="577">
                  <c:v>42541</c:v>
                </c:pt>
                <c:pt idx="578">
                  <c:v>42542</c:v>
                </c:pt>
                <c:pt idx="579">
                  <c:v>42543</c:v>
                </c:pt>
                <c:pt idx="580">
                  <c:v>42544</c:v>
                </c:pt>
                <c:pt idx="581">
                  <c:v>42545</c:v>
                </c:pt>
                <c:pt idx="582">
                  <c:v>42548</c:v>
                </c:pt>
                <c:pt idx="583">
                  <c:v>42549</c:v>
                </c:pt>
                <c:pt idx="584">
                  <c:v>42550</c:v>
                </c:pt>
                <c:pt idx="585">
                  <c:v>42551</c:v>
                </c:pt>
                <c:pt idx="586">
                  <c:v>42552</c:v>
                </c:pt>
                <c:pt idx="587">
                  <c:v>42555</c:v>
                </c:pt>
                <c:pt idx="588">
                  <c:v>42556</c:v>
                </c:pt>
                <c:pt idx="589">
                  <c:v>42557</c:v>
                </c:pt>
                <c:pt idx="590">
                  <c:v>42558</c:v>
                </c:pt>
                <c:pt idx="591">
                  <c:v>42559</c:v>
                </c:pt>
                <c:pt idx="592">
                  <c:v>42562</c:v>
                </c:pt>
                <c:pt idx="593">
                  <c:v>42563</c:v>
                </c:pt>
                <c:pt idx="594">
                  <c:v>42564</c:v>
                </c:pt>
                <c:pt idx="595">
                  <c:v>42565</c:v>
                </c:pt>
                <c:pt idx="596">
                  <c:v>42566</c:v>
                </c:pt>
                <c:pt idx="597">
                  <c:v>42569</c:v>
                </c:pt>
                <c:pt idx="598">
                  <c:v>42570</c:v>
                </c:pt>
                <c:pt idx="599">
                  <c:v>42571</c:v>
                </c:pt>
                <c:pt idx="600">
                  <c:v>42572</c:v>
                </c:pt>
                <c:pt idx="601">
                  <c:v>42573</c:v>
                </c:pt>
                <c:pt idx="602">
                  <c:v>42576</c:v>
                </c:pt>
                <c:pt idx="603">
                  <c:v>42577</c:v>
                </c:pt>
                <c:pt idx="604">
                  <c:v>42578</c:v>
                </c:pt>
                <c:pt idx="605">
                  <c:v>42579</c:v>
                </c:pt>
                <c:pt idx="606">
                  <c:v>42580</c:v>
                </c:pt>
                <c:pt idx="607">
                  <c:v>42583</c:v>
                </c:pt>
                <c:pt idx="608">
                  <c:v>42584</c:v>
                </c:pt>
                <c:pt idx="609">
                  <c:v>42585</c:v>
                </c:pt>
                <c:pt idx="610">
                  <c:v>42586</c:v>
                </c:pt>
                <c:pt idx="611">
                  <c:v>42587</c:v>
                </c:pt>
                <c:pt idx="612">
                  <c:v>42590</c:v>
                </c:pt>
                <c:pt idx="613">
                  <c:v>42591</c:v>
                </c:pt>
                <c:pt idx="614">
                  <c:v>42592</c:v>
                </c:pt>
                <c:pt idx="615">
                  <c:v>42593</c:v>
                </c:pt>
                <c:pt idx="616">
                  <c:v>42594</c:v>
                </c:pt>
                <c:pt idx="617">
                  <c:v>42597</c:v>
                </c:pt>
                <c:pt idx="618">
                  <c:v>42598</c:v>
                </c:pt>
                <c:pt idx="619">
                  <c:v>42599</c:v>
                </c:pt>
                <c:pt idx="620">
                  <c:v>42600</c:v>
                </c:pt>
                <c:pt idx="621">
                  <c:v>42601</c:v>
                </c:pt>
                <c:pt idx="622">
                  <c:v>42604</c:v>
                </c:pt>
                <c:pt idx="623">
                  <c:v>42605</c:v>
                </c:pt>
                <c:pt idx="624">
                  <c:v>42606</c:v>
                </c:pt>
                <c:pt idx="625">
                  <c:v>42607</c:v>
                </c:pt>
                <c:pt idx="626">
                  <c:v>42608</c:v>
                </c:pt>
                <c:pt idx="627">
                  <c:v>42611</c:v>
                </c:pt>
                <c:pt idx="628">
                  <c:v>42612</c:v>
                </c:pt>
                <c:pt idx="629">
                  <c:v>42613</c:v>
                </c:pt>
                <c:pt idx="630">
                  <c:v>42614</c:v>
                </c:pt>
                <c:pt idx="631">
                  <c:v>42615</c:v>
                </c:pt>
                <c:pt idx="632">
                  <c:v>42618</c:v>
                </c:pt>
                <c:pt idx="633">
                  <c:v>42619</c:v>
                </c:pt>
                <c:pt idx="634">
                  <c:v>42620</c:v>
                </c:pt>
                <c:pt idx="635">
                  <c:v>42621</c:v>
                </c:pt>
                <c:pt idx="636">
                  <c:v>42622</c:v>
                </c:pt>
                <c:pt idx="637">
                  <c:v>42625</c:v>
                </c:pt>
                <c:pt idx="638">
                  <c:v>42626</c:v>
                </c:pt>
                <c:pt idx="639">
                  <c:v>42627</c:v>
                </c:pt>
                <c:pt idx="640">
                  <c:v>42632</c:v>
                </c:pt>
                <c:pt idx="641">
                  <c:v>42633</c:v>
                </c:pt>
                <c:pt idx="642">
                  <c:v>42634</c:v>
                </c:pt>
                <c:pt idx="643">
                  <c:v>42635</c:v>
                </c:pt>
                <c:pt idx="644">
                  <c:v>42636</c:v>
                </c:pt>
                <c:pt idx="645">
                  <c:v>42639</c:v>
                </c:pt>
                <c:pt idx="646">
                  <c:v>42640</c:v>
                </c:pt>
                <c:pt idx="647">
                  <c:v>42641</c:v>
                </c:pt>
                <c:pt idx="648">
                  <c:v>42642</c:v>
                </c:pt>
                <c:pt idx="649">
                  <c:v>42643</c:v>
                </c:pt>
                <c:pt idx="650">
                  <c:v>42653</c:v>
                </c:pt>
                <c:pt idx="651">
                  <c:v>42654</c:v>
                </c:pt>
                <c:pt idx="652">
                  <c:v>42655</c:v>
                </c:pt>
                <c:pt idx="653">
                  <c:v>42656</c:v>
                </c:pt>
                <c:pt idx="654">
                  <c:v>42657</c:v>
                </c:pt>
                <c:pt idx="655">
                  <c:v>42660</c:v>
                </c:pt>
                <c:pt idx="656">
                  <c:v>42661</c:v>
                </c:pt>
                <c:pt idx="657">
                  <c:v>42662</c:v>
                </c:pt>
                <c:pt idx="658">
                  <c:v>42663</c:v>
                </c:pt>
                <c:pt idx="659">
                  <c:v>42664</c:v>
                </c:pt>
                <c:pt idx="660">
                  <c:v>42667</c:v>
                </c:pt>
                <c:pt idx="661">
                  <c:v>42668</c:v>
                </c:pt>
                <c:pt idx="662">
                  <c:v>42669</c:v>
                </c:pt>
                <c:pt idx="663">
                  <c:v>42670</c:v>
                </c:pt>
                <c:pt idx="664">
                  <c:v>42671</c:v>
                </c:pt>
                <c:pt idx="665">
                  <c:v>42674</c:v>
                </c:pt>
                <c:pt idx="666">
                  <c:v>42675</c:v>
                </c:pt>
                <c:pt idx="667">
                  <c:v>42676</c:v>
                </c:pt>
                <c:pt idx="668">
                  <c:v>42677</c:v>
                </c:pt>
                <c:pt idx="669">
                  <c:v>42678</c:v>
                </c:pt>
                <c:pt idx="670">
                  <c:v>42681</c:v>
                </c:pt>
                <c:pt idx="671">
                  <c:v>42682</c:v>
                </c:pt>
                <c:pt idx="672">
                  <c:v>42683</c:v>
                </c:pt>
                <c:pt idx="673">
                  <c:v>42684</c:v>
                </c:pt>
                <c:pt idx="674">
                  <c:v>42685</c:v>
                </c:pt>
                <c:pt idx="675">
                  <c:v>42688</c:v>
                </c:pt>
                <c:pt idx="676">
                  <c:v>42689</c:v>
                </c:pt>
                <c:pt idx="677">
                  <c:v>42690</c:v>
                </c:pt>
                <c:pt idx="678">
                  <c:v>42691</c:v>
                </c:pt>
                <c:pt idx="679">
                  <c:v>42692</c:v>
                </c:pt>
                <c:pt idx="680">
                  <c:v>42695</c:v>
                </c:pt>
                <c:pt idx="681">
                  <c:v>42696</c:v>
                </c:pt>
                <c:pt idx="682">
                  <c:v>42697</c:v>
                </c:pt>
                <c:pt idx="683">
                  <c:v>42698</c:v>
                </c:pt>
                <c:pt idx="684">
                  <c:v>42699</c:v>
                </c:pt>
                <c:pt idx="685">
                  <c:v>42702</c:v>
                </c:pt>
                <c:pt idx="686">
                  <c:v>42703</c:v>
                </c:pt>
                <c:pt idx="687">
                  <c:v>42704</c:v>
                </c:pt>
                <c:pt idx="688">
                  <c:v>42705</c:v>
                </c:pt>
                <c:pt idx="689">
                  <c:v>42706</c:v>
                </c:pt>
                <c:pt idx="690">
                  <c:v>42709</c:v>
                </c:pt>
                <c:pt idx="691">
                  <c:v>42710</c:v>
                </c:pt>
                <c:pt idx="692">
                  <c:v>42711</c:v>
                </c:pt>
                <c:pt idx="693">
                  <c:v>42712</c:v>
                </c:pt>
                <c:pt idx="694">
                  <c:v>42713</c:v>
                </c:pt>
                <c:pt idx="695">
                  <c:v>42716</c:v>
                </c:pt>
                <c:pt idx="696">
                  <c:v>42717</c:v>
                </c:pt>
                <c:pt idx="697">
                  <c:v>42718</c:v>
                </c:pt>
                <c:pt idx="698">
                  <c:v>42719</c:v>
                </c:pt>
                <c:pt idx="699">
                  <c:v>42720</c:v>
                </c:pt>
                <c:pt idx="700">
                  <c:v>42723</c:v>
                </c:pt>
                <c:pt idx="701">
                  <c:v>42724</c:v>
                </c:pt>
                <c:pt idx="702">
                  <c:v>42725</c:v>
                </c:pt>
                <c:pt idx="703">
                  <c:v>42726</c:v>
                </c:pt>
                <c:pt idx="704">
                  <c:v>42727</c:v>
                </c:pt>
                <c:pt idx="705">
                  <c:v>42730</c:v>
                </c:pt>
                <c:pt idx="706">
                  <c:v>42731</c:v>
                </c:pt>
                <c:pt idx="707">
                  <c:v>42732</c:v>
                </c:pt>
                <c:pt idx="708">
                  <c:v>42733</c:v>
                </c:pt>
                <c:pt idx="709">
                  <c:v>42734</c:v>
                </c:pt>
                <c:pt idx="710">
                  <c:v>42738</c:v>
                </c:pt>
                <c:pt idx="711">
                  <c:v>42739</c:v>
                </c:pt>
                <c:pt idx="712">
                  <c:v>42740</c:v>
                </c:pt>
                <c:pt idx="713">
                  <c:v>42741</c:v>
                </c:pt>
                <c:pt idx="714">
                  <c:v>42744</c:v>
                </c:pt>
                <c:pt idx="715">
                  <c:v>42745</c:v>
                </c:pt>
                <c:pt idx="716">
                  <c:v>42746</c:v>
                </c:pt>
                <c:pt idx="717">
                  <c:v>42747</c:v>
                </c:pt>
                <c:pt idx="718">
                  <c:v>42748</c:v>
                </c:pt>
                <c:pt idx="719">
                  <c:v>42751</c:v>
                </c:pt>
                <c:pt idx="720">
                  <c:v>42752</c:v>
                </c:pt>
                <c:pt idx="721">
                  <c:v>42753</c:v>
                </c:pt>
                <c:pt idx="722">
                  <c:v>42754</c:v>
                </c:pt>
                <c:pt idx="723">
                  <c:v>42755</c:v>
                </c:pt>
                <c:pt idx="724">
                  <c:v>42758</c:v>
                </c:pt>
                <c:pt idx="725">
                  <c:v>42759</c:v>
                </c:pt>
                <c:pt idx="726">
                  <c:v>42760</c:v>
                </c:pt>
                <c:pt idx="727">
                  <c:v>42761</c:v>
                </c:pt>
                <c:pt idx="728">
                  <c:v>42769</c:v>
                </c:pt>
                <c:pt idx="729">
                  <c:v>42772</c:v>
                </c:pt>
                <c:pt idx="730">
                  <c:v>42773</c:v>
                </c:pt>
                <c:pt idx="731">
                  <c:v>42774</c:v>
                </c:pt>
                <c:pt idx="732">
                  <c:v>42775</c:v>
                </c:pt>
                <c:pt idx="733">
                  <c:v>42776</c:v>
                </c:pt>
                <c:pt idx="734">
                  <c:v>42779</c:v>
                </c:pt>
                <c:pt idx="735">
                  <c:v>42780</c:v>
                </c:pt>
                <c:pt idx="736">
                  <c:v>42781</c:v>
                </c:pt>
                <c:pt idx="737">
                  <c:v>42782</c:v>
                </c:pt>
                <c:pt idx="738">
                  <c:v>42783</c:v>
                </c:pt>
                <c:pt idx="739">
                  <c:v>42786</c:v>
                </c:pt>
                <c:pt idx="740">
                  <c:v>42787</c:v>
                </c:pt>
                <c:pt idx="741">
                  <c:v>42788</c:v>
                </c:pt>
                <c:pt idx="742">
                  <c:v>42789</c:v>
                </c:pt>
                <c:pt idx="743">
                  <c:v>42790</c:v>
                </c:pt>
                <c:pt idx="744">
                  <c:v>42793</c:v>
                </c:pt>
                <c:pt idx="745">
                  <c:v>42794</c:v>
                </c:pt>
                <c:pt idx="746">
                  <c:v>42795</c:v>
                </c:pt>
                <c:pt idx="747">
                  <c:v>42796</c:v>
                </c:pt>
                <c:pt idx="748">
                  <c:v>42797</c:v>
                </c:pt>
                <c:pt idx="749">
                  <c:v>42800</c:v>
                </c:pt>
                <c:pt idx="750">
                  <c:v>42801</c:v>
                </c:pt>
                <c:pt idx="751">
                  <c:v>42802</c:v>
                </c:pt>
                <c:pt idx="752">
                  <c:v>42803</c:v>
                </c:pt>
                <c:pt idx="753">
                  <c:v>42804</c:v>
                </c:pt>
                <c:pt idx="754">
                  <c:v>42807</c:v>
                </c:pt>
                <c:pt idx="755">
                  <c:v>42808</c:v>
                </c:pt>
                <c:pt idx="756">
                  <c:v>42809</c:v>
                </c:pt>
                <c:pt idx="757">
                  <c:v>42810</c:v>
                </c:pt>
                <c:pt idx="758">
                  <c:v>42811</c:v>
                </c:pt>
                <c:pt idx="759">
                  <c:v>42814</c:v>
                </c:pt>
                <c:pt idx="760">
                  <c:v>42815</c:v>
                </c:pt>
                <c:pt idx="761">
                  <c:v>42816</c:v>
                </c:pt>
                <c:pt idx="762">
                  <c:v>42817</c:v>
                </c:pt>
                <c:pt idx="763">
                  <c:v>42818</c:v>
                </c:pt>
                <c:pt idx="764">
                  <c:v>42821</c:v>
                </c:pt>
                <c:pt idx="765">
                  <c:v>42822</c:v>
                </c:pt>
                <c:pt idx="766">
                  <c:v>42823</c:v>
                </c:pt>
                <c:pt idx="767">
                  <c:v>42824</c:v>
                </c:pt>
                <c:pt idx="768">
                  <c:v>42825</c:v>
                </c:pt>
                <c:pt idx="769">
                  <c:v>42830</c:v>
                </c:pt>
                <c:pt idx="770">
                  <c:v>42831</c:v>
                </c:pt>
                <c:pt idx="771">
                  <c:v>42832</c:v>
                </c:pt>
                <c:pt idx="772">
                  <c:v>42835</c:v>
                </c:pt>
                <c:pt idx="773">
                  <c:v>42836</c:v>
                </c:pt>
                <c:pt idx="774">
                  <c:v>42837</c:v>
                </c:pt>
                <c:pt idx="775">
                  <c:v>42838</c:v>
                </c:pt>
                <c:pt idx="776">
                  <c:v>42839</c:v>
                </c:pt>
                <c:pt idx="777">
                  <c:v>42842</c:v>
                </c:pt>
                <c:pt idx="778">
                  <c:v>42843</c:v>
                </c:pt>
                <c:pt idx="779">
                  <c:v>42844</c:v>
                </c:pt>
                <c:pt idx="780">
                  <c:v>42845</c:v>
                </c:pt>
                <c:pt idx="781">
                  <c:v>42846</c:v>
                </c:pt>
                <c:pt idx="782">
                  <c:v>42849</c:v>
                </c:pt>
                <c:pt idx="783">
                  <c:v>42850</c:v>
                </c:pt>
                <c:pt idx="784">
                  <c:v>42851</c:v>
                </c:pt>
                <c:pt idx="785">
                  <c:v>42852</c:v>
                </c:pt>
                <c:pt idx="786">
                  <c:v>42853</c:v>
                </c:pt>
                <c:pt idx="787">
                  <c:v>42857</c:v>
                </c:pt>
                <c:pt idx="788">
                  <c:v>42858</c:v>
                </c:pt>
                <c:pt idx="789">
                  <c:v>42859</c:v>
                </c:pt>
                <c:pt idx="790">
                  <c:v>42860</c:v>
                </c:pt>
                <c:pt idx="791">
                  <c:v>42863</c:v>
                </c:pt>
                <c:pt idx="792">
                  <c:v>42864</c:v>
                </c:pt>
                <c:pt idx="793">
                  <c:v>42865</c:v>
                </c:pt>
                <c:pt idx="794">
                  <c:v>42866</c:v>
                </c:pt>
                <c:pt idx="795">
                  <c:v>42867</c:v>
                </c:pt>
                <c:pt idx="796">
                  <c:v>42870</c:v>
                </c:pt>
                <c:pt idx="797">
                  <c:v>42871</c:v>
                </c:pt>
                <c:pt idx="798">
                  <c:v>42872</c:v>
                </c:pt>
                <c:pt idx="799">
                  <c:v>42873</c:v>
                </c:pt>
                <c:pt idx="800">
                  <c:v>42874</c:v>
                </c:pt>
                <c:pt idx="801">
                  <c:v>42877</c:v>
                </c:pt>
                <c:pt idx="802">
                  <c:v>42878</c:v>
                </c:pt>
                <c:pt idx="803">
                  <c:v>42879</c:v>
                </c:pt>
                <c:pt idx="804">
                  <c:v>42880</c:v>
                </c:pt>
                <c:pt idx="805">
                  <c:v>42881</c:v>
                </c:pt>
                <c:pt idx="806">
                  <c:v>42886</c:v>
                </c:pt>
                <c:pt idx="807">
                  <c:v>42887</c:v>
                </c:pt>
                <c:pt idx="808">
                  <c:v>42888</c:v>
                </c:pt>
                <c:pt idx="809">
                  <c:v>42891</c:v>
                </c:pt>
                <c:pt idx="810">
                  <c:v>42892</c:v>
                </c:pt>
                <c:pt idx="811">
                  <c:v>42893</c:v>
                </c:pt>
                <c:pt idx="812">
                  <c:v>42894</c:v>
                </c:pt>
                <c:pt idx="813">
                  <c:v>42895</c:v>
                </c:pt>
                <c:pt idx="814">
                  <c:v>42898</c:v>
                </c:pt>
                <c:pt idx="815">
                  <c:v>42899</c:v>
                </c:pt>
                <c:pt idx="816">
                  <c:v>42900</c:v>
                </c:pt>
                <c:pt idx="817">
                  <c:v>42901</c:v>
                </c:pt>
                <c:pt idx="818">
                  <c:v>42902</c:v>
                </c:pt>
                <c:pt idx="819">
                  <c:v>42905</c:v>
                </c:pt>
                <c:pt idx="820">
                  <c:v>42906</c:v>
                </c:pt>
                <c:pt idx="821">
                  <c:v>42907</c:v>
                </c:pt>
                <c:pt idx="822">
                  <c:v>42908</c:v>
                </c:pt>
                <c:pt idx="823">
                  <c:v>42909</c:v>
                </c:pt>
                <c:pt idx="824">
                  <c:v>42912</c:v>
                </c:pt>
                <c:pt idx="825">
                  <c:v>42913</c:v>
                </c:pt>
                <c:pt idx="826">
                  <c:v>42914</c:v>
                </c:pt>
                <c:pt idx="827">
                  <c:v>42915</c:v>
                </c:pt>
                <c:pt idx="828">
                  <c:v>42916</c:v>
                </c:pt>
                <c:pt idx="829">
                  <c:v>42919</c:v>
                </c:pt>
                <c:pt idx="830">
                  <c:v>42920</c:v>
                </c:pt>
                <c:pt idx="831">
                  <c:v>42921</c:v>
                </c:pt>
                <c:pt idx="832">
                  <c:v>42922</c:v>
                </c:pt>
                <c:pt idx="833">
                  <c:v>42923</c:v>
                </c:pt>
                <c:pt idx="834">
                  <c:v>42926</c:v>
                </c:pt>
                <c:pt idx="835">
                  <c:v>42927</c:v>
                </c:pt>
                <c:pt idx="836">
                  <c:v>42928</c:v>
                </c:pt>
                <c:pt idx="837">
                  <c:v>42929</c:v>
                </c:pt>
                <c:pt idx="838">
                  <c:v>42930</c:v>
                </c:pt>
                <c:pt idx="839">
                  <c:v>42933</c:v>
                </c:pt>
                <c:pt idx="840">
                  <c:v>42934</c:v>
                </c:pt>
                <c:pt idx="841">
                  <c:v>42935</c:v>
                </c:pt>
                <c:pt idx="842">
                  <c:v>42936</c:v>
                </c:pt>
                <c:pt idx="843">
                  <c:v>42937</c:v>
                </c:pt>
                <c:pt idx="844">
                  <c:v>42940</c:v>
                </c:pt>
                <c:pt idx="845">
                  <c:v>42941</c:v>
                </c:pt>
                <c:pt idx="846">
                  <c:v>42942</c:v>
                </c:pt>
                <c:pt idx="847">
                  <c:v>42943</c:v>
                </c:pt>
                <c:pt idx="848">
                  <c:v>42944</c:v>
                </c:pt>
                <c:pt idx="849">
                  <c:v>42947</c:v>
                </c:pt>
                <c:pt idx="850">
                  <c:v>42948</c:v>
                </c:pt>
                <c:pt idx="851">
                  <c:v>42949</c:v>
                </c:pt>
                <c:pt idx="852">
                  <c:v>42950</c:v>
                </c:pt>
                <c:pt idx="853">
                  <c:v>42951</c:v>
                </c:pt>
                <c:pt idx="854">
                  <c:v>42954</c:v>
                </c:pt>
                <c:pt idx="855">
                  <c:v>42955</c:v>
                </c:pt>
                <c:pt idx="856">
                  <c:v>42956</c:v>
                </c:pt>
                <c:pt idx="857">
                  <c:v>42957</c:v>
                </c:pt>
                <c:pt idx="858">
                  <c:v>42958</c:v>
                </c:pt>
                <c:pt idx="859">
                  <c:v>42961</c:v>
                </c:pt>
                <c:pt idx="860">
                  <c:v>42962</c:v>
                </c:pt>
                <c:pt idx="861">
                  <c:v>42963</c:v>
                </c:pt>
                <c:pt idx="862">
                  <c:v>42964</c:v>
                </c:pt>
                <c:pt idx="863">
                  <c:v>42965</c:v>
                </c:pt>
                <c:pt idx="864">
                  <c:v>42968</c:v>
                </c:pt>
                <c:pt idx="865">
                  <c:v>42969</c:v>
                </c:pt>
                <c:pt idx="866">
                  <c:v>42970</c:v>
                </c:pt>
                <c:pt idx="867">
                  <c:v>42971</c:v>
                </c:pt>
                <c:pt idx="868">
                  <c:v>42972</c:v>
                </c:pt>
                <c:pt idx="869">
                  <c:v>42975</c:v>
                </c:pt>
                <c:pt idx="870">
                  <c:v>42976</c:v>
                </c:pt>
                <c:pt idx="871">
                  <c:v>42977</c:v>
                </c:pt>
                <c:pt idx="872">
                  <c:v>42978</c:v>
                </c:pt>
                <c:pt idx="873">
                  <c:v>42979</c:v>
                </c:pt>
                <c:pt idx="874">
                  <c:v>42982</c:v>
                </c:pt>
                <c:pt idx="875">
                  <c:v>42983</c:v>
                </c:pt>
                <c:pt idx="876">
                  <c:v>42984</c:v>
                </c:pt>
                <c:pt idx="877">
                  <c:v>42985</c:v>
                </c:pt>
                <c:pt idx="878">
                  <c:v>42986</c:v>
                </c:pt>
                <c:pt idx="879">
                  <c:v>42989</c:v>
                </c:pt>
                <c:pt idx="880">
                  <c:v>42990</c:v>
                </c:pt>
                <c:pt idx="881">
                  <c:v>42991</c:v>
                </c:pt>
                <c:pt idx="882">
                  <c:v>42992</c:v>
                </c:pt>
                <c:pt idx="883">
                  <c:v>42993</c:v>
                </c:pt>
                <c:pt idx="884">
                  <c:v>42996</c:v>
                </c:pt>
                <c:pt idx="885">
                  <c:v>42997</c:v>
                </c:pt>
                <c:pt idx="886">
                  <c:v>42998</c:v>
                </c:pt>
                <c:pt idx="887">
                  <c:v>42999</c:v>
                </c:pt>
                <c:pt idx="888">
                  <c:v>43000</c:v>
                </c:pt>
                <c:pt idx="889">
                  <c:v>43003</c:v>
                </c:pt>
                <c:pt idx="890">
                  <c:v>43004</c:v>
                </c:pt>
                <c:pt idx="891">
                  <c:v>43005</c:v>
                </c:pt>
                <c:pt idx="892">
                  <c:v>43006</c:v>
                </c:pt>
                <c:pt idx="893">
                  <c:v>43007</c:v>
                </c:pt>
                <c:pt idx="894">
                  <c:v>43017</c:v>
                </c:pt>
                <c:pt idx="895">
                  <c:v>43018</c:v>
                </c:pt>
                <c:pt idx="896">
                  <c:v>43019</c:v>
                </c:pt>
                <c:pt idx="897">
                  <c:v>43020</c:v>
                </c:pt>
                <c:pt idx="898">
                  <c:v>43021</c:v>
                </c:pt>
                <c:pt idx="899">
                  <c:v>43024</c:v>
                </c:pt>
                <c:pt idx="900">
                  <c:v>43025</c:v>
                </c:pt>
                <c:pt idx="901">
                  <c:v>43026</c:v>
                </c:pt>
                <c:pt idx="902">
                  <c:v>43027</c:v>
                </c:pt>
                <c:pt idx="903">
                  <c:v>43028</c:v>
                </c:pt>
                <c:pt idx="904">
                  <c:v>43031</c:v>
                </c:pt>
                <c:pt idx="905">
                  <c:v>43032</c:v>
                </c:pt>
                <c:pt idx="906">
                  <c:v>43033</c:v>
                </c:pt>
                <c:pt idx="907">
                  <c:v>43034</c:v>
                </c:pt>
                <c:pt idx="908">
                  <c:v>43035</c:v>
                </c:pt>
                <c:pt idx="909">
                  <c:v>43038</c:v>
                </c:pt>
                <c:pt idx="910">
                  <c:v>43039</c:v>
                </c:pt>
                <c:pt idx="911">
                  <c:v>43040</c:v>
                </c:pt>
                <c:pt idx="912">
                  <c:v>43041</c:v>
                </c:pt>
                <c:pt idx="913">
                  <c:v>43042</c:v>
                </c:pt>
                <c:pt idx="914">
                  <c:v>43045</c:v>
                </c:pt>
                <c:pt idx="915">
                  <c:v>43046</c:v>
                </c:pt>
                <c:pt idx="916">
                  <c:v>43047</c:v>
                </c:pt>
                <c:pt idx="917">
                  <c:v>43048</c:v>
                </c:pt>
                <c:pt idx="918">
                  <c:v>43049</c:v>
                </c:pt>
                <c:pt idx="919">
                  <c:v>43052</c:v>
                </c:pt>
                <c:pt idx="920">
                  <c:v>43053</c:v>
                </c:pt>
                <c:pt idx="921">
                  <c:v>43054</c:v>
                </c:pt>
                <c:pt idx="922">
                  <c:v>43055</c:v>
                </c:pt>
                <c:pt idx="923">
                  <c:v>43056</c:v>
                </c:pt>
                <c:pt idx="924">
                  <c:v>43059</c:v>
                </c:pt>
                <c:pt idx="925">
                  <c:v>43060</c:v>
                </c:pt>
                <c:pt idx="926">
                  <c:v>43061</c:v>
                </c:pt>
                <c:pt idx="927">
                  <c:v>43062</c:v>
                </c:pt>
                <c:pt idx="928">
                  <c:v>43063</c:v>
                </c:pt>
                <c:pt idx="929">
                  <c:v>43066</c:v>
                </c:pt>
                <c:pt idx="930">
                  <c:v>43067</c:v>
                </c:pt>
                <c:pt idx="931">
                  <c:v>43068</c:v>
                </c:pt>
                <c:pt idx="932">
                  <c:v>43069</c:v>
                </c:pt>
                <c:pt idx="933">
                  <c:v>43070</c:v>
                </c:pt>
                <c:pt idx="934">
                  <c:v>43073</c:v>
                </c:pt>
                <c:pt idx="935">
                  <c:v>43074</c:v>
                </c:pt>
                <c:pt idx="936">
                  <c:v>43075</c:v>
                </c:pt>
                <c:pt idx="937">
                  <c:v>43076</c:v>
                </c:pt>
                <c:pt idx="938">
                  <c:v>43077</c:v>
                </c:pt>
                <c:pt idx="939">
                  <c:v>43080</c:v>
                </c:pt>
                <c:pt idx="940">
                  <c:v>43081</c:v>
                </c:pt>
                <c:pt idx="941">
                  <c:v>43082</c:v>
                </c:pt>
                <c:pt idx="942">
                  <c:v>43083</c:v>
                </c:pt>
                <c:pt idx="943">
                  <c:v>43084</c:v>
                </c:pt>
                <c:pt idx="944">
                  <c:v>43087</c:v>
                </c:pt>
                <c:pt idx="945">
                  <c:v>43088</c:v>
                </c:pt>
                <c:pt idx="946">
                  <c:v>43089</c:v>
                </c:pt>
                <c:pt idx="947">
                  <c:v>43090</c:v>
                </c:pt>
                <c:pt idx="948">
                  <c:v>43091</c:v>
                </c:pt>
                <c:pt idx="949">
                  <c:v>43094</c:v>
                </c:pt>
                <c:pt idx="950">
                  <c:v>43095</c:v>
                </c:pt>
                <c:pt idx="951">
                  <c:v>43096</c:v>
                </c:pt>
                <c:pt idx="952">
                  <c:v>43097</c:v>
                </c:pt>
                <c:pt idx="953">
                  <c:v>43098</c:v>
                </c:pt>
                <c:pt idx="954">
                  <c:v>43102</c:v>
                </c:pt>
                <c:pt idx="955">
                  <c:v>43103</c:v>
                </c:pt>
                <c:pt idx="956">
                  <c:v>43104</c:v>
                </c:pt>
                <c:pt idx="957">
                  <c:v>43105</c:v>
                </c:pt>
                <c:pt idx="958">
                  <c:v>43108</c:v>
                </c:pt>
                <c:pt idx="959">
                  <c:v>43109</c:v>
                </c:pt>
                <c:pt idx="960">
                  <c:v>43110</c:v>
                </c:pt>
                <c:pt idx="961">
                  <c:v>43111</c:v>
                </c:pt>
                <c:pt idx="962">
                  <c:v>43112</c:v>
                </c:pt>
                <c:pt idx="963">
                  <c:v>43115</c:v>
                </c:pt>
                <c:pt idx="964">
                  <c:v>43116</c:v>
                </c:pt>
                <c:pt idx="965">
                  <c:v>43117</c:v>
                </c:pt>
                <c:pt idx="966">
                  <c:v>43118</c:v>
                </c:pt>
                <c:pt idx="967">
                  <c:v>43119</c:v>
                </c:pt>
                <c:pt idx="968">
                  <c:v>43122</c:v>
                </c:pt>
                <c:pt idx="969">
                  <c:v>43123</c:v>
                </c:pt>
                <c:pt idx="970">
                  <c:v>43124</c:v>
                </c:pt>
                <c:pt idx="971">
                  <c:v>43125</c:v>
                </c:pt>
                <c:pt idx="972">
                  <c:v>43126</c:v>
                </c:pt>
                <c:pt idx="973">
                  <c:v>43129</c:v>
                </c:pt>
                <c:pt idx="974">
                  <c:v>43130</c:v>
                </c:pt>
                <c:pt idx="975">
                  <c:v>43131</c:v>
                </c:pt>
                <c:pt idx="976">
                  <c:v>43132</c:v>
                </c:pt>
                <c:pt idx="977">
                  <c:v>43133</c:v>
                </c:pt>
                <c:pt idx="978">
                  <c:v>43136</c:v>
                </c:pt>
                <c:pt idx="979">
                  <c:v>43137</c:v>
                </c:pt>
                <c:pt idx="980">
                  <c:v>43138</c:v>
                </c:pt>
                <c:pt idx="981">
                  <c:v>43139</c:v>
                </c:pt>
                <c:pt idx="982">
                  <c:v>43140</c:v>
                </c:pt>
                <c:pt idx="983">
                  <c:v>43143</c:v>
                </c:pt>
                <c:pt idx="984">
                  <c:v>43144</c:v>
                </c:pt>
                <c:pt idx="985">
                  <c:v>43145</c:v>
                </c:pt>
                <c:pt idx="986">
                  <c:v>43153</c:v>
                </c:pt>
                <c:pt idx="987">
                  <c:v>43154</c:v>
                </c:pt>
                <c:pt idx="988">
                  <c:v>43157</c:v>
                </c:pt>
                <c:pt idx="989">
                  <c:v>43158</c:v>
                </c:pt>
                <c:pt idx="990">
                  <c:v>43159</c:v>
                </c:pt>
                <c:pt idx="991">
                  <c:v>43160</c:v>
                </c:pt>
                <c:pt idx="992">
                  <c:v>43161</c:v>
                </c:pt>
                <c:pt idx="993">
                  <c:v>43164</c:v>
                </c:pt>
                <c:pt idx="994">
                  <c:v>43165</c:v>
                </c:pt>
                <c:pt idx="995">
                  <c:v>43166</c:v>
                </c:pt>
                <c:pt idx="996">
                  <c:v>43167</c:v>
                </c:pt>
                <c:pt idx="997">
                  <c:v>43168</c:v>
                </c:pt>
                <c:pt idx="998">
                  <c:v>43171</c:v>
                </c:pt>
                <c:pt idx="999">
                  <c:v>43172</c:v>
                </c:pt>
                <c:pt idx="1000">
                  <c:v>43173</c:v>
                </c:pt>
                <c:pt idx="1001">
                  <c:v>43174</c:v>
                </c:pt>
                <c:pt idx="1002">
                  <c:v>43175</c:v>
                </c:pt>
                <c:pt idx="1003">
                  <c:v>43178</c:v>
                </c:pt>
                <c:pt idx="1004">
                  <c:v>43179</c:v>
                </c:pt>
                <c:pt idx="1005">
                  <c:v>43180</c:v>
                </c:pt>
                <c:pt idx="1006">
                  <c:v>43181</c:v>
                </c:pt>
                <c:pt idx="1007">
                  <c:v>43182</c:v>
                </c:pt>
                <c:pt idx="1008">
                  <c:v>43185</c:v>
                </c:pt>
                <c:pt idx="1009">
                  <c:v>43186</c:v>
                </c:pt>
                <c:pt idx="1010">
                  <c:v>43187</c:v>
                </c:pt>
                <c:pt idx="1011">
                  <c:v>43188</c:v>
                </c:pt>
                <c:pt idx="1012">
                  <c:v>43189</c:v>
                </c:pt>
                <c:pt idx="1013">
                  <c:v>43192</c:v>
                </c:pt>
                <c:pt idx="1014">
                  <c:v>43193</c:v>
                </c:pt>
                <c:pt idx="1015">
                  <c:v>43194</c:v>
                </c:pt>
                <c:pt idx="1016">
                  <c:v>43199</c:v>
                </c:pt>
                <c:pt idx="1017">
                  <c:v>43200</c:v>
                </c:pt>
                <c:pt idx="1018">
                  <c:v>43201</c:v>
                </c:pt>
                <c:pt idx="1019">
                  <c:v>43202</c:v>
                </c:pt>
                <c:pt idx="1020">
                  <c:v>43203</c:v>
                </c:pt>
                <c:pt idx="1021">
                  <c:v>43206</c:v>
                </c:pt>
                <c:pt idx="1022">
                  <c:v>43207</c:v>
                </c:pt>
                <c:pt idx="1023">
                  <c:v>43208</c:v>
                </c:pt>
                <c:pt idx="1024">
                  <c:v>43209</c:v>
                </c:pt>
                <c:pt idx="1025">
                  <c:v>43210</c:v>
                </c:pt>
                <c:pt idx="1026">
                  <c:v>43213</c:v>
                </c:pt>
                <c:pt idx="1027">
                  <c:v>43214</c:v>
                </c:pt>
                <c:pt idx="1028">
                  <c:v>43215</c:v>
                </c:pt>
                <c:pt idx="1029">
                  <c:v>43216</c:v>
                </c:pt>
                <c:pt idx="1030">
                  <c:v>43217</c:v>
                </c:pt>
                <c:pt idx="1031">
                  <c:v>43222</c:v>
                </c:pt>
                <c:pt idx="1032">
                  <c:v>43223</c:v>
                </c:pt>
                <c:pt idx="1033">
                  <c:v>43224</c:v>
                </c:pt>
                <c:pt idx="1034">
                  <c:v>43227</c:v>
                </c:pt>
                <c:pt idx="1035">
                  <c:v>43228</c:v>
                </c:pt>
                <c:pt idx="1036">
                  <c:v>43229</c:v>
                </c:pt>
                <c:pt idx="1037">
                  <c:v>43230</c:v>
                </c:pt>
                <c:pt idx="1038">
                  <c:v>43231</c:v>
                </c:pt>
                <c:pt idx="1039">
                  <c:v>43234</c:v>
                </c:pt>
                <c:pt idx="1040">
                  <c:v>43235</c:v>
                </c:pt>
                <c:pt idx="1041">
                  <c:v>43236</c:v>
                </c:pt>
                <c:pt idx="1042">
                  <c:v>43237</c:v>
                </c:pt>
                <c:pt idx="1043">
                  <c:v>43238</c:v>
                </c:pt>
                <c:pt idx="1044">
                  <c:v>43241</c:v>
                </c:pt>
                <c:pt idx="1045">
                  <c:v>43242</c:v>
                </c:pt>
                <c:pt idx="1046">
                  <c:v>43243</c:v>
                </c:pt>
                <c:pt idx="1047">
                  <c:v>43244</c:v>
                </c:pt>
                <c:pt idx="1048">
                  <c:v>43245</c:v>
                </c:pt>
                <c:pt idx="1049">
                  <c:v>43248</c:v>
                </c:pt>
                <c:pt idx="1050">
                  <c:v>43249</c:v>
                </c:pt>
                <c:pt idx="1051">
                  <c:v>43250</c:v>
                </c:pt>
                <c:pt idx="1052">
                  <c:v>43251</c:v>
                </c:pt>
                <c:pt idx="1053">
                  <c:v>43252</c:v>
                </c:pt>
                <c:pt idx="1054">
                  <c:v>43255</c:v>
                </c:pt>
                <c:pt idx="1055">
                  <c:v>43256</c:v>
                </c:pt>
                <c:pt idx="1056">
                  <c:v>43257</c:v>
                </c:pt>
                <c:pt idx="1057">
                  <c:v>43258</c:v>
                </c:pt>
                <c:pt idx="1058">
                  <c:v>43259</c:v>
                </c:pt>
                <c:pt idx="1059">
                  <c:v>43262</c:v>
                </c:pt>
                <c:pt idx="1060">
                  <c:v>43263</c:v>
                </c:pt>
                <c:pt idx="1061">
                  <c:v>43264</c:v>
                </c:pt>
                <c:pt idx="1062">
                  <c:v>43265</c:v>
                </c:pt>
                <c:pt idx="1063">
                  <c:v>43266</c:v>
                </c:pt>
                <c:pt idx="1064">
                  <c:v>43270</c:v>
                </c:pt>
                <c:pt idx="1065">
                  <c:v>43271</c:v>
                </c:pt>
                <c:pt idx="1066">
                  <c:v>43272</c:v>
                </c:pt>
                <c:pt idx="1067">
                  <c:v>43273</c:v>
                </c:pt>
                <c:pt idx="1068">
                  <c:v>43276</c:v>
                </c:pt>
                <c:pt idx="1069">
                  <c:v>43277</c:v>
                </c:pt>
                <c:pt idx="1070">
                  <c:v>43278</c:v>
                </c:pt>
                <c:pt idx="1071">
                  <c:v>43279</c:v>
                </c:pt>
                <c:pt idx="1072">
                  <c:v>43280</c:v>
                </c:pt>
                <c:pt idx="1073">
                  <c:v>43283</c:v>
                </c:pt>
                <c:pt idx="1074">
                  <c:v>43284</c:v>
                </c:pt>
                <c:pt idx="1075">
                  <c:v>43285</c:v>
                </c:pt>
                <c:pt idx="1076">
                  <c:v>43286</c:v>
                </c:pt>
                <c:pt idx="1077">
                  <c:v>43287</c:v>
                </c:pt>
                <c:pt idx="1078">
                  <c:v>43290</c:v>
                </c:pt>
                <c:pt idx="1079">
                  <c:v>43291</c:v>
                </c:pt>
                <c:pt idx="1080">
                  <c:v>43292</c:v>
                </c:pt>
                <c:pt idx="1081">
                  <c:v>43293</c:v>
                </c:pt>
                <c:pt idx="1082">
                  <c:v>43294</c:v>
                </c:pt>
                <c:pt idx="1083">
                  <c:v>43297</c:v>
                </c:pt>
                <c:pt idx="1084">
                  <c:v>43298</c:v>
                </c:pt>
                <c:pt idx="1085">
                  <c:v>43299</c:v>
                </c:pt>
                <c:pt idx="1086">
                  <c:v>43300</c:v>
                </c:pt>
                <c:pt idx="1087">
                  <c:v>43301</c:v>
                </c:pt>
                <c:pt idx="1088">
                  <c:v>43304</c:v>
                </c:pt>
                <c:pt idx="1089">
                  <c:v>43305</c:v>
                </c:pt>
                <c:pt idx="1090">
                  <c:v>43306</c:v>
                </c:pt>
                <c:pt idx="1091">
                  <c:v>43307</c:v>
                </c:pt>
                <c:pt idx="1092">
                  <c:v>43308</c:v>
                </c:pt>
                <c:pt idx="1093">
                  <c:v>43311</c:v>
                </c:pt>
                <c:pt idx="1094">
                  <c:v>43312</c:v>
                </c:pt>
                <c:pt idx="1095">
                  <c:v>43313</c:v>
                </c:pt>
                <c:pt idx="1096">
                  <c:v>43314</c:v>
                </c:pt>
                <c:pt idx="1097">
                  <c:v>43315</c:v>
                </c:pt>
                <c:pt idx="1098">
                  <c:v>43318</c:v>
                </c:pt>
                <c:pt idx="1099">
                  <c:v>43319</c:v>
                </c:pt>
                <c:pt idx="1100">
                  <c:v>43320</c:v>
                </c:pt>
                <c:pt idx="1101">
                  <c:v>43321</c:v>
                </c:pt>
                <c:pt idx="1102">
                  <c:v>43322</c:v>
                </c:pt>
                <c:pt idx="1103">
                  <c:v>43325</c:v>
                </c:pt>
                <c:pt idx="1104">
                  <c:v>43326</c:v>
                </c:pt>
                <c:pt idx="1105">
                  <c:v>43327</c:v>
                </c:pt>
                <c:pt idx="1106">
                  <c:v>43328</c:v>
                </c:pt>
                <c:pt idx="1107">
                  <c:v>43329</c:v>
                </c:pt>
                <c:pt idx="1108">
                  <c:v>43332</c:v>
                </c:pt>
                <c:pt idx="1109">
                  <c:v>43333</c:v>
                </c:pt>
                <c:pt idx="1110">
                  <c:v>43334</c:v>
                </c:pt>
                <c:pt idx="1111">
                  <c:v>43335</c:v>
                </c:pt>
                <c:pt idx="1112">
                  <c:v>43336</c:v>
                </c:pt>
                <c:pt idx="1113">
                  <c:v>43339</c:v>
                </c:pt>
                <c:pt idx="1114">
                  <c:v>43340</c:v>
                </c:pt>
                <c:pt idx="1115">
                  <c:v>43341</c:v>
                </c:pt>
                <c:pt idx="1116">
                  <c:v>43342</c:v>
                </c:pt>
                <c:pt idx="1117">
                  <c:v>43343</c:v>
                </c:pt>
                <c:pt idx="1118">
                  <c:v>43346</c:v>
                </c:pt>
                <c:pt idx="1119">
                  <c:v>43347</c:v>
                </c:pt>
                <c:pt idx="1120">
                  <c:v>43348</c:v>
                </c:pt>
                <c:pt idx="1121">
                  <c:v>43349</c:v>
                </c:pt>
                <c:pt idx="1122">
                  <c:v>43350</c:v>
                </c:pt>
                <c:pt idx="1123">
                  <c:v>43353</c:v>
                </c:pt>
                <c:pt idx="1124">
                  <c:v>43354</c:v>
                </c:pt>
                <c:pt idx="1125">
                  <c:v>43355</c:v>
                </c:pt>
                <c:pt idx="1126">
                  <c:v>43356</c:v>
                </c:pt>
                <c:pt idx="1127">
                  <c:v>43357</c:v>
                </c:pt>
                <c:pt idx="1128">
                  <c:v>43360</c:v>
                </c:pt>
                <c:pt idx="1129">
                  <c:v>43361</c:v>
                </c:pt>
                <c:pt idx="1130">
                  <c:v>43362</c:v>
                </c:pt>
                <c:pt idx="1131">
                  <c:v>43363</c:v>
                </c:pt>
                <c:pt idx="1132">
                  <c:v>43364</c:v>
                </c:pt>
                <c:pt idx="1133">
                  <c:v>43368</c:v>
                </c:pt>
                <c:pt idx="1134">
                  <c:v>43369</c:v>
                </c:pt>
                <c:pt idx="1135">
                  <c:v>43370</c:v>
                </c:pt>
                <c:pt idx="1136">
                  <c:v>43371</c:v>
                </c:pt>
                <c:pt idx="1137">
                  <c:v>43381</c:v>
                </c:pt>
                <c:pt idx="1138">
                  <c:v>43382</c:v>
                </c:pt>
                <c:pt idx="1139">
                  <c:v>43383</c:v>
                </c:pt>
                <c:pt idx="1140">
                  <c:v>43384</c:v>
                </c:pt>
                <c:pt idx="1141">
                  <c:v>43385</c:v>
                </c:pt>
                <c:pt idx="1142">
                  <c:v>43388</c:v>
                </c:pt>
                <c:pt idx="1143">
                  <c:v>43389</c:v>
                </c:pt>
                <c:pt idx="1144">
                  <c:v>43390</c:v>
                </c:pt>
                <c:pt idx="1145">
                  <c:v>43391</c:v>
                </c:pt>
                <c:pt idx="1146">
                  <c:v>43392</c:v>
                </c:pt>
                <c:pt idx="1147">
                  <c:v>43395</c:v>
                </c:pt>
                <c:pt idx="1148">
                  <c:v>43396</c:v>
                </c:pt>
                <c:pt idx="1149">
                  <c:v>43397</c:v>
                </c:pt>
                <c:pt idx="1150">
                  <c:v>43398</c:v>
                </c:pt>
                <c:pt idx="1151">
                  <c:v>43399</c:v>
                </c:pt>
                <c:pt idx="1152">
                  <c:v>43402</c:v>
                </c:pt>
                <c:pt idx="1153">
                  <c:v>43403</c:v>
                </c:pt>
                <c:pt idx="1154">
                  <c:v>43404</c:v>
                </c:pt>
                <c:pt idx="1155">
                  <c:v>43405</c:v>
                </c:pt>
                <c:pt idx="1156">
                  <c:v>43406</c:v>
                </c:pt>
                <c:pt idx="1157">
                  <c:v>43409</c:v>
                </c:pt>
                <c:pt idx="1158">
                  <c:v>43410</c:v>
                </c:pt>
                <c:pt idx="1159">
                  <c:v>43411</c:v>
                </c:pt>
                <c:pt idx="1160">
                  <c:v>43412</c:v>
                </c:pt>
                <c:pt idx="1161">
                  <c:v>43413</c:v>
                </c:pt>
                <c:pt idx="1162">
                  <c:v>43416</c:v>
                </c:pt>
                <c:pt idx="1163">
                  <c:v>43417</c:v>
                </c:pt>
                <c:pt idx="1164">
                  <c:v>43418</c:v>
                </c:pt>
                <c:pt idx="1165">
                  <c:v>43419</c:v>
                </c:pt>
                <c:pt idx="1166">
                  <c:v>43420</c:v>
                </c:pt>
                <c:pt idx="1167">
                  <c:v>43423</c:v>
                </c:pt>
                <c:pt idx="1168">
                  <c:v>43424</c:v>
                </c:pt>
                <c:pt idx="1169">
                  <c:v>43425</c:v>
                </c:pt>
                <c:pt idx="1170">
                  <c:v>43426</c:v>
                </c:pt>
                <c:pt idx="1171">
                  <c:v>43427</c:v>
                </c:pt>
                <c:pt idx="1172">
                  <c:v>43430</c:v>
                </c:pt>
                <c:pt idx="1173">
                  <c:v>43431</c:v>
                </c:pt>
                <c:pt idx="1174">
                  <c:v>43432</c:v>
                </c:pt>
                <c:pt idx="1175">
                  <c:v>43433</c:v>
                </c:pt>
                <c:pt idx="1176">
                  <c:v>43434</c:v>
                </c:pt>
                <c:pt idx="1177">
                  <c:v>43437</c:v>
                </c:pt>
                <c:pt idx="1178">
                  <c:v>43438</c:v>
                </c:pt>
                <c:pt idx="1179">
                  <c:v>43439</c:v>
                </c:pt>
                <c:pt idx="1180">
                  <c:v>43440</c:v>
                </c:pt>
                <c:pt idx="1181">
                  <c:v>43441</c:v>
                </c:pt>
                <c:pt idx="1182">
                  <c:v>43444</c:v>
                </c:pt>
                <c:pt idx="1183">
                  <c:v>43445</c:v>
                </c:pt>
                <c:pt idx="1184">
                  <c:v>43446</c:v>
                </c:pt>
                <c:pt idx="1185">
                  <c:v>43447</c:v>
                </c:pt>
                <c:pt idx="1186">
                  <c:v>43448</c:v>
                </c:pt>
                <c:pt idx="1187">
                  <c:v>43451</c:v>
                </c:pt>
                <c:pt idx="1188">
                  <c:v>43452</c:v>
                </c:pt>
                <c:pt idx="1189">
                  <c:v>43453</c:v>
                </c:pt>
                <c:pt idx="1190">
                  <c:v>43454</c:v>
                </c:pt>
                <c:pt idx="1191">
                  <c:v>43455</c:v>
                </c:pt>
                <c:pt idx="1192">
                  <c:v>43458</c:v>
                </c:pt>
                <c:pt idx="1193">
                  <c:v>43459</c:v>
                </c:pt>
                <c:pt idx="1194">
                  <c:v>43460</c:v>
                </c:pt>
                <c:pt idx="1195">
                  <c:v>43461</c:v>
                </c:pt>
                <c:pt idx="1196">
                  <c:v>43462</c:v>
                </c:pt>
                <c:pt idx="1197">
                  <c:v>43467</c:v>
                </c:pt>
                <c:pt idx="1198">
                  <c:v>43468</c:v>
                </c:pt>
                <c:pt idx="1199">
                  <c:v>43469</c:v>
                </c:pt>
                <c:pt idx="1200">
                  <c:v>43472</c:v>
                </c:pt>
                <c:pt idx="1201">
                  <c:v>43473</c:v>
                </c:pt>
                <c:pt idx="1202">
                  <c:v>43474</c:v>
                </c:pt>
                <c:pt idx="1203">
                  <c:v>43475</c:v>
                </c:pt>
                <c:pt idx="1204">
                  <c:v>43476</c:v>
                </c:pt>
                <c:pt idx="1205">
                  <c:v>43479</c:v>
                </c:pt>
                <c:pt idx="1206">
                  <c:v>43480</c:v>
                </c:pt>
                <c:pt idx="1207">
                  <c:v>43481</c:v>
                </c:pt>
                <c:pt idx="1208">
                  <c:v>43482</c:v>
                </c:pt>
                <c:pt idx="1209">
                  <c:v>43483</c:v>
                </c:pt>
                <c:pt idx="1210">
                  <c:v>43486</c:v>
                </c:pt>
                <c:pt idx="1211">
                  <c:v>43487</c:v>
                </c:pt>
                <c:pt idx="1212">
                  <c:v>43488</c:v>
                </c:pt>
                <c:pt idx="1213">
                  <c:v>43489</c:v>
                </c:pt>
                <c:pt idx="1214">
                  <c:v>43490</c:v>
                </c:pt>
                <c:pt idx="1215">
                  <c:v>43493</c:v>
                </c:pt>
                <c:pt idx="1216">
                  <c:v>43494</c:v>
                </c:pt>
                <c:pt idx="1217">
                  <c:v>43495</c:v>
                </c:pt>
                <c:pt idx="1218">
                  <c:v>43496</c:v>
                </c:pt>
                <c:pt idx="1219">
                  <c:v>43497</c:v>
                </c:pt>
                <c:pt idx="1220">
                  <c:v>43507</c:v>
                </c:pt>
                <c:pt idx="1221">
                  <c:v>43508</c:v>
                </c:pt>
                <c:pt idx="1222">
                  <c:v>43509</c:v>
                </c:pt>
                <c:pt idx="1223">
                  <c:v>43510</c:v>
                </c:pt>
                <c:pt idx="1224">
                  <c:v>43511</c:v>
                </c:pt>
                <c:pt idx="1225">
                  <c:v>43514</c:v>
                </c:pt>
                <c:pt idx="1226">
                  <c:v>43515</c:v>
                </c:pt>
                <c:pt idx="1227">
                  <c:v>43516</c:v>
                </c:pt>
                <c:pt idx="1228">
                  <c:v>43517</c:v>
                </c:pt>
                <c:pt idx="1229">
                  <c:v>43518</c:v>
                </c:pt>
                <c:pt idx="1230">
                  <c:v>43521</c:v>
                </c:pt>
                <c:pt idx="1231">
                  <c:v>43522</c:v>
                </c:pt>
                <c:pt idx="1232">
                  <c:v>43523</c:v>
                </c:pt>
                <c:pt idx="1233">
                  <c:v>43524</c:v>
                </c:pt>
                <c:pt idx="1234">
                  <c:v>43525</c:v>
                </c:pt>
                <c:pt idx="1235">
                  <c:v>43528</c:v>
                </c:pt>
                <c:pt idx="1236">
                  <c:v>43529</c:v>
                </c:pt>
                <c:pt idx="1237">
                  <c:v>43530</c:v>
                </c:pt>
                <c:pt idx="1238">
                  <c:v>43531</c:v>
                </c:pt>
                <c:pt idx="1239">
                  <c:v>43532</c:v>
                </c:pt>
                <c:pt idx="1240">
                  <c:v>43535</c:v>
                </c:pt>
                <c:pt idx="1241">
                  <c:v>43536</c:v>
                </c:pt>
                <c:pt idx="1242">
                  <c:v>43537</c:v>
                </c:pt>
                <c:pt idx="1243">
                  <c:v>43538</c:v>
                </c:pt>
                <c:pt idx="1244">
                  <c:v>43539</c:v>
                </c:pt>
                <c:pt idx="1245">
                  <c:v>43542</c:v>
                </c:pt>
                <c:pt idx="1246">
                  <c:v>43543</c:v>
                </c:pt>
                <c:pt idx="1247">
                  <c:v>43544</c:v>
                </c:pt>
                <c:pt idx="1248">
                  <c:v>43545</c:v>
                </c:pt>
                <c:pt idx="1249">
                  <c:v>43546</c:v>
                </c:pt>
                <c:pt idx="1250">
                  <c:v>43549</c:v>
                </c:pt>
                <c:pt idx="1251">
                  <c:v>43550</c:v>
                </c:pt>
                <c:pt idx="1252">
                  <c:v>43551</c:v>
                </c:pt>
                <c:pt idx="1253">
                  <c:v>43552</c:v>
                </c:pt>
                <c:pt idx="1254">
                  <c:v>43553</c:v>
                </c:pt>
                <c:pt idx="1255">
                  <c:v>43556</c:v>
                </c:pt>
                <c:pt idx="1256">
                  <c:v>43557</c:v>
                </c:pt>
                <c:pt idx="1257">
                  <c:v>43558</c:v>
                </c:pt>
                <c:pt idx="1258">
                  <c:v>43559</c:v>
                </c:pt>
                <c:pt idx="1259">
                  <c:v>43563</c:v>
                </c:pt>
                <c:pt idx="1260">
                  <c:v>43564</c:v>
                </c:pt>
                <c:pt idx="1261">
                  <c:v>43565</c:v>
                </c:pt>
                <c:pt idx="1262">
                  <c:v>43566</c:v>
                </c:pt>
                <c:pt idx="1263">
                  <c:v>43567</c:v>
                </c:pt>
                <c:pt idx="1264">
                  <c:v>43570</c:v>
                </c:pt>
                <c:pt idx="1265">
                  <c:v>43571</c:v>
                </c:pt>
                <c:pt idx="1266">
                  <c:v>43572</c:v>
                </c:pt>
                <c:pt idx="1267">
                  <c:v>43573</c:v>
                </c:pt>
                <c:pt idx="1268">
                  <c:v>43574</c:v>
                </c:pt>
                <c:pt idx="1269">
                  <c:v>43577</c:v>
                </c:pt>
                <c:pt idx="1270">
                  <c:v>43578</c:v>
                </c:pt>
                <c:pt idx="1271">
                  <c:v>43579</c:v>
                </c:pt>
                <c:pt idx="1272">
                  <c:v>43580</c:v>
                </c:pt>
                <c:pt idx="1273">
                  <c:v>43581</c:v>
                </c:pt>
                <c:pt idx="1274">
                  <c:v>43584</c:v>
                </c:pt>
                <c:pt idx="1275">
                  <c:v>43585</c:v>
                </c:pt>
                <c:pt idx="1276">
                  <c:v>43591</c:v>
                </c:pt>
                <c:pt idx="1277">
                  <c:v>43592</c:v>
                </c:pt>
                <c:pt idx="1278">
                  <c:v>43593</c:v>
                </c:pt>
                <c:pt idx="1279">
                  <c:v>43594</c:v>
                </c:pt>
                <c:pt idx="1280">
                  <c:v>43595</c:v>
                </c:pt>
                <c:pt idx="1281">
                  <c:v>43598</c:v>
                </c:pt>
                <c:pt idx="1282">
                  <c:v>43599</c:v>
                </c:pt>
                <c:pt idx="1283">
                  <c:v>43600</c:v>
                </c:pt>
                <c:pt idx="1284">
                  <c:v>43601</c:v>
                </c:pt>
                <c:pt idx="1285">
                  <c:v>43602</c:v>
                </c:pt>
                <c:pt idx="1286">
                  <c:v>43605</c:v>
                </c:pt>
                <c:pt idx="1287">
                  <c:v>43606</c:v>
                </c:pt>
                <c:pt idx="1288">
                  <c:v>43607</c:v>
                </c:pt>
                <c:pt idx="1289">
                  <c:v>43608</c:v>
                </c:pt>
                <c:pt idx="1290">
                  <c:v>43609</c:v>
                </c:pt>
                <c:pt idx="1291">
                  <c:v>43612</c:v>
                </c:pt>
                <c:pt idx="1292">
                  <c:v>43613</c:v>
                </c:pt>
                <c:pt idx="1293">
                  <c:v>43614</c:v>
                </c:pt>
                <c:pt idx="1294">
                  <c:v>43615</c:v>
                </c:pt>
                <c:pt idx="1295">
                  <c:v>43616</c:v>
                </c:pt>
                <c:pt idx="1296">
                  <c:v>43619</c:v>
                </c:pt>
                <c:pt idx="1297">
                  <c:v>43620</c:v>
                </c:pt>
                <c:pt idx="1298">
                  <c:v>43621</c:v>
                </c:pt>
                <c:pt idx="1299">
                  <c:v>43622</c:v>
                </c:pt>
                <c:pt idx="1300">
                  <c:v>43626</c:v>
                </c:pt>
                <c:pt idx="1301">
                  <c:v>43627</c:v>
                </c:pt>
                <c:pt idx="1302">
                  <c:v>43628</c:v>
                </c:pt>
                <c:pt idx="1303">
                  <c:v>43629</c:v>
                </c:pt>
                <c:pt idx="1304">
                  <c:v>43630</c:v>
                </c:pt>
                <c:pt idx="1305">
                  <c:v>43633</c:v>
                </c:pt>
                <c:pt idx="1306">
                  <c:v>43634</c:v>
                </c:pt>
                <c:pt idx="1307">
                  <c:v>43635</c:v>
                </c:pt>
                <c:pt idx="1308">
                  <c:v>43636</c:v>
                </c:pt>
                <c:pt idx="1309">
                  <c:v>43637</c:v>
                </c:pt>
                <c:pt idx="1310">
                  <c:v>43640</c:v>
                </c:pt>
                <c:pt idx="1311">
                  <c:v>43641</c:v>
                </c:pt>
                <c:pt idx="1312">
                  <c:v>43642</c:v>
                </c:pt>
                <c:pt idx="1313">
                  <c:v>43643</c:v>
                </c:pt>
                <c:pt idx="1314">
                  <c:v>43644</c:v>
                </c:pt>
                <c:pt idx="1315">
                  <c:v>43647</c:v>
                </c:pt>
                <c:pt idx="1316">
                  <c:v>43648</c:v>
                </c:pt>
                <c:pt idx="1317">
                  <c:v>43649</c:v>
                </c:pt>
                <c:pt idx="1318">
                  <c:v>43650</c:v>
                </c:pt>
                <c:pt idx="1319">
                  <c:v>43651</c:v>
                </c:pt>
                <c:pt idx="1320">
                  <c:v>43654</c:v>
                </c:pt>
                <c:pt idx="1321">
                  <c:v>43655</c:v>
                </c:pt>
                <c:pt idx="1322">
                  <c:v>43656</c:v>
                </c:pt>
                <c:pt idx="1323">
                  <c:v>43657</c:v>
                </c:pt>
                <c:pt idx="1324">
                  <c:v>43658</c:v>
                </c:pt>
                <c:pt idx="1325">
                  <c:v>43661</c:v>
                </c:pt>
                <c:pt idx="1326">
                  <c:v>43662</c:v>
                </c:pt>
                <c:pt idx="1327">
                  <c:v>43663</c:v>
                </c:pt>
                <c:pt idx="1328">
                  <c:v>43664</c:v>
                </c:pt>
                <c:pt idx="1329">
                  <c:v>43665</c:v>
                </c:pt>
                <c:pt idx="1330">
                  <c:v>43668</c:v>
                </c:pt>
                <c:pt idx="1331">
                  <c:v>43669</c:v>
                </c:pt>
                <c:pt idx="1332">
                  <c:v>43670</c:v>
                </c:pt>
                <c:pt idx="1333">
                  <c:v>43671</c:v>
                </c:pt>
                <c:pt idx="1334">
                  <c:v>43672</c:v>
                </c:pt>
                <c:pt idx="1335">
                  <c:v>43675</c:v>
                </c:pt>
                <c:pt idx="1336">
                  <c:v>43676</c:v>
                </c:pt>
                <c:pt idx="1337">
                  <c:v>43677</c:v>
                </c:pt>
                <c:pt idx="1338">
                  <c:v>43678</c:v>
                </c:pt>
                <c:pt idx="1339">
                  <c:v>43679</c:v>
                </c:pt>
                <c:pt idx="1340">
                  <c:v>43682</c:v>
                </c:pt>
                <c:pt idx="1341">
                  <c:v>43683</c:v>
                </c:pt>
                <c:pt idx="1342">
                  <c:v>43684</c:v>
                </c:pt>
                <c:pt idx="1343">
                  <c:v>43685</c:v>
                </c:pt>
                <c:pt idx="1344">
                  <c:v>43686</c:v>
                </c:pt>
                <c:pt idx="1345">
                  <c:v>43689</c:v>
                </c:pt>
                <c:pt idx="1346">
                  <c:v>43690</c:v>
                </c:pt>
                <c:pt idx="1347">
                  <c:v>43691</c:v>
                </c:pt>
                <c:pt idx="1348">
                  <c:v>43692</c:v>
                </c:pt>
                <c:pt idx="1349">
                  <c:v>43693</c:v>
                </c:pt>
                <c:pt idx="1350">
                  <c:v>43696</c:v>
                </c:pt>
                <c:pt idx="1351">
                  <c:v>43697</c:v>
                </c:pt>
                <c:pt idx="1352">
                  <c:v>43698</c:v>
                </c:pt>
                <c:pt idx="1353">
                  <c:v>43699</c:v>
                </c:pt>
                <c:pt idx="1354">
                  <c:v>43700</c:v>
                </c:pt>
                <c:pt idx="1355">
                  <c:v>43703</c:v>
                </c:pt>
                <c:pt idx="1356">
                  <c:v>43704</c:v>
                </c:pt>
                <c:pt idx="1357">
                  <c:v>43705</c:v>
                </c:pt>
                <c:pt idx="1358">
                  <c:v>43706</c:v>
                </c:pt>
                <c:pt idx="1359">
                  <c:v>43707</c:v>
                </c:pt>
                <c:pt idx="1360">
                  <c:v>43710</c:v>
                </c:pt>
                <c:pt idx="1361">
                  <c:v>43711</c:v>
                </c:pt>
                <c:pt idx="1362">
                  <c:v>43712</c:v>
                </c:pt>
                <c:pt idx="1363">
                  <c:v>43713</c:v>
                </c:pt>
                <c:pt idx="1364">
                  <c:v>43714</c:v>
                </c:pt>
                <c:pt idx="1365">
                  <c:v>43717</c:v>
                </c:pt>
                <c:pt idx="1366">
                  <c:v>43718</c:v>
                </c:pt>
                <c:pt idx="1367">
                  <c:v>43719</c:v>
                </c:pt>
                <c:pt idx="1368">
                  <c:v>43720</c:v>
                </c:pt>
                <c:pt idx="1369">
                  <c:v>43724</c:v>
                </c:pt>
                <c:pt idx="1370">
                  <c:v>43725</c:v>
                </c:pt>
                <c:pt idx="1371">
                  <c:v>43726</c:v>
                </c:pt>
                <c:pt idx="1372">
                  <c:v>43727</c:v>
                </c:pt>
                <c:pt idx="1373">
                  <c:v>43728</c:v>
                </c:pt>
                <c:pt idx="1374">
                  <c:v>43731</c:v>
                </c:pt>
                <c:pt idx="1375">
                  <c:v>43732</c:v>
                </c:pt>
                <c:pt idx="1376">
                  <c:v>43733</c:v>
                </c:pt>
                <c:pt idx="1377">
                  <c:v>43734</c:v>
                </c:pt>
                <c:pt idx="1378">
                  <c:v>43735</c:v>
                </c:pt>
                <c:pt idx="1379">
                  <c:v>43738</c:v>
                </c:pt>
                <c:pt idx="1380">
                  <c:v>43746</c:v>
                </c:pt>
                <c:pt idx="1381">
                  <c:v>43747</c:v>
                </c:pt>
                <c:pt idx="1382">
                  <c:v>43748</c:v>
                </c:pt>
                <c:pt idx="1383">
                  <c:v>43749</c:v>
                </c:pt>
                <c:pt idx="1384">
                  <c:v>43752</c:v>
                </c:pt>
                <c:pt idx="1385">
                  <c:v>43753</c:v>
                </c:pt>
                <c:pt idx="1386">
                  <c:v>43754</c:v>
                </c:pt>
                <c:pt idx="1387">
                  <c:v>43755</c:v>
                </c:pt>
                <c:pt idx="1388">
                  <c:v>43756</c:v>
                </c:pt>
                <c:pt idx="1389">
                  <c:v>43759</c:v>
                </c:pt>
                <c:pt idx="1390">
                  <c:v>43760</c:v>
                </c:pt>
                <c:pt idx="1391">
                  <c:v>43761</c:v>
                </c:pt>
                <c:pt idx="1392">
                  <c:v>43762</c:v>
                </c:pt>
                <c:pt idx="1393">
                  <c:v>43763</c:v>
                </c:pt>
                <c:pt idx="1394">
                  <c:v>43766</c:v>
                </c:pt>
                <c:pt idx="1395">
                  <c:v>43767</c:v>
                </c:pt>
                <c:pt idx="1396">
                  <c:v>43768</c:v>
                </c:pt>
                <c:pt idx="1397">
                  <c:v>43769</c:v>
                </c:pt>
                <c:pt idx="1398">
                  <c:v>43770</c:v>
                </c:pt>
                <c:pt idx="1399">
                  <c:v>43773</c:v>
                </c:pt>
                <c:pt idx="1400">
                  <c:v>43774</c:v>
                </c:pt>
                <c:pt idx="1401">
                  <c:v>43775</c:v>
                </c:pt>
                <c:pt idx="1402">
                  <c:v>43776</c:v>
                </c:pt>
                <c:pt idx="1403">
                  <c:v>43777</c:v>
                </c:pt>
                <c:pt idx="1404">
                  <c:v>43780</c:v>
                </c:pt>
                <c:pt idx="1405">
                  <c:v>43781</c:v>
                </c:pt>
                <c:pt idx="1406">
                  <c:v>43782</c:v>
                </c:pt>
                <c:pt idx="1407">
                  <c:v>43783</c:v>
                </c:pt>
                <c:pt idx="1408">
                  <c:v>43784</c:v>
                </c:pt>
                <c:pt idx="1409">
                  <c:v>43787</c:v>
                </c:pt>
                <c:pt idx="1410">
                  <c:v>43788</c:v>
                </c:pt>
                <c:pt idx="1411">
                  <c:v>43789</c:v>
                </c:pt>
                <c:pt idx="1412">
                  <c:v>43790</c:v>
                </c:pt>
                <c:pt idx="1413">
                  <c:v>43791</c:v>
                </c:pt>
                <c:pt idx="1414">
                  <c:v>43794</c:v>
                </c:pt>
                <c:pt idx="1415">
                  <c:v>43795</c:v>
                </c:pt>
                <c:pt idx="1416">
                  <c:v>43796</c:v>
                </c:pt>
                <c:pt idx="1417">
                  <c:v>43797</c:v>
                </c:pt>
                <c:pt idx="1418">
                  <c:v>43798</c:v>
                </c:pt>
                <c:pt idx="1419">
                  <c:v>43801</c:v>
                </c:pt>
                <c:pt idx="1420">
                  <c:v>43802</c:v>
                </c:pt>
                <c:pt idx="1421">
                  <c:v>43803</c:v>
                </c:pt>
                <c:pt idx="1422">
                  <c:v>43804</c:v>
                </c:pt>
                <c:pt idx="1423">
                  <c:v>43805</c:v>
                </c:pt>
                <c:pt idx="1424">
                  <c:v>43808</c:v>
                </c:pt>
                <c:pt idx="1425">
                  <c:v>43809</c:v>
                </c:pt>
                <c:pt idx="1426">
                  <c:v>43810</c:v>
                </c:pt>
                <c:pt idx="1427">
                  <c:v>43811</c:v>
                </c:pt>
                <c:pt idx="1428">
                  <c:v>43812</c:v>
                </c:pt>
                <c:pt idx="1429">
                  <c:v>43815</c:v>
                </c:pt>
                <c:pt idx="1430">
                  <c:v>43816</c:v>
                </c:pt>
                <c:pt idx="1431">
                  <c:v>43817</c:v>
                </c:pt>
                <c:pt idx="1432">
                  <c:v>43818</c:v>
                </c:pt>
                <c:pt idx="1433">
                  <c:v>43819</c:v>
                </c:pt>
                <c:pt idx="1434">
                  <c:v>43822</c:v>
                </c:pt>
                <c:pt idx="1435">
                  <c:v>43823</c:v>
                </c:pt>
                <c:pt idx="1436">
                  <c:v>43824</c:v>
                </c:pt>
                <c:pt idx="1437">
                  <c:v>43825</c:v>
                </c:pt>
                <c:pt idx="1438">
                  <c:v>43826</c:v>
                </c:pt>
                <c:pt idx="1439">
                  <c:v>43829</c:v>
                </c:pt>
                <c:pt idx="1440">
                  <c:v>43830</c:v>
                </c:pt>
                <c:pt idx="1441">
                  <c:v>43832</c:v>
                </c:pt>
                <c:pt idx="1442">
                  <c:v>43833</c:v>
                </c:pt>
                <c:pt idx="1443">
                  <c:v>43836</c:v>
                </c:pt>
                <c:pt idx="1444">
                  <c:v>43837</c:v>
                </c:pt>
                <c:pt idx="1445">
                  <c:v>43838</c:v>
                </c:pt>
                <c:pt idx="1446">
                  <c:v>43839</c:v>
                </c:pt>
                <c:pt idx="1447">
                  <c:v>43840</c:v>
                </c:pt>
                <c:pt idx="1448">
                  <c:v>43843</c:v>
                </c:pt>
                <c:pt idx="1449">
                  <c:v>43844</c:v>
                </c:pt>
                <c:pt idx="1450">
                  <c:v>43845</c:v>
                </c:pt>
                <c:pt idx="1451">
                  <c:v>43846</c:v>
                </c:pt>
                <c:pt idx="1452">
                  <c:v>43847</c:v>
                </c:pt>
              </c:numCache>
            </c:numRef>
          </c:cat>
          <c:val>
            <c:numRef>
              <c:f>Sheet1!$D$2:$D$1454</c:f>
              <c:numCache>
                <c:formatCode>###,###,###,###,##0.00</c:formatCode>
                <c:ptCount val="1453"/>
                <c:pt idx="0">
                  <c:v>1000</c:v>
                </c:pt>
                <c:pt idx="1">
                  <c:v>1002.486915690758</c:v>
                </c:pt>
                <c:pt idx="2">
                  <c:v>997.37132486451912</c:v>
                </c:pt>
                <c:pt idx="3">
                  <c:v>1004.3809793827513</c:v>
                </c:pt>
                <c:pt idx="4">
                  <c:v>1011.412947887653</c:v>
                </c:pt>
                <c:pt idx="5">
                  <c:v>998.63490905081562</c:v>
                </c:pt>
                <c:pt idx="6">
                  <c:v>1010.1042981988676</c:v>
                </c:pt>
                <c:pt idx="7">
                  <c:v>1000.8199296278116</c:v>
                </c:pt>
                <c:pt idx="8">
                  <c:v>990.69463002972577</c:v>
                </c:pt>
                <c:pt idx="9">
                  <c:v>968.91224127807527</c:v>
                </c:pt>
                <c:pt idx="10">
                  <c:v>944.14809136658744</c:v>
                </c:pt>
                <c:pt idx="11">
                  <c:v>946.55275157707399</c:v>
                </c:pt>
                <c:pt idx="12">
                  <c:v>942.48504306599443</c:v>
                </c:pt>
                <c:pt idx="13">
                  <c:v>953.36333033188339</c:v>
                </c:pt>
                <c:pt idx="14">
                  <c:v>958.35072511706085</c:v>
                </c:pt>
                <c:pt idx="15">
                  <c:v>955.68310988719622</c:v>
                </c:pt>
                <c:pt idx="16">
                  <c:v>946.80258072194067</c:v>
                </c:pt>
                <c:pt idx="17">
                  <c:v>951.02823725630719</c:v>
                </c:pt>
                <c:pt idx="18">
                  <c:v>948.7198334589043</c:v>
                </c:pt>
                <c:pt idx="19">
                  <c:v>917.84296378746228</c:v>
                </c:pt>
                <c:pt idx="20">
                  <c:v>922.60065576869067</c:v>
                </c:pt>
                <c:pt idx="21">
                  <c:v>924.99525280871842</c:v>
                </c:pt>
                <c:pt idx="22">
                  <c:v>936.4580790195148</c:v>
                </c:pt>
                <c:pt idx="23">
                  <c:v>928.80263147532207</c:v>
                </c:pt>
                <c:pt idx="24">
                  <c:v>937.64159537129171</c:v>
                </c:pt>
                <c:pt idx="25">
                  <c:v>935.49551488867951</c:v>
                </c:pt>
                <c:pt idx="26">
                  <c:v>927.94244916567573</c:v>
                </c:pt>
                <c:pt idx="27">
                  <c:v>913.10889838035473</c:v>
                </c:pt>
                <c:pt idx="28">
                  <c:v>944.53705478127483</c:v>
                </c:pt>
                <c:pt idx="29">
                  <c:v>952.30582237541591</c:v>
                </c:pt>
                <c:pt idx="30">
                  <c:v>951.38088575151323</c:v>
                </c:pt>
                <c:pt idx="31">
                  <c:v>949.896349344275</c:v>
                </c:pt>
                <c:pt idx="32">
                  <c:v>943.1846521774512</c:v>
                </c:pt>
                <c:pt idx="33">
                  <c:v>941.54741809673067</c:v>
                </c:pt>
                <c:pt idx="34">
                  <c:v>939.07100310558178</c:v>
                </c:pt>
                <c:pt idx="35">
                  <c:v>946.4258681234636</c:v>
                </c:pt>
                <c:pt idx="36">
                  <c:v>954.13163151994991</c:v>
                </c:pt>
                <c:pt idx="37">
                  <c:v>947.25411080513231</c:v>
                </c:pt>
                <c:pt idx="38">
                  <c:v>956.20770733850156</c:v>
                </c:pt>
                <c:pt idx="39">
                  <c:v>978.8909686107836</c:v>
                </c:pt>
                <c:pt idx="40">
                  <c:v>979.46150662287857</c:v>
                </c:pt>
                <c:pt idx="41">
                  <c:v>994.8367184963696</c:v>
                </c:pt>
                <c:pt idx="42">
                  <c:v>993.48256577594475</c:v>
                </c:pt>
                <c:pt idx="43">
                  <c:v>992.58431843021515</c:v>
                </c:pt>
                <c:pt idx="44">
                  <c:v>975.45505219285224</c:v>
                </c:pt>
                <c:pt idx="45">
                  <c:v>976.79520398046498</c:v>
                </c:pt>
                <c:pt idx="46">
                  <c:v>973.41616635208311</c:v>
                </c:pt>
                <c:pt idx="47">
                  <c:v>973.27440690736</c:v>
                </c:pt>
                <c:pt idx="48">
                  <c:v>956.98475910957563</c:v>
                </c:pt>
                <c:pt idx="49">
                  <c:v>961.16184990825025</c:v>
                </c:pt>
                <c:pt idx="50">
                  <c:v>960.23122540539271</c:v>
                </c:pt>
                <c:pt idx="51">
                  <c:v>958.3962281487004</c:v>
                </c:pt>
                <c:pt idx="52">
                  <c:v>948.48706795090209</c:v>
                </c:pt>
                <c:pt idx="53">
                  <c:v>934.11117265687824</c:v>
                </c:pt>
                <c:pt idx="54">
                  <c:v>944.39354521995006</c:v>
                </c:pt>
                <c:pt idx="55">
                  <c:v>944.47623822937203</c:v>
                </c:pt>
                <c:pt idx="56">
                  <c:v>943.51848691919088</c:v>
                </c:pt>
                <c:pt idx="57">
                  <c:v>943.89388693021669</c:v>
                </c:pt>
                <c:pt idx="58">
                  <c:v>935.13805357281922</c:v>
                </c:pt>
                <c:pt idx="59">
                  <c:v>934.34175051912837</c:v>
                </c:pt>
                <c:pt idx="60">
                  <c:v>933.64826681577665</c:v>
                </c:pt>
                <c:pt idx="61">
                  <c:v>953.83717440174451</c:v>
                </c:pt>
                <c:pt idx="62">
                  <c:v>951.56114776146956</c:v>
                </c:pt>
                <c:pt idx="63">
                  <c:v>950.47607546852805</c:v>
                </c:pt>
                <c:pt idx="64">
                  <c:v>938.09925086258863</c:v>
                </c:pt>
                <c:pt idx="65">
                  <c:v>938.91655531549804</c:v>
                </c:pt>
                <c:pt idx="66">
                  <c:v>925.43671972145148</c:v>
                </c:pt>
                <c:pt idx="67">
                  <c:v>925.71148802789003</c:v>
                </c:pt>
                <c:pt idx="68">
                  <c:v>934.52069994163378</c:v>
                </c:pt>
                <c:pt idx="69">
                  <c:v>932.31686561117135</c:v>
                </c:pt>
                <c:pt idx="70">
                  <c:v>939.99375208373272</c:v>
                </c:pt>
                <c:pt idx="71">
                  <c:v>943.3023475189035</c:v>
                </c:pt>
                <c:pt idx="72">
                  <c:v>939.49759402720213</c:v>
                </c:pt>
                <c:pt idx="73">
                  <c:v>949.15473743438145</c:v>
                </c:pt>
                <c:pt idx="74">
                  <c:v>942.9470738487953</c:v>
                </c:pt>
                <c:pt idx="75">
                  <c:v>943.51586174428871</c:v>
                </c:pt>
                <c:pt idx="76">
                  <c:v>940.65179592590357</c:v>
                </c:pt>
                <c:pt idx="77">
                  <c:v>931.18191499508646</c:v>
                </c:pt>
                <c:pt idx="78">
                  <c:v>940.95106586476311</c:v>
                </c:pt>
                <c:pt idx="79">
                  <c:v>934.00047778183216</c:v>
                </c:pt>
                <c:pt idx="80">
                  <c:v>933.81015260141703</c:v>
                </c:pt>
                <c:pt idx="81">
                  <c:v>945.6177517827125</c:v>
                </c:pt>
                <c:pt idx="82">
                  <c:v>945.3981121492219</c:v>
                </c:pt>
                <c:pt idx="83">
                  <c:v>942.17964771902916</c:v>
                </c:pt>
                <c:pt idx="84">
                  <c:v>952.16931328049736</c:v>
                </c:pt>
                <c:pt idx="85">
                  <c:v>959.00045590537468</c:v>
                </c:pt>
                <c:pt idx="86">
                  <c:v>949.29562182080372</c:v>
                </c:pt>
                <c:pt idx="87">
                  <c:v>945.16753428697177</c:v>
                </c:pt>
                <c:pt idx="88">
                  <c:v>930.58381264651757</c:v>
                </c:pt>
                <c:pt idx="89">
                  <c:v>934.88122396154631</c:v>
                </c:pt>
                <c:pt idx="90">
                  <c:v>933.73533511670212</c:v>
                </c:pt>
                <c:pt idx="91">
                  <c:v>938.42170984641837</c:v>
                </c:pt>
                <c:pt idx="92">
                  <c:v>933.41200107457155</c:v>
                </c:pt>
                <c:pt idx="93">
                  <c:v>940.28339638128386</c:v>
                </c:pt>
                <c:pt idx="94">
                  <c:v>940.80055583703256</c:v>
                </c:pt>
                <c:pt idx="95">
                  <c:v>947.30223901167415</c:v>
                </c:pt>
                <c:pt idx="96">
                  <c:v>947.05766021661202</c:v>
                </c:pt>
                <c:pt idx="97">
                  <c:v>949.81759409720689</c:v>
                </c:pt>
                <c:pt idx="98">
                  <c:v>953.897553424497</c:v>
                </c:pt>
                <c:pt idx="99">
                  <c:v>953.24257228637873</c:v>
                </c:pt>
                <c:pt idx="100">
                  <c:v>952.18987715056539</c:v>
                </c:pt>
                <c:pt idx="101">
                  <c:v>954.02049911575375</c:v>
                </c:pt>
                <c:pt idx="102">
                  <c:v>940.12326071224516</c:v>
                </c:pt>
                <c:pt idx="103">
                  <c:v>937.55802730356936</c:v>
                </c:pt>
                <c:pt idx="104">
                  <c:v>939.81655277782897</c:v>
                </c:pt>
                <c:pt idx="105">
                  <c:v>950.20743257019501</c:v>
                </c:pt>
                <c:pt idx="106">
                  <c:v>951.61540137611678</c:v>
                </c:pt>
                <c:pt idx="107">
                  <c:v>949.81803162635708</c:v>
                </c:pt>
                <c:pt idx="108">
                  <c:v>943.78012935111803</c:v>
                </c:pt>
                <c:pt idx="109">
                  <c:v>946.87608561920422</c:v>
                </c:pt>
                <c:pt idx="110">
                  <c:v>947.81721082167098</c:v>
                </c:pt>
                <c:pt idx="111">
                  <c:v>959.36929297914469</c:v>
                </c:pt>
                <c:pt idx="112">
                  <c:v>961.61600516634428</c:v>
                </c:pt>
                <c:pt idx="113">
                  <c:v>978.75927233651942</c:v>
                </c:pt>
                <c:pt idx="114">
                  <c:v>989.01451809226808</c:v>
                </c:pt>
                <c:pt idx="115">
                  <c:v>1016.7726799798038</c:v>
                </c:pt>
                <c:pt idx="116">
                  <c:v>1020.0418977914405</c:v>
                </c:pt>
                <c:pt idx="117">
                  <c:v>1015.9475000021877</c:v>
                </c:pt>
                <c:pt idx="118">
                  <c:v>1028.3033232089088</c:v>
                </c:pt>
                <c:pt idx="119">
                  <c:v>1019.1812779526434</c:v>
                </c:pt>
                <c:pt idx="120">
                  <c:v>1039.4030002248899</c:v>
                </c:pt>
                <c:pt idx="121">
                  <c:v>1036.6610050394606</c:v>
                </c:pt>
                <c:pt idx="122">
                  <c:v>1033.9780762893326</c:v>
                </c:pt>
                <c:pt idx="123">
                  <c:v>1018.3302837551551</c:v>
                </c:pt>
                <c:pt idx="124">
                  <c:v>1019.9390784411011</c:v>
                </c:pt>
                <c:pt idx="125">
                  <c:v>1034.9091383213406</c:v>
                </c:pt>
                <c:pt idx="126">
                  <c:v>1031.2789589606407</c:v>
                </c:pt>
                <c:pt idx="127">
                  <c:v>1032.0879503596925</c:v>
                </c:pt>
                <c:pt idx="128">
                  <c:v>1022.0440311835774</c:v>
                </c:pt>
                <c:pt idx="129">
                  <c:v>1032.8466259064508</c:v>
                </c:pt>
                <c:pt idx="130">
                  <c:v>1038.9400943837879</c:v>
                </c:pt>
                <c:pt idx="131">
                  <c:v>1039.0302253887662</c:v>
                </c:pt>
                <c:pt idx="132">
                  <c:v>1035.2552238792905</c:v>
                </c:pt>
                <c:pt idx="133">
                  <c:v>1030.0503771063743</c:v>
                </c:pt>
                <c:pt idx="134">
                  <c:v>1034.9157012585958</c:v>
                </c:pt>
                <c:pt idx="135">
                  <c:v>1025.0708578459032</c:v>
                </c:pt>
                <c:pt idx="136">
                  <c:v>1016.8579981641271</c:v>
                </c:pt>
                <c:pt idx="137">
                  <c:v>1018.3906627779069</c:v>
                </c:pt>
                <c:pt idx="138">
                  <c:v>1011.2514996311621</c:v>
                </c:pt>
                <c:pt idx="139">
                  <c:v>1023.068724453766</c:v>
                </c:pt>
                <c:pt idx="140">
                  <c:v>1030.5198458847312</c:v>
                </c:pt>
                <c:pt idx="141">
                  <c:v>1044.1458162150045</c:v>
                </c:pt>
                <c:pt idx="142">
                  <c:v>1053.9368435422002</c:v>
                </c:pt>
                <c:pt idx="143">
                  <c:v>1061.5437253507007</c:v>
                </c:pt>
                <c:pt idx="144">
                  <c:v>1071.6222093296958</c:v>
                </c:pt>
                <c:pt idx="145">
                  <c:v>1069.8567792079141</c:v>
                </c:pt>
                <c:pt idx="146">
                  <c:v>1064.260343845408</c:v>
                </c:pt>
                <c:pt idx="147">
                  <c:v>1060.3317696041493</c:v>
                </c:pt>
                <c:pt idx="148">
                  <c:v>1066.8527040614074</c:v>
                </c:pt>
                <c:pt idx="149">
                  <c:v>1066.3412324846133</c:v>
                </c:pt>
                <c:pt idx="150">
                  <c:v>1045.1543209066294</c:v>
                </c:pt>
                <c:pt idx="151">
                  <c:v>1050.6501245645482</c:v>
                </c:pt>
                <c:pt idx="152">
                  <c:v>1053.8607134700342</c:v>
                </c:pt>
                <c:pt idx="153">
                  <c:v>1061.1005083213661</c:v>
                </c:pt>
                <c:pt idx="154">
                  <c:v>1040.8468464211421</c:v>
                </c:pt>
                <c:pt idx="155">
                  <c:v>1049.8345702282406</c:v>
                </c:pt>
                <c:pt idx="156">
                  <c:v>1068.3866812626384</c:v>
                </c:pt>
                <c:pt idx="157">
                  <c:v>1066.2432259549284</c:v>
                </c:pt>
                <c:pt idx="158">
                  <c:v>1066.3464828344181</c:v>
                </c:pt>
                <c:pt idx="159">
                  <c:v>1070.9834167701415</c:v>
                </c:pt>
                <c:pt idx="160">
                  <c:v>1072.3786972307021</c:v>
                </c:pt>
                <c:pt idx="161">
                  <c:v>1084.3648083053524</c:v>
                </c:pt>
                <c:pt idx="162">
                  <c:v>1085.9276624305085</c:v>
                </c:pt>
                <c:pt idx="163">
                  <c:v>1079.2920953358509</c:v>
                </c:pt>
                <c:pt idx="164">
                  <c:v>1074.1104376079047</c:v>
                </c:pt>
                <c:pt idx="165">
                  <c:v>1070.4421932111218</c:v>
                </c:pt>
                <c:pt idx="166">
                  <c:v>1078.0166978624941</c:v>
                </c:pt>
                <c:pt idx="167">
                  <c:v>1069.494067542249</c:v>
                </c:pt>
                <c:pt idx="168">
                  <c:v>1068.328927414788</c:v>
                </c:pt>
                <c:pt idx="169">
                  <c:v>1074.0076182575654</c:v>
                </c:pt>
                <c:pt idx="170">
                  <c:v>1064.6794967714716</c:v>
                </c:pt>
                <c:pt idx="171">
                  <c:v>1058.2259418033718</c:v>
                </c:pt>
                <c:pt idx="172">
                  <c:v>1048.291842444002</c:v>
                </c:pt>
                <c:pt idx="173">
                  <c:v>1046.0035649875163</c:v>
                </c:pt>
                <c:pt idx="174">
                  <c:v>1036.4330523521119</c:v>
                </c:pt>
                <c:pt idx="175">
                  <c:v>1057.3561338524166</c:v>
                </c:pt>
                <c:pt idx="176">
                  <c:v>1072.5519587742522</c:v>
                </c:pt>
                <c:pt idx="177">
                  <c:v>1080.2266576010616</c:v>
                </c:pt>
                <c:pt idx="178">
                  <c:v>1097.4653061260194</c:v>
                </c:pt>
                <c:pt idx="179">
                  <c:v>1099.3129917280726</c:v>
                </c:pt>
                <c:pt idx="180">
                  <c:v>1099.5860099179095</c:v>
                </c:pt>
                <c:pt idx="181">
                  <c:v>1095.3314764596178</c:v>
                </c:pt>
                <c:pt idx="182">
                  <c:v>1096.4773653044622</c:v>
                </c:pt>
                <c:pt idx="183">
                  <c:v>1094.7648762098761</c:v>
                </c:pt>
                <c:pt idx="184">
                  <c:v>1122.5816670035629</c:v>
                </c:pt>
                <c:pt idx="185">
                  <c:v>1119.4673345111607</c:v>
                </c:pt>
                <c:pt idx="186">
                  <c:v>1135.0897503546164</c:v>
                </c:pt>
                <c:pt idx="187">
                  <c:v>1128.7158256918856</c:v>
                </c:pt>
                <c:pt idx="188">
                  <c:v>1129.3034273408452</c:v>
                </c:pt>
                <c:pt idx="189">
                  <c:v>1123.1815194687333</c:v>
                </c:pt>
                <c:pt idx="190">
                  <c:v>1111.9435832412321</c:v>
                </c:pt>
                <c:pt idx="191">
                  <c:v>1110.1090235136901</c:v>
                </c:pt>
                <c:pt idx="192">
                  <c:v>1110.0547698990431</c:v>
                </c:pt>
                <c:pt idx="193">
                  <c:v>1130.3368711940416</c:v>
                </c:pt>
                <c:pt idx="194">
                  <c:v>1159.1276018764731</c:v>
                </c:pt>
                <c:pt idx="195">
                  <c:v>1175.0112226227054</c:v>
                </c:pt>
                <c:pt idx="196">
                  <c:v>1191.3997520084756</c:v>
                </c:pt>
                <c:pt idx="197">
                  <c:v>1205.1696694292236</c:v>
                </c:pt>
                <c:pt idx="198">
                  <c:v>1228.9401906401995</c:v>
                </c:pt>
                <c:pt idx="199">
                  <c:v>1233.7499485903229</c:v>
                </c:pt>
                <c:pt idx="200">
                  <c:v>1279.3089839610545</c:v>
                </c:pt>
                <c:pt idx="201">
                  <c:v>1298.3891926799604</c:v>
                </c:pt>
                <c:pt idx="202">
                  <c:v>1358.2440555101964</c:v>
                </c:pt>
                <c:pt idx="203">
                  <c:v>1367.228279084092</c:v>
                </c:pt>
                <c:pt idx="204">
                  <c:v>1423.2302602160846</c:v>
                </c:pt>
                <c:pt idx="205">
                  <c:v>1359.365005193469</c:v>
                </c:pt>
                <c:pt idx="206">
                  <c:v>1409.5202842889387</c:v>
                </c:pt>
                <c:pt idx="207">
                  <c:v>1392.6605360082096</c:v>
                </c:pt>
                <c:pt idx="208">
                  <c:v>1397.1298962793376</c:v>
                </c:pt>
                <c:pt idx="209">
                  <c:v>1407.6310334175996</c:v>
                </c:pt>
                <c:pt idx="210">
                  <c:v>1445.334670422415</c:v>
                </c:pt>
                <c:pt idx="211">
                  <c:v>1470.359587707529</c:v>
                </c:pt>
                <c:pt idx="212">
                  <c:v>1463.9405975423094</c:v>
                </c:pt>
                <c:pt idx="213">
                  <c:v>1480.2341831024471</c:v>
                </c:pt>
                <c:pt idx="214">
                  <c:v>1485.1843879098424</c:v>
                </c:pt>
                <c:pt idx="215">
                  <c:v>1454.7511727968854</c:v>
                </c:pt>
                <c:pt idx="216">
                  <c:v>1413.3876044491444</c:v>
                </c:pt>
                <c:pt idx="217">
                  <c:v>1459.3430412301195</c:v>
                </c:pt>
                <c:pt idx="218">
                  <c:v>1507.6550100150398</c:v>
                </c:pt>
                <c:pt idx="219">
                  <c:v>1511.8622903250903</c:v>
                </c:pt>
                <c:pt idx="220">
                  <c:v>1512.7806640117371</c:v>
                </c:pt>
                <c:pt idx="221">
                  <c:v>1546.0989463422975</c:v>
                </c:pt>
                <c:pt idx="222">
                  <c:v>1593.2803398026367</c:v>
                </c:pt>
                <c:pt idx="223">
                  <c:v>1593.0694507521537</c:v>
                </c:pt>
                <c:pt idx="224">
                  <c:v>1594.2643428618403</c:v>
                </c:pt>
                <c:pt idx="225">
                  <c:v>1557.2795662510987</c:v>
                </c:pt>
                <c:pt idx="226">
                  <c:v>1551.7947008219396</c:v>
                </c:pt>
                <c:pt idx="227">
                  <c:v>1537.2919220743056</c:v>
                </c:pt>
                <c:pt idx="228">
                  <c:v>1537.4949356000816</c:v>
                </c:pt>
                <c:pt idx="229">
                  <c:v>1532.4121594601211</c:v>
                </c:pt>
                <c:pt idx="230">
                  <c:v>1576.9079989954303</c:v>
                </c:pt>
                <c:pt idx="231">
                  <c:v>1590.4823408859588</c:v>
                </c:pt>
                <c:pt idx="232">
                  <c:v>1467.978116542012</c:v>
                </c:pt>
                <c:pt idx="233">
                  <c:v>1485.946126160653</c:v>
                </c:pt>
                <c:pt idx="234">
                  <c:v>1552.7406388450604</c:v>
                </c:pt>
                <c:pt idx="235">
                  <c:v>1560.9346847733702</c:v>
                </c:pt>
                <c:pt idx="236">
                  <c:v>1562.7368673437841</c:v>
                </c:pt>
                <c:pt idx="237">
                  <c:v>1578.5986116324973</c:v>
                </c:pt>
                <c:pt idx="238">
                  <c:v>1564.1365230958486</c:v>
                </c:pt>
                <c:pt idx="239">
                  <c:v>1542.4315770038152</c:v>
                </c:pt>
                <c:pt idx="240">
                  <c:v>1523.3881207335412</c:v>
                </c:pt>
                <c:pt idx="241">
                  <c:v>1502.6457387723433</c:v>
                </c:pt>
                <c:pt idx="242">
                  <c:v>1467.4552692073084</c:v>
                </c:pt>
                <c:pt idx="243">
                  <c:v>1503.9823903267529</c:v>
                </c:pt>
                <c:pt idx="244">
                  <c:v>1488.3726628286583</c:v>
                </c:pt>
                <c:pt idx="245">
                  <c:v>1473.1370227541383</c:v>
                </c:pt>
                <c:pt idx="246">
                  <c:v>1449.2803083005381</c:v>
                </c:pt>
                <c:pt idx="247">
                  <c:v>1463.9379723674065</c:v>
                </c:pt>
                <c:pt idx="248">
                  <c:v>1490.6368761818733</c:v>
                </c:pt>
                <c:pt idx="249">
                  <c:v>1502.5293560183422</c:v>
                </c:pt>
                <c:pt idx="250">
                  <c:v>1506.3577360841641</c:v>
                </c:pt>
                <c:pt idx="251">
                  <c:v>1518.1508968034971</c:v>
                </c:pt>
                <c:pt idx="252">
                  <c:v>1531.1258237580057</c:v>
                </c:pt>
                <c:pt idx="253">
                  <c:v>1541.1185520235265</c:v>
                </c:pt>
                <c:pt idx="254">
                  <c:v>1522.0453437710264</c:v>
                </c:pt>
                <c:pt idx="255">
                  <c:v>1560.3580213531704</c:v>
                </c:pt>
                <c:pt idx="256">
                  <c:v>1563.2229622298562</c:v>
                </c:pt>
                <c:pt idx="257">
                  <c:v>1575.6584157419466</c:v>
                </c:pt>
                <c:pt idx="258">
                  <c:v>1534.8085066167512</c:v>
                </c:pt>
                <c:pt idx="259">
                  <c:v>1544.8375498017533</c:v>
                </c:pt>
                <c:pt idx="260">
                  <c:v>1529.752419754964</c:v>
                </c:pt>
                <c:pt idx="261">
                  <c:v>1521.9539001785972</c:v>
                </c:pt>
                <c:pt idx="262">
                  <c:v>1547.8687517555836</c:v>
                </c:pt>
                <c:pt idx="263">
                  <c:v>1540.3699396472268</c:v>
                </c:pt>
                <c:pt idx="264">
                  <c:v>1542.1384324730611</c:v>
                </c:pt>
                <c:pt idx="265">
                  <c:v>1571.9739827665994</c:v>
                </c:pt>
                <c:pt idx="266">
                  <c:v>1582.8303935749698</c:v>
                </c:pt>
                <c:pt idx="267">
                  <c:v>1621.3390842164836</c:v>
                </c:pt>
                <c:pt idx="268">
                  <c:v>1643.8503965326665</c:v>
                </c:pt>
                <c:pt idx="269">
                  <c:v>1682.7611764633793</c:v>
                </c:pt>
                <c:pt idx="270">
                  <c:v>1679.9977423495818</c:v>
                </c:pt>
                <c:pt idx="271">
                  <c:v>1703.1145950098903</c:v>
                </c:pt>
                <c:pt idx="272">
                  <c:v>1737.892474586117</c:v>
                </c:pt>
                <c:pt idx="273">
                  <c:v>1738.3234407992409</c:v>
                </c:pt>
                <c:pt idx="274">
                  <c:v>1724.0451145057516</c:v>
                </c:pt>
                <c:pt idx="275">
                  <c:v>1728.2397064704412</c:v>
                </c:pt>
                <c:pt idx="276">
                  <c:v>1737.7332139753789</c:v>
                </c:pt>
                <c:pt idx="277">
                  <c:v>1788.6970469407502</c:v>
                </c:pt>
                <c:pt idx="278">
                  <c:v>1772.5198441346135</c:v>
                </c:pt>
                <c:pt idx="279">
                  <c:v>1804.3242756048603</c:v>
                </c:pt>
                <c:pt idx="280">
                  <c:v>1804.7097387863446</c:v>
                </c:pt>
                <c:pt idx="281">
                  <c:v>1824.7319477660178</c:v>
                </c:pt>
                <c:pt idx="282">
                  <c:v>1863.8934318998984</c:v>
                </c:pt>
                <c:pt idx="283">
                  <c:v>1879.539036788324</c:v>
                </c:pt>
                <c:pt idx="284">
                  <c:v>1864.8096179407933</c:v>
                </c:pt>
                <c:pt idx="285">
                  <c:v>1900.8086413757296</c:v>
                </c:pt>
                <c:pt idx="286">
                  <c:v>1934.3483134563821</c:v>
                </c:pt>
                <c:pt idx="287">
                  <c:v>1941.8348747485281</c:v>
                </c:pt>
                <c:pt idx="288">
                  <c:v>1916.6021311169834</c:v>
                </c:pt>
                <c:pt idx="289">
                  <c:v>1974.8079465794387</c:v>
                </c:pt>
                <c:pt idx="290">
                  <c:v>2010.9434791092938</c:v>
                </c:pt>
                <c:pt idx="291">
                  <c:v>1978.4713781555674</c:v>
                </c:pt>
                <c:pt idx="292">
                  <c:v>2021.0189003842358</c:v>
                </c:pt>
                <c:pt idx="293">
                  <c:v>2073.8067923775402</c:v>
                </c:pt>
                <c:pt idx="294">
                  <c:v>2074.2784488016491</c:v>
                </c:pt>
                <c:pt idx="295">
                  <c:v>2057.5425212704772</c:v>
                </c:pt>
                <c:pt idx="296">
                  <c:v>2103.4616431319714</c:v>
                </c:pt>
                <c:pt idx="297">
                  <c:v>2074.7024145483674</c:v>
                </c:pt>
                <c:pt idx="298">
                  <c:v>2088.9067984154426</c:v>
                </c:pt>
                <c:pt idx="299">
                  <c:v>2078.2135859801642</c:v>
                </c:pt>
                <c:pt idx="300">
                  <c:v>2094.7762519677854</c:v>
                </c:pt>
                <c:pt idx="301">
                  <c:v>2011.25018704371</c:v>
                </c:pt>
                <c:pt idx="302">
                  <c:v>1992.2132937106915</c:v>
                </c:pt>
                <c:pt idx="303">
                  <c:v>1955.7942422913904</c:v>
                </c:pt>
                <c:pt idx="304">
                  <c:v>1994.4346292071689</c:v>
                </c:pt>
                <c:pt idx="305">
                  <c:v>2052.2444807885304</c:v>
                </c:pt>
                <c:pt idx="306">
                  <c:v>2077.1350766244777</c:v>
                </c:pt>
                <c:pt idx="307">
                  <c:v>2064.4532942007236</c:v>
                </c:pt>
                <c:pt idx="308">
                  <c:v>2056.72740446332</c:v>
                </c:pt>
                <c:pt idx="309">
                  <c:v>2020.2777260034927</c:v>
                </c:pt>
                <c:pt idx="310">
                  <c:v>2001.7571170679225</c:v>
                </c:pt>
                <c:pt idx="311">
                  <c:v>2070.0475419174777</c:v>
                </c:pt>
                <c:pt idx="312">
                  <c:v>2080.4156701940242</c:v>
                </c:pt>
                <c:pt idx="313">
                  <c:v>2118.0681162882452</c:v>
                </c:pt>
                <c:pt idx="314">
                  <c:v>2166.3533957949926</c:v>
                </c:pt>
                <c:pt idx="315">
                  <c:v>2231.1777147152407</c:v>
                </c:pt>
                <c:pt idx="316">
                  <c:v>2274.6781754334356</c:v>
                </c:pt>
                <c:pt idx="317">
                  <c:v>2267.0284157681981</c:v>
                </c:pt>
                <c:pt idx="318">
                  <c:v>2115.0189756392492</c:v>
                </c:pt>
                <c:pt idx="319">
                  <c:v>2118.0037995031389</c:v>
                </c:pt>
                <c:pt idx="320">
                  <c:v>2220.9762850449879</c:v>
                </c:pt>
                <c:pt idx="321">
                  <c:v>2258.4685954701699</c:v>
                </c:pt>
                <c:pt idx="322">
                  <c:v>2250.4705626012301</c:v>
                </c:pt>
                <c:pt idx="323">
                  <c:v>2267.0205402434904</c:v>
                </c:pt>
                <c:pt idx="324">
                  <c:v>2288.5189725765445</c:v>
                </c:pt>
                <c:pt idx="325">
                  <c:v>2342.4221263741661</c:v>
                </c:pt>
                <c:pt idx="326">
                  <c:v>2326.5441935068889</c:v>
                </c:pt>
                <c:pt idx="327">
                  <c:v>2322.8912626303691</c:v>
                </c:pt>
                <c:pt idx="328">
                  <c:v>2321.7878141131114</c:v>
                </c:pt>
                <c:pt idx="329">
                  <c:v>2334.2683768806055</c:v>
                </c:pt>
                <c:pt idx="330">
                  <c:v>2284.4125427356557</c:v>
                </c:pt>
                <c:pt idx="331">
                  <c:v>2216.0069164608053</c:v>
                </c:pt>
                <c:pt idx="332">
                  <c:v>2248.3882301158278</c:v>
                </c:pt>
                <c:pt idx="333">
                  <c:v>2157.2589586281151</c:v>
                </c:pt>
                <c:pt idx="334">
                  <c:v>2028.8452905674808</c:v>
                </c:pt>
                <c:pt idx="335">
                  <c:v>2094.0541538579973</c:v>
                </c:pt>
                <c:pt idx="336">
                  <c:v>2135.1974262785225</c:v>
                </c:pt>
                <c:pt idx="337">
                  <c:v>2059.2379029752824</c:v>
                </c:pt>
                <c:pt idx="338">
                  <c:v>1897.2115829717125</c:v>
                </c:pt>
                <c:pt idx="339">
                  <c:v>1833.9246977329838</c:v>
                </c:pt>
                <c:pt idx="340">
                  <c:v>1957.0668395781838</c:v>
                </c:pt>
                <c:pt idx="341">
                  <c:v>1860.8206646767812</c:v>
                </c:pt>
                <c:pt idx="342">
                  <c:v>1797.3680433958887</c:v>
                </c:pt>
                <c:pt idx="343">
                  <c:v>1700.2019197028976</c:v>
                </c:pt>
                <c:pt idx="344">
                  <c:v>1749.4764963715679</c:v>
                </c:pt>
                <c:pt idx="345">
                  <c:v>1718.6155965141152</c:v>
                </c:pt>
                <c:pt idx="346">
                  <c:v>1602.6856851837729</c:v>
                </c:pt>
                <c:pt idx="347">
                  <c:v>1705.325123536353</c:v>
                </c:pt>
                <c:pt idx="348">
                  <c:v>1796.7380014193416</c:v>
                </c:pt>
                <c:pt idx="349">
                  <c:v>1842.7903509071261</c:v>
                </c:pt>
                <c:pt idx="350">
                  <c:v>1799.1849706986698</c:v>
                </c:pt>
                <c:pt idx="351">
                  <c:v>1735.5724762662283</c:v>
                </c:pt>
                <c:pt idx="352">
                  <c:v>1748.9595556803943</c:v>
                </c:pt>
                <c:pt idx="353">
                  <c:v>1816.4003426728275</c:v>
                </c:pt>
                <c:pt idx="354">
                  <c:v>1820.3890334193484</c:v>
                </c:pt>
                <c:pt idx="355">
                  <c:v>1822.7489343977509</c:v>
                </c:pt>
                <c:pt idx="356">
                  <c:v>1818.8788578038977</c:v>
                </c:pt>
                <c:pt idx="357">
                  <c:v>1859.8511000795395</c:v>
                </c:pt>
                <c:pt idx="358">
                  <c:v>1827.2436713596007</c:v>
                </c:pt>
                <c:pt idx="359">
                  <c:v>1670.8063049700654</c:v>
                </c:pt>
                <c:pt idx="360">
                  <c:v>1667.4641072961454</c:v>
                </c:pt>
                <c:pt idx="361">
                  <c:v>1719.6554282929069</c:v>
                </c:pt>
                <c:pt idx="362">
                  <c:v>1669.3538832024653</c:v>
                </c:pt>
                <c:pt idx="363">
                  <c:v>1669.9172019835792</c:v>
                </c:pt>
                <c:pt idx="364">
                  <c:v>1675.4021111656534</c:v>
                </c:pt>
                <c:pt idx="365">
                  <c:v>1727.4330777288005</c:v>
                </c:pt>
                <c:pt idx="366">
                  <c:v>1691.8813840972123</c:v>
                </c:pt>
                <c:pt idx="367">
                  <c:v>1676.5467749288764</c:v>
                </c:pt>
                <c:pt idx="368">
                  <c:v>1709.4022389241652</c:v>
                </c:pt>
                <c:pt idx="369">
                  <c:v>1787.0285732786913</c:v>
                </c:pt>
                <c:pt idx="370">
                  <c:v>1779.2863199510634</c:v>
                </c:pt>
                <c:pt idx="371">
                  <c:v>1757.1722841034252</c:v>
                </c:pt>
                <c:pt idx="372">
                  <c:v>1783.1338637936719</c:v>
                </c:pt>
                <c:pt idx="373">
                  <c:v>1782.2924952374917</c:v>
                </c:pt>
                <c:pt idx="374">
                  <c:v>1784.1879152698514</c:v>
                </c:pt>
                <c:pt idx="375">
                  <c:v>1673.7293497179217</c:v>
                </c:pt>
                <c:pt idx="376">
                  <c:v>1700.2976510809997</c:v>
                </c:pt>
                <c:pt idx="377">
                  <c:v>1645.7458165650253</c:v>
                </c:pt>
                <c:pt idx="378">
                  <c:v>1570.5265488313128</c:v>
                </c:pt>
                <c:pt idx="379">
                  <c:v>1433.1416955654643</c:v>
                </c:pt>
                <c:pt idx="380">
                  <c:v>1331.3690899656165</c:v>
                </c:pt>
                <c:pt idx="381">
                  <c:v>1323.8284500704835</c:v>
                </c:pt>
                <c:pt idx="382">
                  <c:v>1402.5598518001234</c:v>
                </c:pt>
                <c:pt idx="383">
                  <c:v>1462.3476851645212</c:v>
                </c:pt>
                <c:pt idx="384">
                  <c:v>1472.9575920495672</c:v>
                </c:pt>
                <c:pt idx="385">
                  <c:v>1471.0091872370967</c:v>
                </c:pt>
                <c:pt idx="386">
                  <c:v>1472.6495277747852</c:v>
                </c:pt>
                <c:pt idx="387">
                  <c:v>1422.1819403717748</c:v>
                </c:pt>
                <c:pt idx="388">
                  <c:v>1458.7323817949343</c:v>
                </c:pt>
                <c:pt idx="389">
                  <c:v>1487.2952035429332</c:v>
                </c:pt>
                <c:pt idx="390">
                  <c:v>1469.0308116778253</c:v>
                </c:pt>
                <c:pt idx="391">
                  <c:v>1464.4922342951072</c:v>
                </c:pt>
                <c:pt idx="392">
                  <c:v>1435.5907649847143</c:v>
                </c:pt>
                <c:pt idx="393">
                  <c:v>1379.1933450066085</c:v>
                </c:pt>
                <c:pt idx="394">
                  <c:v>1447.8926408471937</c:v>
                </c:pt>
                <c:pt idx="395">
                  <c:v>1416.2812472380945</c:v>
                </c:pt>
                <c:pt idx="396">
                  <c:v>1422.5268008481039</c:v>
                </c:pt>
                <c:pt idx="397">
                  <c:v>1447.4543678972584</c:v>
                </c:pt>
                <c:pt idx="398">
                  <c:v>1460.9229589921401</c:v>
                </c:pt>
                <c:pt idx="399">
                  <c:v>1427.6696497404114</c:v>
                </c:pt>
                <c:pt idx="400">
                  <c:v>1437.2828652208925</c:v>
                </c:pt>
                <c:pt idx="401">
                  <c:v>1414.0729501102985</c:v>
                </c:pt>
                <c:pt idx="402">
                  <c:v>1418.798702463549</c:v>
                </c:pt>
                <c:pt idx="403">
                  <c:v>1390.8414648125906</c:v>
                </c:pt>
                <c:pt idx="404">
                  <c:v>1401.3828983856024</c:v>
                </c:pt>
                <c:pt idx="405">
                  <c:v>1442.3069687017871</c:v>
                </c:pt>
                <c:pt idx="406">
                  <c:v>1461.3980718965372</c:v>
                </c:pt>
                <c:pt idx="407">
                  <c:v>1508.4663640715032</c:v>
                </c:pt>
                <c:pt idx="408">
                  <c:v>1507.306780564252</c:v>
                </c:pt>
                <c:pt idx="409">
                  <c:v>1490.2731144462471</c:v>
                </c:pt>
                <c:pt idx="410">
                  <c:v>1525.5832044809954</c:v>
                </c:pt>
                <c:pt idx="411">
                  <c:v>1546.2565880951788</c:v>
                </c:pt>
                <c:pt idx="412">
                  <c:v>1546.3076914999431</c:v>
                </c:pt>
                <c:pt idx="413">
                  <c:v>1565.3492226419553</c:v>
                </c:pt>
                <c:pt idx="414">
                  <c:v>1519.6500466843572</c:v>
                </c:pt>
                <c:pt idx="415">
                  <c:v>1542.0863227512502</c:v>
                </c:pt>
                <c:pt idx="416">
                  <c:v>1562.5220842838623</c:v>
                </c:pt>
                <c:pt idx="417">
                  <c:v>1570.4063595737036</c:v>
                </c:pt>
                <c:pt idx="418">
                  <c:v>1571.9894712985222</c:v>
                </c:pt>
                <c:pt idx="419">
                  <c:v>1542.2552090032968</c:v>
                </c:pt>
                <c:pt idx="420">
                  <c:v>1545.9245909758708</c:v>
                </c:pt>
                <c:pt idx="421">
                  <c:v>1546.2624947387087</c:v>
                </c:pt>
                <c:pt idx="422">
                  <c:v>1520.8348318706703</c:v>
                </c:pt>
                <c:pt idx="423">
                  <c:v>1516.2540766778554</c:v>
                </c:pt>
                <c:pt idx="424">
                  <c:v>1587.5910170015043</c:v>
                </c:pt>
                <c:pt idx="425">
                  <c:v>1621.4697741737009</c:v>
                </c:pt>
                <c:pt idx="426">
                  <c:v>1659.7116595393134</c:v>
                </c:pt>
                <c:pt idx="427">
                  <c:v>1680.2671290474691</c:v>
                </c:pt>
                <c:pt idx="428">
                  <c:v>1677.1533215900472</c:v>
                </c:pt>
                <c:pt idx="429">
                  <c:v>1677.3317459775719</c:v>
                </c:pt>
                <c:pt idx="430">
                  <c:v>1660.5649288883833</c:v>
                </c:pt>
                <c:pt idx="431">
                  <c:v>1639.0901668823649</c:v>
                </c:pt>
                <c:pt idx="432">
                  <c:v>1646.9149382077544</c:v>
                </c:pt>
                <c:pt idx="433">
                  <c:v>1644.4038271549805</c:v>
                </c:pt>
                <c:pt idx="434">
                  <c:v>1625.6743855559341</c:v>
                </c:pt>
                <c:pt idx="435">
                  <c:v>1651.6589792794907</c:v>
                </c:pt>
                <c:pt idx="436">
                  <c:v>1651.4027184561132</c:v>
                </c:pt>
                <c:pt idx="437">
                  <c:v>1642.1935173930922</c:v>
                </c:pt>
                <c:pt idx="438">
                  <c:v>1642.4357335307423</c:v>
                </c:pt>
                <c:pt idx="439">
                  <c:v>1654.5632540267954</c:v>
                </c:pt>
                <c:pt idx="440">
                  <c:v>1644.8596012709304</c:v>
                </c:pt>
                <c:pt idx="441">
                  <c:v>1556.287862678847</c:v>
                </c:pt>
                <c:pt idx="442">
                  <c:v>1560.4092997695932</c:v>
                </c:pt>
                <c:pt idx="443">
                  <c:v>1571.471699301962</c:v>
                </c:pt>
                <c:pt idx="444">
                  <c:v>1628.4635901366887</c:v>
                </c:pt>
                <c:pt idx="445">
                  <c:v>1640.4273872246697</c:v>
                </c:pt>
                <c:pt idx="446">
                  <c:v>1609.0537907088019</c:v>
                </c:pt>
                <c:pt idx="447">
                  <c:v>1613.435688902769</c:v>
                </c:pt>
                <c:pt idx="448">
                  <c:v>1585.1769499142838</c:v>
                </c:pt>
                <c:pt idx="449">
                  <c:v>1590.828951478888</c:v>
                </c:pt>
                <c:pt idx="450">
                  <c:v>1585.204951779908</c:v>
                </c:pt>
                <c:pt idx="451">
                  <c:v>1578.6308575308788</c:v>
                </c:pt>
                <c:pt idx="452">
                  <c:v>1623.8115614452768</c:v>
                </c:pt>
                <c:pt idx="453">
                  <c:v>1616.4026615773232</c:v>
                </c:pt>
                <c:pt idx="454">
                  <c:v>1612.487344469321</c:v>
                </c:pt>
                <c:pt idx="455">
                  <c:v>1643.3105293140113</c:v>
                </c:pt>
                <c:pt idx="456">
                  <c:v>1648.5716860885814</c:v>
                </c:pt>
                <c:pt idx="457">
                  <c:v>1691.4723818474363</c:v>
                </c:pt>
                <c:pt idx="458">
                  <c:v>1696.183476974149</c:v>
                </c:pt>
                <c:pt idx="459">
                  <c:v>1691.6545689856544</c:v>
                </c:pt>
                <c:pt idx="460">
                  <c:v>1675.4750910279354</c:v>
                </c:pt>
                <c:pt idx="461">
                  <c:v>1679.3248225162959</c:v>
                </c:pt>
                <c:pt idx="462">
                  <c:v>1630.9474868763089</c:v>
                </c:pt>
                <c:pt idx="463">
                  <c:v>1645.9297538198437</c:v>
                </c:pt>
                <c:pt idx="464">
                  <c:v>1647.3739062865018</c:v>
                </c:pt>
                <c:pt idx="465">
                  <c:v>1632.4233164534542</c:v>
                </c:pt>
                <c:pt idx="466">
                  <c:v>1517.8175870967361</c:v>
                </c:pt>
                <c:pt idx="467">
                  <c:v>1522.0675264989488</c:v>
                </c:pt>
                <c:pt idx="468">
                  <c:v>1548.769274252893</c:v>
                </c:pt>
                <c:pt idx="469">
                  <c:v>1441.3889887913742</c:v>
                </c:pt>
                <c:pt idx="470">
                  <c:v>1470.7818908434735</c:v>
                </c:pt>
                <c:pt idx="471">
                  <c:v>1396.7898923765758</c:v>
                </c:pt>
                <c:pt idx="472">
                  <c:v>1406.9668204144064</c:v>
                </c:pt>
                <c:pt idx="473">
                  <c:v>1380.7889263122122</c:v>
                </c:pt>
                <c:pt idx="474">
                  <c:v>1409.5313975293568</c:v>
                </c:pt>
                <c:pt idx="475">
                  <c:v>1364.5353309164191</c:v>
                </c:pt>
                <c:pt idx="476">
                  <c:v>1369.7851556859941</c:v>
                </c:pt>
                <c:pt idx="477">
                  <c:v>1410.2111865703018</c:v>
                </c:pt>
                <c:pt idx="478">
                  <c:v>1388.882953076745</c:v>
                </c:pt>
                <c:pt idx="479">
                  <c:v>1348.1784348882211</c:v>
                </c:pt>
                <c:pt idx="480">
                  <c:v>1362.2306461167939</c:v>
                </c:pt>
                <c:pt idx="481">
                  <c:v>1368.9788332147596</c:v>
                </c:pt>
                <c:pt idx="482">
                  <c:v>1286.5581856891183</c:v>
                </c:pt>
                <c:pt idx="483">
                  <c:v>1282.1143771203726</c:v>
                </c:pt>
                <c:pt idx="484">
                  <c:v>1248.6015255766386</c:v>
                </c:pt>
                <c:pt idx="485">
                  <c:v>1289.0003421477927</c:v>
                </c:pt>
                <c:pt idx="486">
                  <c:v>1269.2929353918175</c:v>
                </c:pt>
                <c:pt idx="487">
                  <c:v>1295.6698177516046</c:v>
                </c:pt>
                <c:pt idx="488">
                  <c:v>1290.1153414346199</c:v>
                </c:pt>
                <c:pt idx="489">
                  <c:v>1305.919419381313</c:v>
                </c:pt>
                <c:pt idx="490">
                  <c:v>1296.7442580861918</c:v>
                </c:pt>
                <c:pt idx="491">
                  <c:v>1289.2700351160865</c:v>
                </c:pt>
                <c:pt idx="492">
                  <c:v>1328.7914744819843</c:v>
                </c:pt>
                <c:pt idx="493">
                  <c:v>1340.291753188053</c:v>
                </c:pt>
                <c:pt idx="494">
                  <c:v>1336.0821102205903</c:v>
                </c:pt>
                <c:pt idx="495">
                  <c:v>1335.157392361263</c:v>
                </c:pt>
                <c:pt idx="496">
                  <c:v>1364.5954474216812</c:v>
                </c:pt>
                <c:pt idx="497">
                  <c:v>1351.6864561101349</c:v>
                </c:pt>
                <c:pt idx="498">
                  <c:v>1360.5167569289272</c:v>
                </c:pt>
                <c:pt idx="499">
                  <c:v>1277.0382514234982</c:v>
                </c:pt>
                <c:pt idx="500">
                  <c:v>1289.8493237111893</c:v>
                </c:pt>
                <c:pt idx="501">
                  <c:v>1258.9755167438002</c:v>
                </c:pt>
                <c:pt idx="502">
                  <c:v>1282.2639245839723</c:v>
                </c:pt>
                <c:pt idx="503">
                  <c:v>1335.0470037566222</c:v>
                </c:pt>
                <c:pt idx="504">
                  <c:v>1338.1487354094934</c:v>
                </c:pt>
                <c:pt idx="505">
                  <c:v>1353.6668443034985</c:v>
                </c:pt>
                <c:pt idx="506">
                  <c:v>1358.4578760059856</c:v>
                </c:pt>
                <c:pt idx="507">
                  <c:v>1359.6973960890111</c:v>
                </c:pt>
                <c:pt idx="508">
                  <c:v>1344.0488597552778</c:v>
                </c:pt>
                <c:pt idx="509">
                  <c:v>1318.3390780910745</c:v>
                </c:pt>
                <c:pt idx="510">
                  <c:v>1320.5874091361304</c:v>
                </c:pt>
                <c:pt idx="511">
                  <c:v>1341.3289160390277</c:v>
                </c:pt>
                <c:pt idx="512">
                  <c:v>1345.3057059926584</c:v>
                </c:pt>
                <c:pt idx="513">
                  <c:v>1351.9794256292291</c:v>
                </c:pt>
                <c:pt idx="514">
                  <c:v>1366.930277979767</c:v>
                </c:pt>
                <c:pt idx="515">
                  <c:v>1387.8262764256633</c:v>
                </c:pt>
                <c:pt idx="516">
                  <c:v>1421.7234973280058</c:v>
                </c:pt>
                <c:pt idx="517">
                  <c:v>1411.3772892618936</c:v>
                </c:pt>
                <c:pt idx="518">
                  <c:v>1415.8847583220197</c:v>
                </c:pt>
                <c:pt idx="519">
                  <c:v>1392.1524334058722</c:v>
                </c:pt>
                <c:pt idx="520">
                  <c:v>1399.1381113266636</c:v>
                </c:pt>
                <c:pt idx="521">
                  <c:v>1386.84853003331</c:v>
                </c:pt>
                <c:pt idx="522">
                  <c:v>1371.833185886006</c:v>
                </c:pt>
                <c:pt idx="523">
                  <c:v>1407.2141993960308</c:v>
                </c:pt>
                <c:pt idx="524">
                  <c:v>1408.0072647340091</c:v>
                </c:pt>
                <c:pt idx="525">
                  <c:v>1409.6728944565893</c:v>
                </c:pt>
                <c:pt idx="526">
                  <c:v>1428.3076985004086</c:v>
                </c:pt>
                <c:pt idx="527">
                  <c:v>1425.2632831662368</c:v>
                </c:pt>
                <c:pt idx="528">
                  <c:v>1404.1580145277139</c:v>
                </c:pt>
                <c:pt idx="529">
                  <c:v>1393.8479026165082</c:v>
                </c:pt>
                <c:pt idx="530">
                  <c:v>1413.2610272659376</c:v>
                </c:pt>
                <c:pt idx="531">
                  <c:v>1408.1655627806165</c:v>
                </c:pt>
                <c:pt idx="532">
                  <c:v>1426.9501768055259</c:v>
                </c:pt>
                <c:pt idx="533">
                  <c:v>1433.2720354993614</c:v>
                </c:pt>
                <c:pt idx="534">
                  <c:v>1431.6852047767645</c:v>
                </c:pt>
                <c:pt idx="535">
                  <c:v>1412.5423418835244</c:v>
                </c:pt>
                <c:pt idx="536">
                  <c:v>1416.8519165089335</c:v>
                </c:pt>
                <c:pt idx="537">
                  <c:v>1391.791778127214</c:v>
                </c:pt>
                <c:pt idx="538">
                  <c:v>1382.8560765360955</c:v>
                </c:pt>
                <c:pt idx="539">
                  <c:v>1389.1118245753084</c:v>
                </c:pt>
                <c:pt idx="540">
                  <c:v>1383.4816557153083</c:v>
                </c:pt>
                <c:pt idx="541">
                  <c:v>1390.9753924855206</c:v>
                </c:pt>
                <c:pt idx="542">
                  <c:v>1385.1803626416574</c:v>
                </c:pt>
                <c:pt idx="543">
                  <c:v>1382.8462758831272</c:v>
                </c:pt>
                <c:pt idx="544">
                  <c:v>1381.1680015681009</c:v>
                </c:pt>
                <c:pt idx="545">
                  <c:v>1406.0172946522523</c:v>
                </c:pt>
                <c:pt idx="546">
                  <c:v>1404.232919518259</c:v>
                </c:pt>
                <c:pt idx="547">
                  <c:v>1406.1836432352266</c:v>
                </c:pt>
                <c:pt idx="548">
                  <c:v>1369.6213010191766</c:v>
                </c:pt>
                <c:pt idx="549">
                  <c:v>1341.2961013527488</c:v>
                </c:pt>
                <c:pt idx="550">
                  <c:v>1342.8261407916264</c:v>
                </c:pt>
                <c:pt idx="551">
                  <c:v>1348.818627541056</c:v>
                </c:pt>
                <c:pt idx="552">
                  <c:v>1352.0251036725285</c:v>
                </c:pt>
                <c:pt idx="553">
                  <c:v>1345.3737417755422</c:v>
                </c:pt>
                <c:pt idx="554">
                  <c:v>1354.2876981678869</c:v>
                </c:pt>
                <c:pt idx="555">
                  <c:v>1350.2258525474224</c:v>
                </c:pt>
                <c:pt idx="556">
                  <c:v>1342.3550969083281</c:v>
                </c:pt>
                <c:pt idx="557">
                  <c:v>1339.9331105434865</c:v>
                </c:pt>
                <c:pt idx="558">
                  <c:v>1346.8102374820687</c:v>
                </c:pt>
                <c:pt idx="559">
                  <c:v>1350.749837457917</c:v>
                </c:pt>
                <c:pt idx="560">
                  <c:v>1340.3948788087971</c:v>
                </c:pt>
                <c:pt idx="561">
                  <c:v>1338.5005088463984</c:v>
                </c:pt>
                <c:pt idx="562">
                  <c:v>1340.6816791668709</c:v>
                </c:pt>
                <c:pt idx="563">
                  <c:v>1339.9327167672511</c:v>
                </c:pt>
                <c:pt idx="564">
                  <c:v>1341.7748019961796</c:v>
                </c:pt>
                <c:pt idx="565">
                  <c:v>1386.7748063714712</c:v>
                </c:pt>
                <c:pt idx="566">
                  <c:v>1382.8314436449298</c:v>
                </c:pt>
                <c:pt idx="567">
                  <c:v>1385.6984409086226</c:v>
                </c:pt>
                <c:pt idx="568">
                  <c:v>1395.4228762991304</c:v>
                </c:pt>
                <c:pt idx="569">
                  <c:v>1390.8125441357499</c:v>
                </c:pt>
                <c:pt idx="570">
                  <c:v>1390.0535623185865</c:v>
                </c:pt>
                <c:pt idx="571">
                  <c:v>1384.3362814047455</c:v>
                </c:pt>
                <c:pt idx="572">
                  <c:v>1341.6137037630103</c:v>
                </c:pt>
                <c:pt idx="573">
                  <c:v>1345.8324035838859</c:v>
                </c:pt>
                <c:pt idx="574">
                  <c:v>1363.5019308161377</c:v>
                </c:pt>
                <c:pt idx="575">
                  <c:v>1354.0104359452919</c:v>
                </c:pt>
                <c:pt idx="576">
                  <c:v>1360.8719430932056</c:v>
                </c:pt>
                <c:pt idx="577">
                  <c:v>1361.8857856404654</c:v>
                </c:pt>
                <c:pt idx="578">
                  <c:v>1359.1044565844172</c:v>
                </c:pt>
                <c:pt idx="579">
                  <c:v>1371.199337405852</c:v>
                </c:pt>
                <c:pt idx="580">
                  <c:v>1363.9169709681883</c:v>
                </c:pt>
                <c:pt idx="581">
                  <c:v>1346.3451877481311</c:v>
                </c:pt>
                <c:pt idx="582">
                  <c:v>1365.3290963010384</c:v>
                </c:pt>
                <c:pt idx="583">
                  <c:v>1372.2669960386083</c:v>
                </c:pt>
                <c:pt idx="584">
                  <c:v>1378.8249017090736</c:v>
                </c:pt>
                <c:pt idx="585">
                  <c:v>1379.9323754945144</c:v>
                </c:pt>
                <c:pt idx="586">
                  <c:v>1380.0545773862157</c:v>
                </c:pt>
                <c:pt idx="587">
                  <c:v>1402.148005610871</c:v>
                </c:pt>
                <c:pt idx="588">
                  <c:v>1403.3234276733658</c:v>
                </c:pt>
                <c:pt idx="589">
                  <c:v>1407.4453022932623</c:v>
                </c:pt>
                <c:pt idx="590">
                  <c:v>1404.4485338835671</c:v>
                </c:pt>
                <c:pt idx="591">
                  <c:v>1396.7157311855874</c:v>
                </c:pt>
                <c:pt idx="592">
                  <c:v>1401.5501657797922</c:v>
                </c:pt>
                <c:pt idx="593">
                  <c:v>1432.1126707566862</c:v>
                </c:pt>
                <c:pt idx="594">
                  <c:v>1436.3504906014334</c:v>
                </c:pt>
                <c:pt idx="595">
                  <c:v>1433.6796376558559</c:v>
                </c:pt>
                <c:pt idx="596">
                  <c:v>1433.4669109829415</c:v>
                </c:pt>
                <c:pt idx="597">
                  <c:v>1427.2298016855345</c:v>
                </c:pt>
                <c:pt idx="598">
                  <c:v>1421.1971060071849</c:v>
                </c:pt>
                <c:pt idx="599">
                  <c:v>1416.5466086677998</c:v>
                </c:pt>
                <c:pt idx="600">
                  <c:v>1423.0734935215032</c:v>
                </c:pt>
                <c:pt idx="601">
                  <c:v>1411.1024334496258</c:v>
                </c:pt>
                <c:pt idx="602">
                  <c:v>1413.6063690243334</c:v>
                </c:pt>
                <c:pt idx="603">
                  <c:v>1430.5401472373067</c:v>
                </c:pt>
                <c:pt idx="604">
                  <c:v>1408.0751255052337</c:v>
                </c:pt>
                <c:pt idx="605">
                  <c:v>1409.3411161018573</c:v>
                </c:pt>
                <c:pt idx="606">
                  <c:v>1401.8129457875102</c:v>
                </c:pt>
                <c:pt idx="607">
                  <c:v>1389.9465864413187</c:v>
                </c:pt>
                <c:pt idx="608">
                  <c:v>1395.3036058527371</c:v>
                </c:pt>
                <c:pt idx="609">
                  <c:v>1397.2525357001882</c:v>
                </c:pt>
                <c:pt idx="610">
                  <c:v>1400.6571687838673</c:v>
                </c:pt>
                <c:pt idx="611">
                  <c:v>1402.329098926213</c:v>
                </c:pt>
                <c:pt idx="612">
                  <c:v>1415.0494714210306</c:v>
                </c:pt>
                <c:pt idx="613">
                  <c:v>1425.0242609913857</c:v>
                </c:pt>
                <c:pt idx="614">
                  <c:v>1419.0561883685473</c:v>
                </c:pt>
                <c:pt idx="615">
                  <c:v>1414.6894286831832</c:v>
                </c:pt>
                <c:pt idx="616">
                  <c:v>1441.3232719129883</c:v>
                </c:pt>
                <c:pt idx="617">
                  <c:v>1484.7218758449749</c:v>
                </c:pt>
                <c:pt idx="618">
                  <c:v>1478.0807083771927</c:v>
                </c:pt>
                <c:pt idx="619">
                  <c:v>1475.8066506180944</c:v>
                </c:pt>
                <c:pt idx="620">
                  <c:v>1472.0603072679687</c:v>
                </c:pt>
                <c:pt idx="621">
                  <c:v>1472.2942103517616</c:v>
                </c:pt>
                <c:pt idx="622">
                  <c:v>1459.9450375881263</c:v>
                </c:pt>
                <c:pt idx="623">
                  <c:v>1462.147953107373</c:v>
                </c:pt>
                <c:pt idx="624">
                  <c:v>1456.9121730235252</c:v>
                </c:pt>
                <c:pt idx="625">
                  <c:v>1447.771751542944</c:v>
                </c:pt>
                <c:pt idx="626">
                  <c:v>1446.9483654348446</c:v>
                </c:pt>
                <c:pt idx="627">
                  <c:v>1447.2506980777571</c:v>
                </c:pt>
                <c:pt idx="628">
                  <c:v>1449.0909456842539</c:v>
                </c:pt>
                <c:pt idx="629">
                  <c:v>1456.0067939526448</c:v>
                </c:pt>
                <c:pt idx="630">
                  <c:v>1444.536048464227</c:v>
                </c:pt>
                <c:pt idx="631">
                  <c:v>1450.0215701871118</c:v>
                </c:pt>
                <c:pt idx="632">
                  <c:v>1452.4569011910398</c:v>
                </c:pt>
                <c:pt idx="633">
                  <c:v>1462.496270063991</c:v>
                </c:pt>
                <c:pt idx="634">
                  <c:v>1461.7049110896992</c:v>
                </c:pt>
                <c:pt idx="635">
                  <c:v>1461.1565995584433</c:v>
                </c:pt>
                <c:pt idx="636">
                  <c:v>1451.7409722422735</c:v>
                </c:pt>
                <c:pt idx="637">
                  <c:v>1427.4844874039711</c:v>
                </c:pt>
                <c:pt idx="638">
                  <c:v>1426.4907274447139</c:v>
                </c:pt>
                <c:pt idx="639">
                  <c:v>1417.0387414561474</c:v>
                </c:pt>
                <c:pt idx="640">
                  <c:v>1427.7119588092537</c:v>
                </c:pt>
                <c:pt idx="641">
                  <c:v>1425.2089420457617</c:v>
                </c:pt>
                <c:pt idx="642">
                  <c:v>1429.2486049383017</c:v>
                </c:pt>
                <c:pt idx="643">
                  <c:v>1439.9614186795172</c:v>
                </c:pt>
                <c:pt idx="644">
                  <c:v>1433.1995806720599</c:v>
                </c:pt>
                <c:pt idx="645">
                  <c:v>1408.9680349953294</c:v>
                </c:pt>
                <c:pt idx="646">
                  <c:v>1417.924606726921</c:v>
                </c:pt>
                <c:pt idx="647">
                  <c:v>1413.6087316817461</c:v>
                </c:pt>
                <c:pt idx="648">
                  <c:v>1419.5140626244199</c:v>
                </c:pt>
                <c:pt idx="649">
                  <c:v>1423.4069344870077</c:v>
                </c:pt>
                <c:pt idx="650">
                  <c:v>1441.1636612789302</c:v>
                </c:pt>
                <c:pt idx="651">
                  <c:v>1446.7152061506072</c:v>
                </c:pt>
                <c:pt idx="652">
                  <c:v>1443.8505277914117</c:v>
                </c:pt>
                <c:pt idx="653">
                  <c:v>1445.0036796201523</c:v>
                </c:pt>
                <c:pt idx="654">
                  <c:v>1446.4049104771582</c:v>
                </c:pt>
                <c:pt idx="655">
                  <c:v>1434.1674826585297</c:v>
                </c:pt>
                <c:pt idx="656">
                  <c:v>1453.1797431003815</c:v>
                </c:pt>
                <c:pt idx="657">
                  <c:v>1450.9519759253935</c:v>
                </c:pt>
                <c:pt idx="658">
                  <c:v>1451.986163578146</c:v>
                </c:pt>
                <c:pt idx="659">
                  <c:v>1455.983254884354</c:v>
                </c:pt>
                <c:pt idx="660">
                  <c:v>1473.4134536713482</c:v>
                </c:pt>
                <c:pt idx="661">
                  <c:v>1473.3595938329363</c:v>
                </c:pt>
                <c:pt idx="662">
                  <c:v>1467.8229249523722</c:v>
                </c:pt>
                <c:pt idx="663">
                  <c:v>1463.8390907794205</c:v>
                </c:pt>
                <c:pt idx="664">
                  <c:v>1461.4025784467863</c:v>
                </c:pt>
                <c:pt idx="665">
                  <c:v>1459.7187912644652</c:v>
                </c:pt>
                <c:pt idx="666">
                  <c:v>1469.6829488764663</c:v>
                </c:pt>
                <c:pt idx="667">
                  <c:v>1458.438843487945</c:v>
                </c:pt>
                <c:pt idx="668">
                  <c:v>1472.3227810052817</c:v>
                </c:pt>
                <c:pt idx="669">
                  <c:v>1467.5492942217247</c:v>
                </c:pt>
                <c:pt idx="670">
                  <c:v>1468.6066709194472</c:v>
                </c:pt>
                <c:pt idx="671">
                  <c:v>1474.9622631107768</c:v>
                </c:pt>
                <c:pt idx="672">
                  <c:v>1467.0591740674695</c:v>
                </c:pt>
                <c:pt idx="673">
                  <c:v>1483.4915438741077</c:v>
                </c:pt>
                <c:pt idx="674">
                  <c:v>1495.1338445423899</c:v>
                </c:pt>
                <c:pt idx="675">
                  <c:v>1500.8335805373003</c:v>
                </c:pt>
                <c:pt idx="676">
                  <c:v>1500.6679757538816</c:v>
                </c:pt>
                <c:pt idx="677">
                  <c:v>1500.5465176617361</c:v>
                </c:pt>
                <c:pt idx="678">
                  <c:v>1503.5842387999069</c:v>
                </c:pt>
                <c:pt idx="679">
                  <c:v>1495.2363576223233</c:v>
                </c:pt>
                <c:pt idx="680">
                  <c:v>1505.5861971803838</c:v>
                </c:pt>
                <c:pt idx="681">
                  <c:v>1517.5102228685951</c:v>
                </c:pt>
                <c:pt idx="682">
                  <c:v>1520.2951834165917</c:v>
                </c:pt>
                <c:pt idx="683">
                  <c:v>1526.4255356013061</c:v>
                </c:pt>
                <c:pt idx="684">
                  <c:v>1540.6706971851966</c:v>
                </c:pt>
                <c:pt idx="685">
                  <c:v>1546.7008551944739</c:v>
                </c:pt>
                <c:pt idx="686">
                  <c:v>1559.3715681307231</c:v>
                </c:pt>
                <c:pt idx="687">
                  <c:v>1547.9785715723274</c:v>
                </c:pt>
                <c:pt idx="688">
                  <c:v>1559.8071721528408</c:v>
                </c:pt>
                <c:pt idx="689">
                  <c:v>1544.0205516192477</c:v>
                </c:pt>
                <c:pt idx="690">
                  <c:v>1517.9668282899311</c:v>
                </c:pt>
                <c:pt idx="691">
                  <c:v>1513.4804043819381</c:v>
                </c:pt>
                <c:pt idx="692">
                  <c:v>1520.7407631033377</c:v>
                </c:pt>
                <c:pt idx="693">
                  <c:v>1518.288543474205</c:v>
                </c:pt>
                <c:pt idx="694">
                  <c:v>1528.5957676930186</c:v>
                </c:pt>
                <c:pt idx="695">
                  <c:v>1491.6153663737807</c:v>
                </c:pt>
                <c:pt idx="696">
                  <c:v>1489.8022893275224</c:v>
                </c:pt>
                <c:pt idx="697">
                  <c:v>1478.3870662882875</c:v>
                </c:pt>
                <c:pt idx="698">
                  <c:v>1461.537162413442</c:v>
                </c:pt>
                <c:pt idx="699">
                  <c:v>1463.9858818093717</c:v>
                </c:pt>
                <c:pt idx="700">
                  <c:v>1456.5269723595295</c:v>
                </c:pt>
                <c:pt idx="701">
                  <c:v>1447.8120042247776</c:v>
                </c:pt>
                <c:pt idx="702">
                  <c:v>1460.7068195918514</c:v>
                </c:pt>
                <c:pt idx="703">
                  <c:v>1459.4537361051639</c:v>
                </c:pt>
                <c:pt idx="704">
                  <c:v>1447.1710240194714</c:v>
                </c:pt>
                <c:pt idx="705">
                  <c:v>1453.6471117388155</c:v>
                </c:pt>
                <c:pt idx="706">
                  <c:v>1451.0151988876219</c:v>
                </c:pt>
                <c:pt idx="707">
                  <c:v>1444.6725575591433</c:v>
                </c:pt>
                <c:pt idx="708">
                  <c:v>1442.8682310958927</c:v>
                </c:pt>
                <c:pt idx="709">
                  <c:v>1448.2568401119686</c:v>
                </c:pt>
                <c:pt idx="710">
                  <c:v>1462.3218271917324</c:v>
                </c:pt>
                <c:pt idx="711">
                  <c:v>1473.7345563148103</c:v>
                </c:pt>
                <c:pt idx="712">
                  <c:v>1473.5059473337369</c:v>
                </c:pt>
                <c:pt idx="713">
                  <c:v>1464.7016794993924</c:v>
                </c:pt>
                <c:pt idx="714">
                  <c:v>1471.8049215028909</c:v>
                </c:pt>
                <c:pt idx="715">
                  <c:v>1469.3417198920836</c:v>
                </c:pt>
                <c:pt idx="716">
                  <c:v>1458.938939306827</c:v>
                </c:pt>
                <c:pt idx="717">
                  <c:v>1451.557253752027</c:v>
                </c:pt>
                <c:pt idx="718">
                  <c:v>1452.5583642010106</c:v>
                </c:pt>
                <c:pt idx="719">
                  <c:v>1452.3541693465281</c:v>
                </c:pt>
                <c:pt idx="720">
                  <c:v>1455.3778457989717</c:v>
                </c:pt>
                <c:pt idx="721">
                  <c:v>1461.0696625162607</c:v>
                </c:pt>
                <c:pt idx="722">
                  <c:v>1456.6610312912053</c:v>
                </c:pt>
                <c:pt idx="723">
                  <c:v>1467.8617775409241</c:v>
                </c:pt>
                <c:pt idx="724">
                  <c:v>1471.883414232469</c:v>
                </c:pt>
                <c:pt idx="725">
                  <c:v>1472.0453437710244</c:v>
                </c:pt>
                <c:pt idx="726">
                  <c:v>1477.0564963890674</c:v>
                </c:pt>
                <c:pt idx="727">
                  <c:v>1482.3315228377046</c:v>
                </c:pt>
                <c:pt idx="728">
                  <c:v>1472.0634574778499</c:v>
                </c:pt>
                <c:pt idx="729">
                  <c:v>1475.8755614592778</c:v>
                </c:pt>
                <c:pt idx="730">
                  <c:v>1472.585254742593</c:v>
                </c:pt>
                <c:pt idx="731">
                  <c:v>1480.2870366238105</c:v>
                </c:pt>
                <c:pt idx="732">
                  <c:v>1485.9769282128377</c:v>
                </c:pt>
                <c:pt idx="733">
                  <c:v>1493.4999794361254</c:v>
                </c:pt>
                <c:pt idx="734">
                  <c:v>1503.470481220807</c:v>
                </c:pt>
                <c:pt idx="735">
                  <c:v>1503.2644924968081</c:v>
                </c:pt>
                <c:pt idx="736">
                  <c:v>1497.0992254858934</c:v>
                </c:pt>
                <c:pt idx="737">
                  <c:v>1505.5085357561902</c:v>
                </c:pt>
                <c:pt idx="738">
                  <c:v>1496.9805675803102</c:v>
                </c:pt>
                <c:pt idx="739">
                  <c:v>1518.8354549121786</c:v>
                </c:pt>
                <c:pt idx="740">
                  <c:v>1523.8365881126781</c:v>
                </c:pt>
                <c:pt idx="741">
                  <c:v>1526.8702839826656</c:v>
                </c:pt>
                <c:pt idx="742">
                  <c:v>1519.680323701562</c:v>
                </c:pt>
                <c:pt idx="743">
                  <c:v>1519.9113828458774</c:v>
                </c:pt>
                <c:pt idx="744">
                  <c:v>1507.8229337029532</c:v>
                </c:pt>
                <c:pt idx="745">
                  <c:v>1510.705156981079</c:v>
                </c:pt>
                <c:pt idx="746">
                  <c:v>1513.1672647690102</c:v>
                </c:pt>
                <c:pt idx="747">
                  <c:v>1502.9547656112538</c:v>
                </c:pt>
                <c:pt idx="748">
                  <c:v>1499.7898985019826</c:v>
                </c:pt>
                <c:pt idx="749">
                  <c:v>1507.9372163170319</c:v>
                </c:pt>
                <c:pt idx="750">
                  <c:v>1511.2066528932437</c:v>
                </c:pt>
                <c:pt idx="751">
                  <c:v>1508.9204755766802</c:v>
                </c:pt>
                <c:pt idx="752">
                  <c:v>1499.3878092127838</c:v>
                </c:pt>
                <c:pt idx="753">
                  <c:v>1499.8024993415136</c:v>
                </c:pt>
                <c:pt idx="754">
                  <c:v>1513.0186798695413</c:v>
                </c:pt>
                <c:pt idx="755">
                  <c:v>1512.4041264249181</c:v>
                </c:pt>
                <c:pt idx="756">
                  <c:v>1515.4450415258866</c:v>
                </c:pt>
                <c:pt idx="757">
                  <c:v>1523.2606247391182</c:v>
                </c:pt>
                <c:pt idx="758">
                  <c:v>1507.6401777768392</c:v>
                </c:pt>
                <c:pt idx="759">
                  <c:v>1509.3060700169096</c:v>
                </c:pt>
                <c:pt idx="760">
                  <c:v>1516.6277703251926</c:v>
                </c:pt>
                <c:pt idx="761">
                  <c:v>1509.4975327731158</c:v>
                </c:pt>
                <c:pt idx="762">
                  <c:v>1514.7163804788443</c:v>
                </c:pt>
                <c:pt idx="763">
                  <c:v>1526.8015919060556</c:v>
                </c:pt>
                <c:pt idx="764">
                  <c:v>1521.7432298926863</c:v>
                </c:pt>
                <c:pt idx="765">
                  <c:v>1518.1427150083819</c:v>
                </c:pt>
                <c:pt idx="766">
                  <c:v>1516.1230804502295</c:v>
                </c:pt>
                <c:pt idx="767">
                  <c:v>1503.6818078004392</c:v>
                </c:pt>
                <c:pt idx="768">
                  <c:v>1512.1206512883866</c:v>
                </c:pt>
                <c:pt idx="769">
                  <c:v>1533.0554148170065</c:v>
                </c:pt>
                <c:pt idx="770">
                  <c:v>1537.4979545512163</c:v>
                </c:pt>
                <c:pt idx="771">
                  <c:v>1538.9927728934886</c:v>
                </c:pt>
                <c:pt idx="772">
                  <c:v>1533.6005761383799</c:v>
                </c:pt>
                <c:pt idx="773">
                  <c:v>1538.9335314465272</c:v>
                </c:pt>
                <c:pt idx="774">
                  <c:v>1535.4817327204373</c:v>
                </c:pt>
                <c:pt idx="775">
                  <c:v>1537.7251634390091</c:v>
                </c:pt>
                <c:pt idx="776">
                  <c:v>1525.4473516798005</c:v>
                </c:pt>
                <c:pt idx="777">
                  <c:v>1522.575935371689</c:v>
                </c:pt>
                <c:pt idx="778">
                  <c:v>1515.0509590201398</c:v>
                </c:pt>
                <c:pt idx="779">
                  <c:v>1507.6712423465162</c:v>
                </c:pt>
                <c:pt idx="780">
                  <c:v>1514.5281991912661</c:v>
                </c:pt>
                <c:pt idx="781">
                  <c:v>1516.8201518926148</c:v>
                </c:pt>
                <c:pt idx="782">
                  <c:v>1501.275703743757</c:v>
                </c:pt>
                <c:pt idx="783">
                  <c:v>1505.5265619571853</c:v>
                </c:pt>
                <c:pt idx="784">
                  <c:v>1507.3680783982184</c:v>
                </c:pt>
                <c:pt idx="785">
                  <c:v>1508.0405607023517</c:v>
                </c:pt>
                <c:pt idx="786">
                  <c:v>1504.9922076058267</c:v>
                </c:pt>
                <c:pt idx="787">
                  <c:v>1499.2271485087645</c:v>
                </c:pt>
                <c:pt idx="788">
                  <c:v>1493.3430814827991</c:v>
                </c:pt>
                <c:pt idx="789">
                  <c:v>1489.5182891560103</c:v>
                </c:pt>
                <c:pt idx="790">
                  <c:v>1479.9643151224905</c:v>
                </c:pt>
                <c:pt idx="791">
                  <c:v>1469.5783794095234</c:v>
                </c:pt>
                <c:pt idx="792">
                  <c:v>1466.8306525922242</c:v>
                </c:pt>
                <c:pt idx="793">
                  <c:v>1460.3413514925383</c:v>
                </c:pt>
                <c:pt idx="794">
                  <c:v>1468.6304287523108</c:v>
                </c:pt>
                <c:pt idx="795">
                  <c:v>1481.2018663243389</c:v>
                </c:pt>
                <c:pt idx="796">
                  <c:v>1487.2463315368336</c:v>
                </c:pt>
                <c:pt idx="797">
                  <c:v>1500.1339276729263</c:v>
                </c:pt>
                <c:pt idx="798">
                  <c:v>1491.9593517918083</c:v>
                </c:pt>
                <c:pt idx="799">
                  <c:v>1486.7733625252733</c:v>
                </c:pt>
                <c:pt idx="800">
                  <c:v>1489.283248496426</c:v>
                </c:pt>
                <c:pt idx="801">
                  <c:v>1492.5163701531565</c:v>
                </c:pt>
                <c:pt idx="802">
                  <c:v>1498.1846915550698</c:v>
                </c:pt>
                <c:pt idx="803">
                  <c:v>1498.1728345150946</c:v>
                </c:pt>
                <c:pt idx="804">
                  <c:v>1525.0770270069193</c:v>
                </c:pt>
                <c:pt idx="805">
                  <c:v>1522.7915497369961</c:v>
                </c:pt>
                <c:pt idx="806">
                  <c:v>1528.2387876592227</c:v>
                </c:pt>
                <c:pt idx="807">
                  <c:v>1530.3624228964202</c:v>
                </c:pt>
                <c:pt idx="808">
                  <c:v>1525.4486205143364</c:v>
                </c:pt>
                <c:pt idx="809">
                  <c:v>1517.6809029901565</c:v>
                </c:pt>
                <c:pt idx="810">
                  <c:v>1528.2375188246865</c:v>
                </c:pt>
                <c:pt idx="811">
                  <c:v>1546.1719262045781</c:v>
                </c:pt>
                <c:pt idx="812">
                  <c:v>1558.031941378089</c:v>
                </c:pt>
                <c:pt idx="813">
                  <c:v>1564.6787529719115</c:v>
                </c:pt>
                <c:pt idx="814">
                  <c:v>1563.8995573080003</c:v>
                </c:pt>
                <c:pt idx="815">
                  <c:v>1567.3464119546911</c:v>
                </c:pt>
                <c:pt idx="816">
                  <c:v>1546.7962365492547</c:v>
                </c:pt>
                <c:pt idx="817">
                  <c:v>1543.9496281439699</c:v>
                </c:pt>
                <c:pt idx="818">
                  <c:v>1539.5605544719365</c:v>
                </c:pt>
                <c:pt idx="819">
                  <c:v>1554.8321594426177</c:v>
                </c:pt>
                <c:pt idx="820">
                  <c:v>1551.6945066465</c:v>
                </c:pt>
                <c:pt idx="821">
                  <c:v>1569.8349027503905</c:v>
                </c:pt>
                <c:pt idx="822">
                  <c:v>1570.8795035969219</c:v>
                </c:pt>
                <c:pt idx="823">
                  <c:v>1585.1169646677656</c:v>
                </c:pt>
                <c:pt idx="824">
                  <c:v>1604.8971325214486</c:v>
                </c:pt>
                <c:pt idx="825">
                  <c:v>1607.7950193431582</c:v>
                </c:pt>
                <c:pt idx="826">
                  <c:v>1595.3041746406298</c:v>
                </c:pt>
                <c:pt idx="827">
                  <c:v>1605.2191539761279</c:v>
                </c:pt>
                <c:pt idx="828">
                  <c:v>1604.3308822950271</c:v>
                </c:pt>
                <c:pt idx="829">
                  <c:v>1597.3516798056614</c:v>
                </c:pt>
                <c:pt idx="830">
                  <c:v>1583.8485676608148</c:v>
                </c:pt>
                <c:pt idx="831">
                  <c:v>1601.2164622967948</c:v>
                </c:pt>
                <c:pt idx="832">
                  <c:v>1601.3989994583333</c:v>
                </c:pt>
                <c:pt idx="833">
                  <c:v>1599.5756404770411</c:v>
                </c:pt>
                <c:pt idx="834">
                  <c:v>1598.5944813573149</c:v>
                </c:pt>
                <c:pt idx="835">
                  <c:v>1606.085767964285</c:v>
                </c:pt>
                <c:pt idx="836">
                  <c:v>1600.8419810969849</c:v>
                </c:pt>
                <c:pt idx="837">
                  <c:v>1613.1351938822866</c:v>
                </c:pt>
                <c:pt idx="838">
                  <c:v>1620.2115715959517</c:v>
                </c:pt>
                <c:pt idx="839">
                  <c:v>1602.9132003419668</c:v>
                </c:pt>
                <c:pt idx="840">
                  <c:v>1604.4984559596223</c:v>
                </c:pt>
                <c:pt idx="841">
                  <c:v>1631.8728610293599</c:v>
                </c:pt>
                <c:pt idx="842">
                  <c:v>1639.8086335002008</c:v>
                </c:pt>
                <c:pt idx="843">
                  <c:v>1631.3701400355737</c:v>
                </c:pt>
                <c:pt idx="844">
                  <c:v>1637.8766360308693</c:v>
                </c:pt>
                <c:pt idx="845">
                  <c:v>1627.4154890569521</c:v>
                </c:pt>
                <c:pt idx="846">
                  <c:v>1621.2154384785822</c:v>
                </c:pt>
                <c:pt idx="847">
                  <c:v>1624.1933931348112</c:v>
                </c:pt>
                <c:pt idx="848">
                  <c:v>1628.4359820472976</c:v>
                </c:pt>
                <c:pt idx="849">
                  <c:v>1635.4284854228349</c:v>
                </c:pt>
                <c:pt idx="850">
                  <c:v>1649.6523830900169</c:v>
                </c:pt>
                <c:pt idx="851">
                  <c:v>1645.4825990281538</c:v>
                </c:pt>
                <c:pt idx="852">
                  <c:v>1631.0327175548007</c:v>
                </c:pt>
                <c:pt idx="853">
                  <c:v>1622.1741523528942</c:v>
                </c:pt>
                <c:pt idx="854">
                  <c:v>1630.581362483269</c:v>
                </c:pt>
                <c:pt idx="855">
                  <c:v>1632.9519391729409</c:v>
                </c:pt>
                <c:pt idx="856">
                  <c:v>1632.440511349062</c:v>
                </c:pt>
                <c:pt idx="857">
                  <c:v>1625.8236705020406</c:v>
                </c:pt>
                <c:pt idx="858">
                  <c:v>1595.8220778959335</c:v>
                </c:pt>
                <c:pt idx="859">
                  <c:v>1616.531557665023</c:v>
                </c:pt>
                <c:pt idx="860">
                  <c:v>1621.5077954568656</c:v>
                </c:pt>
                <c:pt idx="861">
                  <c:v>1619.4794540686207</c:v>
                </c:pt>
                <c:pt idx="862">
                  <c:v>1628.1671641373039</c:v>
                </c:pt>
                <c:pt idx="863">
                  <c:v>1629.6538006844637</c:v>
                </c:pt>
                <c:pt idx="864">
                  <c:v>1636.7939701482542</c:v>
                </c:pt>
                <c:pt idx="865">
                  <c:v>1641.7397559112308</c:v>
                </c:pt>
                <c:pt idx="866">
                  <c:v>1643.3981664028299</c:v>
                </c:pt>
                <c:pt idx="867">
                  <c:v>1634.0164038428993</c:v>
                </c:pt>
                <c:pt idx="868">
                  <c:v>1660.7531976817886</c:v>
                </c:pt>
                <c:pt idx="869">
                  <c:v>1681.2984727607407</c:v>
                </c:pt>
                <c:pt idx="870">
                  <c:v>1677.7219782267925</c:v>
                </c:pt>
                <c:pt idx="871">
                  <c:v>1677.6182400652374</c:v>
                </c:pt>
                <c:pt idx="872">
                  <c:v>1672.2770154561479</c:v>
                </c:pt>
                <c:pt idx="873">
                  <c:v>1675.9721678956794</c:v>
                </c:pt>
                <c:pt idx="874">
                  <c:v>1682.5692324251036</c:v>
                </c:pt>
                <c:pt idx="875">
                  <c:v>1687.5702343668579</c:v>
                </c:pt>
                <c:pt idx="876">
                  <c:v>1684.2465441759989</c:v>
                </c:pt>
                <c:pt idx="877">
                  <c:v>1675.680335952376</c:v>
                </c:pt>
                <c:pt idx="878">
                  <c:v>1673.9819352964323</c:v>
                </c:pt>
                <c:pt idx="879">
                  <c:v>1673.8313377628715</c:v>
                </c:pt>
                <c:pt idx="880">
                  <c:v>1679.2080459860567</c:v>
                </c:pt>
                <c:pt idx="881">
                  <c:v>1681.2521821766304</c:v>
                </c:pt>
                <c:pt idx="882">
                  <c:v>1675.7171321539224</c:v>
                </c:pt>
                <c:pt idx="883">
                  <c:v>1676.3039024974967</c:v>
                </c:pt>
                <c:pt idx="884">
                  <c:v>1681.4870040716391</c:v>
                </c:pt>
                <c:pt idx="885">
                  <c:v>1676.662501389148</c:v>
                </c:pt>
                <c:pt idx="886">
                  <c:v>1681.1774521977457</c:v>
                </c:pt>
                <c:pt idx="887">
                  <c:v>1679.1570738400376</c:v>
                </c:pt>
                <c:pt idx="888">
                  <c:v>1679.1189212981246</c:v>
                </c:pt>
                <c:pt idx="889">
                  <c:v>1670.3950713216198</c:v>
                </c:pt>
                <c:pt idx="890">
                  <c:v>1671.7033272341698</c:v>
                </c:pt>
                <c:pt idx="891">
                  <c:v>1671.8863894306887</c:v>
                </c:pt>
                <c:pt idx="892">
                  <c:v>1672.4720659513869</c:v>
                </c:pt>
                <c:pt idx="893">
                  <c:v>1678.5811542193928</c:v>
                </c:pt>
                <c:pt idx="894">
                  <c:v>1698.5789928253901</c:v>
                </c:pt>
                <c:pt idx="895">
                  <c:v>1701.9287597536115</c:v>
                </c:pt>
                <c:pt idx="896">
                  <c:v>1707.5392398018448</c:v>
                </c:pt>
                <c:pt idx="897">
                  <c:v>1712.0312640829625</c:v>
                </c:pt>
                <c:pt idx="898">
                  <c:v>1715.5525424381328</c:v>
                </c:pt>
                <c:pt idx="899">
                  <c:v>1712.2467909424392</c:v>
                </c:pt>
                <c:pt idx="900">
                  <c:v>1712.0816674410862</c:v>
                </c:pt>
                <c:pt idx="901">
                  <c:v>1725.6861113371608</c:v>
                </c:pt>
                <c:pt idx="902">
                  <c:v>1720.0362536653934</c:v>
                </c:pt>
                <c:pt idx="903">
                  <c:v>1718.1122192265989</c:v>
                </c:pt>
                <c:pt idx="904">
                  <c:v>1719.8387530069119</c:v>
                </c:pt>
                <c:pt idx="905">
                  <c:v>1732.3508616261488</c:v>
                </c:pt>
                <c:pt idx="906">
                  <c:v>1740.0311170731679</c:v>
                </c:pt>
                <c:pt idx="907">
                  <c:v>1747.3055642332101</c:v>
                </c:pt>
                <c:pt idx="908">
                  <c:v>1759.728066882449</c:v>
                </c:pt>
                <c:pt idx="909">
                  <c:v>1754.37017241273</c:v>
                </c:pt>
                <c:pt idx="910">
                  <c:v>1753.0558785979047</c:v>
                </c:pt>
                <c:pt idx="911">
                  <c:v>1748.6386718015017</c:v>
                </c:pt>
                <c:pt idx="912">
                  <c:v>1748.862774232326</c:v>
                </c:pt>
                <c:pt idx="913">
                  <c:v>1746.9217199095817</c:v>
                </c:pt>
                <c:pt idx="914">
                  <c:v>1759.2564104583394</c:v>
                </c:pt>
                <c:pt idx="915">
                  <c:v>1773.8510265746381</c:v>
                </c:pt>
                <c:pt idx="916">
                  <c:v>1771.120494652949</c:v>
                </c:pt>
                <c:pt idx="917">
                  <c:v>1783.3249765265537</c:v>
                </c:pt>
                <c:pt idx="918">
                  <c:v>1799.081013772535</c:v>
                </c:pt>
                <c:pt idx="919">
                  <c:v>1806.152403653886</c:v>
                </c:pt>
                <c:pt idx="920">
                  <c:v>1793.5855601379367</c:v>
                </c:pt>
                <c:pt idx="921">
                  <c:v>1782.3491990153771</c:v>
                </c:pt>
                <c:pt idx="922">
                  <c:v>1796.062500164066</c:v>
                </c:pt>
                <c:pt idx="923">
                  <c:v>1802.9923493652691</c:v>
                </c:pt>
                <c:pt idx="924">
                  <c:v>1813.0479068167842</c:v>
                </c:pt>
                <c:pt idx="925">
                  <c:v>1845.3673538499424</c:v>
                </c:pt>
                <c:pt idx="926">
                  <c:v>1849.6836226713526</c:v>
                </c:pt>
                <c:pt idx="927">
                  <c:v>1794.9180989183328</c:v>
                </c:pt>
                <c:pt idx="928">
                  <c:v>1795.708626587239</c:v>
                </c:pt>
                <c:pt idx="929">
                  <c:v>1771.970088757156</c:v>
                </c:pt>
                <c:pt idx="930">
                  <c:v>1774.5410100447866</c:v>
                </c:pt>
                <c:pt idx="931">
                  <c:v>1773.6350621860104</c:v>
                </c:pt>
                <c:pt idx="932">
                  <c:v>1752.7852230654792</c:v>
                </c:pt>
                <c:pt idx="933">
                  <c:v>1749.3012659468361</c:v>
                </c:pt>
                <c:pt idx="934">
                  <c:v>1758.3671324601926</c:v>
                </c:pt>
                <c:pt idx="935">
                  <c:v>1767.6923225009789</c:v>
                </c:pt>
                <c:pt idx="936">
                  <c:v>1757.0387939596399</c:v>
                </c:pt>
                <c:pt idx="937">
                  <c:v>1737.4531515662156</c:v>
                </c:pt>
                <c:pt idx="938">
                  <c:v>1751.5951000235314</c:v>
                </c:pt>
                <c:pt idx="939">
                  <c:v>1780.5247462112084</c:v>
                </c:pt>
                <c:pt idx="940">
                  <c:v>1757.1241996497938</c:v>
                </c:pt>
                <c:pt idx="941">
                  <c:v>1772.0336179897909</c:v>
                </c:pt>
                <c:pt idx="942">
                  <c:v>1761.5586888476369</c:v>
                </c:pt>
                <c:pt idx="943">
                  <c:v>1741.7404559578706</c:v>
                </c:pt>
                <c:pt idx="944">
                  <c:v>1743.6811602572948</c:v>
                </c:pt>
                <c:pt idx="945">
                  <c:v>1765.5742438839914</c:v>
                </c:pt>
                <c:pt idx="946">
                  <c:v>1763.456777807814</c:v>
                </c:pt>
                <c:pt idx="947">
                  <c:v>1779.802298078102</c:v>
                </c:pt>
                <c:pt idx="948">
                  <c:v>1774.0049930826565</c:v>
                </c:pt>
                <c:pt idx="949">
                  <c:v>1768.2916061782541</c:v>
                </c:pt>
                <c:pt idx="950">
                  <c:v>1773.5779646318861</c:v>
                </c:pt>
                <c:pt idx="951">
                  <c:v>1746.2696264638555</c:v>
                </c:pt>
                <c:pt idx="952">
                  <c:v>1758.3847648849526</c:v>
                </c:pt>
                <c:pt idx="953">
                  <c:v>1763.6165197006171</c:v>
                </c:pt>
                <c:pt idx="954">
                  <c:v>1788.3571742967295</c:v>
                </c:pt>
                <c:pt idx="955">
                  <c:v>1798.8540674022327</c:v>
                </c:pt>
                <c:pt idx="956">
                  <c:v>1806.4755626843557</c:v>
                </c:pt>
                <c:pt idx="957">
                  <c:v>1810.8239898983188</c:v>
                </c:pt>
                <c:pt idx="958">
                  <c:v>1820.1910514787965</c:v>
                </c:pt>
                <c:pt idx="959">
                  <c:v>1832.9398633683886</c:v>
                </c:pt>
                <c:pt idx="960">
                  <c:v>1841.0409343522426</c:v>
                </c:pt>
                <c:pt idx="961">
                  <c:v>1840.0666006872623</c:v>
                </c:pt>
                <c:pt idx="962">
                  <c:v>1848.561097883138</c:v>
                </c:pt>
                <c:pt idx="963">
                  <c:v>1848.6653610796734</c:v>
                </c:pt>
                <c:pt idx="964">
                  <c:v>1863.2060736046451</c:v>
                </c:pt>
                <c:pt idx="965">
                  <c:v>1858.6747592058232</c:v>
                </c:pt>
                <c:pt idx="966">
                  <c:v>1868.8693634213289</c:v>
                </c:pt>
                <c:pt idx="967">
                  <c:v>1874.9852333911658</c:v>
                </c:pt>
                <c:pt idx="968">
                  <c:v>1897.3877759605639</c:v>
                </c:pt>
                <c:pt idx="969">
                  <c:v>1917.5208985798583</c:v>
                </c:pt>
                <c:pt idx="970">
                  <c:v>1920.7027855730792</c:v>
                </c:pt>
                <c:pt idx="971">
                  <c:v>1909.8494812216766</c:v>
                </c:pt>
                <c:pt idx="972">
                  <c:v>1916.9462915466647</c:v>
                </c:pt>
                <c:pt idx="973">
                  <c:v>1882.258324210841</c:v>
                </c:pt>
                <c:pt idx="974">
                  <c:v>1862.1687357420092</c:v>
                </c:pt>
                <c:pt idx="975">
                  <c:v>1870.8302815674999</c:v>
                </c:pt>
                <c:pt idx="976">
                  <c:v>1857.7040570327902</c:v>
                </c:pt>
                <c:pt idx="977">
                  <c:v>1868.7887705518285</c:v>
                </c:pt>
                <c:pt idx="978">
                  <c:v>1870.0636429902045</c:v>
                </c:pt>
                <c:pt idx="979">
                  <c:v>1815.2583915903303</c:v>
                </c:pt>
                <c:pt idx="980">
                  <c:v>1772.210598531118</c:v>
                </c:pt>
                <c:pt idx="981">
                  <c:v>1755.3876026990208</c:v>
                </c:pt>
                <c:pt idx="982">
                  <c:v>1680.3975127342774</c:v>
                </c:pt>
                <c:pt idx="983">
                  <c:v>1702.0341605259364</c:v>
                </c:pt>
                <c:pt idx="984">
                  <c:v>1721.9539001785906</c:v>
                </c:pt>
                <c:pt idx="985">
                  <c:v>1735.6612509308345</c:v>
                </c:pt>
                <c:pt idx="986">
                  <c:v>1773.1889137113671</c:v>
                </c:pt>
                <c:pt idx="987">
                  <c:v>1781.2200675369909</c:v>
                </c:pt>
                <c:pt idx="988">
                  <c:v>1801.9281909657141</c:v>
                </c:pt>
                <c:pt idx="989">
                  <c:v>1775.9223333254488</c:v>
                </c:pt>
                <c:pt idx="990">
                  <c:v>1760.4604469272679</c:v>
                </c:pt>
                <c:pt idx="991">
                  <c:v>1771.5932886528476</c:v>
                </c:pt>
                <c:pt idx="992">
                  <c:v>1757.3187688629666</c:v>
                </c:pt>
                <c:pt idx="993">
                  <c:v>1758.0345665529881</c:v>
                </c:pt>
                <c:pt idx="994">
                  <c:v>1779.2405981548434</c:v>
                </c:pt>
                <c:pt idx="995">
                  <c:v>1766.1536199849229</c:v>
                </c:pt>
                <c:pt idx="996">
                  <c:v>1784.068907340943</c:v>
                </c:pt>
                <c:pt idx="997">
                  <c:v>1797.7482999804774</c:v>
                </c:pt>
                <c:pt idx="998">
                  <c:v>1805.9742855367649</c:v>
                </c:pt>
                <c:pt idx="999">
                  <c:v>1790.0425803369062</c:v>
                </c:pt>
                <c:pt idx="1000">
                  <c:v>1782.2070457944174</c:v>
                </c:pt>
                <c:pt idx="1001">
                  <c:v>1792.1905859477799</c:v>
                </c:pt>
                <c:pt idx="1002">
                  <c:v>1774.8031337587779</c:v>
                </c:pt>
                <c:pt idx="1003">
                  <c:v>1782.6022221230401</c:v>
                </c:pt>
                <c:pt idx="1004">
                  <c:v>1784.1144103725821</c:v>
                </c:pt>
                <c:pt idx="1005">
                  <c:v>1776.8278436550745</c:v>
                </c:pt>
                <c:pt idx="1006">
                  <c:v>1759.0198821996426</c:v>
                </c:pt>
                <c:pt idx="1007">
                  <c:v>1708.5231116023017</c:v>
                </c:pt>
                <c:pt idx="1008">
                  <c:v>1697.5662878539194</c:v>
                </c:pt>
                <c:pt idx="1009">
                  <c:v>1712.1692170240754</c:v>
                </c:pt>
                <c:pt idx="1010">
                  <c:v>1681.3000478656802</c:v>
                </c:pt>
                <c:pt idx="1011">
                  <c:v>1703.7603005300139</c:v>
                </c:pt>
                <c:pt idx="1012">
                  <c:v>1705.7063864379875</c:v>
                </c:pt>
                <c:pt idx="1013">
                  <c:v>1700.6403239115716</c:v>
                </c:pt>
                <c:pt idx="1014">
                  <c:v>1689.9474177466984</c:v>
                </c:pt>
                <c:pt idx="1015">
                  <c:v>1686.6147144553415</c:v>
                </c:pt>
                <c:pt idx="1016">
                  <c:v>1685.7688393489125</c:v>
                </c:pt>
                <c:pt idx="1017">
                  <c:v>1718.2526223309535</c:v>
                </c:pt>
                <c:pt idx="1018">
                  <c:v>1723.1400417052694</c:v>
                </c:pt>
                <c:pt idx="1019">
                  <c:v>1705.7666342019945</c:v>
                </c:pt>
                <c:pt idx="1020">
                  <c:v>1693.7384765759925</c:v>
                </c:pt>
                <c:pt idx="1021">
                  <c:v>1666.4885923024531</c:v>
                </c:pt>
                <c:pt idx="1022">
                  <c:v>1640.1397993141204</c:v>
                </c:pt>
                <c:pt idx="1023">
                  <c:v>1647.8581635501378</c:v>
                </c:pt>
                <c:pt idx="1024">
                  <c:v>1667.7924291705845</c:v>
                </c:pt>
                <c:pt idx="1025">
                  <c:v>1645.4833865806222</c:v>
                </c:pt>
                <c:pt idx="1026">
                  <c:v>1647.8772835740094</c:v>
                </c:pt>
                <c:pt idx="1027">
                  <c:v>1681.6383016518387</c:v>
                </c:pt>
                <c:pt idx="1028">
                  <c:v>1675.16851435226</c:v>
                </c:pt>
                <c:pt idx="1029">
                  <c:v>1643.1381428287573</c:v>
                </c:pt>
                <c:pt idx="1030">
                  <c:v>1643.7429831262421</c:v>
                </c:pt>
                <c:pt idx="1031">
                  <c:v>1646.7048804626522</c:v>
                </c:pt>
                <c:pt idx="1032">
                  <c:v>1659.5481111428962</c:v>
                </c:pt>
                <c:pt idx="1033">
                  <c:v>1651.49669971761</c:v>
                </c:pt>
                <c:pt idx="1034">
                  <c:v>1677.5688867770725</c:v>
                </c:pt>
                <c:pt idx="1035">
                  <c:v>1697.0341211483124</c:v>
                </c:pt>
                <c:pt idx="1036">
                  <c:v>1693.9445090529066</c:v>
                </c:pt>
                <c:pt idx="1037">
                  <c:v>1703.3257028249416</c:v>
                </c:pt>
                <c:pt idx="1038">
                  <c:v>1694.4796509567357</c:v>
                </c:pt>
                <c:pt idx="1039">
                  <c:v>1710.4297761338255</c:v>
                </c:pt>
                <c:pt idx="1040">
                  <c:v>1716.9070451818757</c:v>
                </c:pt>
                <c:pt idx="1041">
                  <c:v>1703.2328153863157</c:v>
                </c:pt>
                <c:pt idx="1042">
                  <c:v>1690.6348197948594</c:v>
                </c:pt>
                <c:pt idx="1043">
                  <c:v>1707.7041445386205</c:v>
                </c:pt>
                <c:pt idx="1044">
                  <c:v>1715.6577244458817</c:v>
                </c:pt>
                <c:pt idx="1045">
                  <c:v>1709.0799111990743</c:v>
                </c:pt>
                <c:pt idx="1046">
                  <c:v>1686.4922062932353</c:v>
                </c:pt>
                <c:pt idx="1047">
                  <c:v>1674.5190023285213</c:v>
                </c:pt>
                <c:pt idx="1048">
                  <c:v>1669.8291273656018</c:v>
                </c:pt>
                <c:pt idx="1049">
                  <c:v>1677.1629472313502</c:v>
                </c:pt>
                <c:pt idx="1050">
                  <c:v>1664.3649570652556</c:v>
                </c:pt>
                <c:pt idx="1051">
                  <c:v>1629.0839627190076</c:v>
                </c:pt>
                <c:pt idx="1052">
                  <c:v>1663.6502969510254</c:v>
                </c:pt>
                <c:pt idx="1053">
                  <c:v>1649.7426453537378</c:v>
                </c:pt>
                <c:pt idx="1054">
                  <c:v>1665.9264110971303</c:v>
                </c:pt>
                <c:pt idx="1055">
                  <c:v>1682.4380174329024</c:v>
                </c:pt>
                <c:pt idx="1056">
                  <c:v>1678.9529664913834</c:v>
                </c:pt>
                <c:pt idx="1057">
                  <c:v>1676.1797754775323</c:v>
                </c:pt>
                <c:pt idx="1058">
                  <c:v>1653.6921334883848</c:v>
                </c:pt>
                <c:pt idx="1059">
                  <c:v>1653.8522254045088</c:v>
                </c:pt>
                <c:pt idx="1060">
                  <c:v>1673.9661404941016</c:v>
                </c:pt>
                <c:pt idx="1061">
                  <c:v>1657.5087877729768</c:v>
                </c:pt>
                <c:pt idx="1062">
                  <c:v>1650.957401286852</c:v>
                </c:pt>
                <c:pt idx="1063">
                  <c:v>1642.2367015202299</c:v>
                </c:pt>
                <c:pt idx="1064">
                  <c:v>1584.3440694236167</c:v>
                </c:pt>
                <c:pt idx="1065">
                  <c:v>1590.6125495611059</c:v>
                </c:pt>
                <c:pt idx="1066">
                  <c:v>1572.0269237937894</c:v>
                </c:pt>
                <c:pt idx="1067">
                  <c:v>1579.0009634391804</c:v>
                </c:pt>
                <c:pt idx="1068">
                  <c:v>1557.8127830266606</c:v>
                </c:pt>
                <c:pt idx="1069">
                  <c:v>1544.9640832320367</c:v>
                </c:pt>
                <c:pt idx="1070">
                  <c:v>1513.5280075534949</c:v>
                </c:pt>
                <c:pt idx="1071">
                  <c:v>1497.8922033180379</c:v>
                </c:pt>
                <c:pt idx="1072">
                  <c:v>1536.158065281091</c:v>
                </c:pt>
                <c:pt idx="1073">
                  <c:v>1491.0835059385752</c:v>
                </c:pt>
                <c:pt idx="1074">
                  <c:v>1491.6594255592199</c:v>
                </c:pt>
                <c:pt idx="1075">
                  <c:v>1471.7374982608139</c:v>
                </c:pt>
                <c:pt idx="1076">
                  <c:v>1462.4140145837139</c:v>
                </c:pt>
                <c:pt idx="1077">
                  <c:v>1472.3392758542459</c:v>
                </c:pt>
                <c:pt idx="1078">
                  <c:v>1513.4937052681053</c:v>
                </c:pt>
                <c:pt idx="1079">
                  <c:v>1517.1391106432384</c:v>
                </c:pt>
                <c:pt idx="1080">
                  <c:v>1490.8935745343954</c:v>
                </c:pt>
                <c:pt idx="1081">
                  <c:v>1523.063430351039</c:v>
                </c:pt>
                <c:pt idx="1082">
                  <c:v>1528.1535569807256</c:v>
                </c:pt>
                <c:pt idx="1083">
                  <c:v>1519.1387938721336</c:v>
                </c:pt>
                <c:pt idx="1084">
                  <c:v>1509.2031194078227</c:v>
                </c:pt>
                <c:pt idx="1085">
                  <c:v>1501.3037056093785</c:v>
                </c:pt>
                <c:pt idx="1086">
                  <c:v>1499.9999999999923</c:v>
                </c:pt>
                <c:pt idx="1087">
                  <c:v>1528.2428566803185</c:v>
                </c:pt>
                <c:pt idx="1088">
                  <c:v>1542.6185332097675</c:v>
                </c:pt>
                <c:pt idx="1089">
                  <c:v>1567.1006518309207</c:v>
                </c:pt>
                <c:pt idx="1090">
                  <c:v>1565.3708803348945</c:v>
                </c:pt>
                <c:pt idx="1091">
                  <c:v>1547.210532901747</c:v>
                </c:pt>
                <c:pt idx="1092">
                  <c:v>1540.6394138509402</c:v>
                </c:pt>
                <c:pt idx="1093">
                  <c:v>1537.9497033989815</c:v>
                </c:pt>
                <c:pt idx="1094">
                  <c:v>1539.0773910311698</c:v>
                </c:pt>
                <c:pt idx="1095">
                  <c:v>1508.3328301748027</c:v>
                </c:pt>
                <c:pt idx="1096">
                  <c:v>1474.8923459525415</c:v>
                </c:pt>
                <c:pt idx="1097">
                  <c:v>1450.5333480343054</c:v>
                </c:pt>
                <c:pt idx="1098">
                  <c:v>1432.1522671447913</c:v>
                </c:pt>
                <c:pt idx="1099">
                  <c:v>1473.9786100748886</c:v>
                </c:pt>
                <c:pt idx="1100">
                  <c:v>1450.1936504019507</c:v>
                </c:pt>
                <c:pt idx="1101">
                  <c:v>1486.5183267835141</c:v>
                </c:pt>
                <c:pt idx="1102">
                  <c:v>1489.7951138494525</c:v>
                </c:pt>
                <c:pt idx="1103">
                  <c:v>1483.3743735676312</c:v>
                </c:pt>
                <c:pt idx="1104">
                  <c:v>1475.7480654648541</c:v>
                </c:pt>
                <c:pt idx="1105">
                  <c:v>1440.3354623501716</c:v>
                </c:pt>
                <c:pt idx="1106">
                  <c:v>1433.6638428535227</c:v>
                </c:pt>
                <c:pt idx="1107">
                  <c:v>1413.0528071432686</c:v>
                </c:pt>
                <c:pt idx="1108">
                  <c:v>1429.5170290720544</c:v>
                </c:pt>
                <c:pt idx="1109">
                  <c:v>1455.5058668283698</c:v>
                </c:pt>
                <c:pt idx="1110">
                  <c:v>1447.3265218795127</c:v>
                </c:pt>
                <c:pt idx="1111">
                  <c:v>1452.6080237595756</c:v>
                </c:pt>
                <c:pt idx="1112">
                  <c:v>1454.9308660189411</c:v>
                </c:pt>
                <c:pt idx="1113">
                  <c:v>1490.4752091608027</c:v>
                </c:pt>
                <c:pt idx="1114">
                  <c:v>1487.6737100109219</c:v>
                </c:pt>
                <c:pt idx="1115">
                  <c:v>1481.724669906125</c:v>
                </c:pt>
                <c:pt idx="1116">
                  <c:v>1466.2013981681453</c:v>
                </c:pt>
                <c:pt idx="1117">
                  <c:v>1458.9425270458567</c:v>
                </c:pt>
                <c:pt idx="1118">
                  <c:v>1453.3951824540231</c:v>
                </c:pt>
                <c:pt idx="1119">
                  <c:v>1471.8036089154359</c:v>
                </c:pt>
                <c:pt idx="1120">
                  <c:v>1443.0329170680918</c:v>
                </c:pt>
                <c:pt idx="1121">
                  <c:v>1427.6054642140455</c:v>
                </c:pt>
                <c:pt idx="1122">
                  <c:v>1434.0647070611001</c:v>
                </c:pt>
                <c:pt idx="1123">
                  <c:v>1413.2489514613835</c:v>
                </c:pt>
                <c:pt idx="1124">
                  <c:v>1410.686561992185</c:v>
                </c:pt>
                <c:pt idx="1125">
                  <c:v>1400.9791902385421</c:v>
                </c:pt>
                <c:pt idx="1126">
                  <c:v>1416.0920596334656</c:v>
                </c:pt>
                <c:pt idx="1127">
                  <c:v>1418.5089706601627</c:v>
                </c:pt>
                <c:pt idx="1128">
                  <c:v>1402.2469747046821</c:v>
                </c:pt>
                <c:pt idx="1129">
                  <c:v>1430.4717614310975</c:v>
                </c:pt>
                <c:pt idx="1130">
                  <c:v>1449.3075663666013</c:v>
                </c:pt>
                <c:pt idx="1131">
                  <c:v>1448.2765289237316</c:v>
                </c:pt>
                <c:pt idx="1132">
                  <c:v>1492.1868669500025</c:v>
                </c:pt>
                <c:pt idx="1133">
                  <c:v>1478.7629038284595</c:v>
                </c:pt>
                <c:pt idx="1134">
                  <c:v>1495.1426826312222</c:v>
                </c:pt>
                <c:pt idx="1135">
                  <c:v>1489.1699284464746</c:v>
                </c:pt>
                <c:pt idx="1136">
                  <c:v>1504.6036379673712</c:v>
                </c:pt>
                <c:pt idx="1137">
                  <c:v>1439.8641559493819</c:v>
                </c:pt>
                <c:pt idx="1138">
                  <c:v>1438.8980040795136</c:v>
                </c:pt>
                <c:pt idx="1139">
                  <c:v>1435.7946973217008</c:v>
                </c:pt>
                <c:pt idx="1140">
                  <c:v>1366.8909003562283</c:v>
                </c:pt>
                <c:pt idx="1141">
                  <c:v>1387.2851403724694</c:v>
                </c:pt>
                <c:pt idx="1142">
                  <c:v>1367.9137122510708</c:v>
                </c:pt>
                <c:pt idx="1143">
                  <c:v>1356.7664320635286</c:v>
                </c:pt>
                <c:pt idx="1144">
                  <c:v>1364.3236543134608</c:v>
                </c:pt>
                <c:pt idx="1145">
                  <c:v>1332.0101576767477</c:v>
                </c:pt>
                <c:pt idx="1146">
                  <c:v>1371.6300411014804</c:v>
                </c:pt>
                <c:pt idx="1147">
                  <c:v>1430.8398547053114</c:v>
                </c:pt>
                <c:pt idx="1148">
                  <c:v>1392.8415418177153</c:v>
                </c:pt>
                <c:pt idx="1149">
                  <c:v>1394.9312247928435</c:v>
                </c:pt>
                <c:pt idx="1150">
                  <c:v>1397.6030403025518</c:v>
                </c:pt>
                <c:pt idx="1151">
                  <c:v>1388.5578251650934</c:v>
                </c:pt>
                <c:pt idx="1152">
                  <c:v>1346.2285862295494</c:v>
                </c:pt>
                <c:pt idx="1153">
                  <c:v>1360.8296340243585</c:v>
                </c:pt>
                <c:pt idx="1154">
                  <c:v>1379.8896726494318</c:v>
                </c:pt>
                <c:pt idx="1155">
                  <c:v>1390.0448992414033</c:v>
                </c:pt>
                <c:pt idx="1156">
                  <c:v>1439.5783181554382</c:v>
                </c:pt>
                <c:pt idx="1157">
                  <c:v>1427.5854691318718</c:v>
                </c:pt>
                <c:pt idx="1158">
                  <c:v>1418.9728390653938</c:v>
                </c:pt>
                <c:pt idx="1159">
                  <c:v>1409.6795886525852</c:v>
                </c:pt>
                <c:pt idx="1160">
                  <c:v>1405.6821473230566</c:v>
                </c:pt>
                <c:pt idx="1161">
                  <c:v>1385.8491697009224</c:v>
                </c:pt>
                <c:pt idx="1162">
                  <c:v>1402.3424873182087</c:v>
                </c:pt>
                <c:pt idx="1163">
                  <c:v>1416.4491271730892</c:v>
                </c:pt>
                <c:pt idx="1164">
                  <c:v>1402.2558565464337</c:v>
                </c:pt>
                <c:pt idx="1165">
                  <c:v>1418.6320476101632</c:v>
                </c:pt>
                <c:pt idx="1166">
                  <c:v>1425.3271186692725</c:v>
                </c:pt>
                <c:pt idx="1167">
                  <c:v>1441.4848951811325</c:v>
                </c:pt>
                <c:pt idx="1168">
                  <c:v>1408.1471428033806</c:v>
                </c:pt>
                <c:pt idx="1169">
                  <c:v>1411.6842159608796</c:v>
                </c:pt>
                <c:pt idx="1170">
                  <c:v>1406.4056455261243</c:v>
                </c:pt>
                <c:pt idx="1171">
                  <c:v>1375.362033495473</c:v>
                </c:pt>
                <c:pt idx="1172">
                  <c:v>1374.3855559376559</c:v>
                </c:pt>
                <c:pt idx="1173">
                  <c:v>1372.6345205249218</c:v>
                </c:pt>
                <c:pt idx="1174">
                  <c:v>1390.8756795921445</c:v>
                </c:pt>
                <c:pt idx="1175">
                  <c:v>1372.8151763111134</c:v>
                </c:pt>
                <c:pt idx="1176">
                  <c:v>1388.1443601179847</c:v>
                </c:pt>
                <c:pt idx="1177">
                  <c:v>1426.760770436322</c:v>
                </c:pt>
                <c:pt idx="1178">
                  <c:v>1429.7181612224831</c:v>
                </c:pt>
                <c:pt idx="1179">
                  <c:v>1422.8465909041108</c:v>
                </c:pt>
                <c:pt idx="1180">
                  <c:v>1392.0746844758451</c:v>
                </c:pt>
                <c:pt idx="1181">
                  <c:v>1392.0272563159442</c:v>
                </c:pt>
                <c:pt idx="1182">
                  <c:v>1375.9255272882476</c:v>
                </c:pt>
                <c:pt idx="1183">
                  <c:v>1382.5115223301671</c:v>
                </c:pt>
                <c:pt idx="1184">
                  <c:v>1387.2339494618748</c:v>
                </c:pt>
                <c:pt idx="1185">
                  <c:v>1408.7092802557888</c:v>
                </c:pt>
                <c:pt idx="1186">
                  <c:v>1385.178306254646</c:v>
                </c:pt>
                <c:pt idx="1187">
                  <c:v>1383.1156625810115</c:v>
                </c:pt>
                <c:pt idx="1188">
                  <c:v>1368.7777885701555</c:v>
                </c:pt>
                <c:pt idx="1189">
                  <c:v>1352.4575137318443</c:v>
                </c:pt>
                <c:pt idx="1190">
                  <c:v>1342.0843101171536</c:v>
                </c:pt>
                <c:pt idx="1191">
                  <c:v>1325.4486642672489</c:v>
                </c:pt>
                <c:pt idx="1192">
                  <c:v>1329.300233378041</c:v>
                </c:pt>
                <c:pt idx="1193">
                  <c:v>1320.1486111512102</c:v>
                </c:pt>
                <c:pt idx="1194">
                  <c:v>1313.4768166429012</c:v>
                </c:pt>
                <c:pt idx="1195">
                  <c:v>1308.4334181264751</c:v>
                </c:pt>
                <c:pt idx="1196">
                  <c:v>1317.2487116954092</c:v>
                </c:pt>
                <c:pt idx="1197">
                  <c:v>1299.2582568313539</c:v>
                </c:pt>
                <c:pt idx="1198">
                  <c:v>1297.2048450227921</c:v>
                </c:pt>
                <c:pt idx="1199">
                  <c:v>1328.2834156325589</c:v>
                </c:pt>
                <c:pt idx="1200">
                  <c:v>1336.3465965919902</c:v>
                </c:pt>
                <c:pt idx="1201">
                  <c:v>1333.4591229640598</c:v>
                </c:pt>
                <c:pt idx="1202">
                  <c:v>1346.9229449912023</c:v>
                </c:pt>
                <c:pt idx="1203">
                  <c:v>1344.3898699750794</c:v>
                </c:pt>
                <c:pt idx="1204">
                  <c:v>1354.0556764594364</c:v>
                </c:pt>
                <c:pt idx="1205">
                  <c:v>1342.2451458328335</c:v>
                </c:pt>
                <c:pt idx="1206">
                  <c:v>1368.5869821076751</c:v>
                </c:pt>
                <c:pt idx="1207">
                  <c:v>1368.8763201348211</c:v>
                </c:pt>
                <c:pt idx="1208">
                  <c:v>1361.335548980943</c:v>
                </c:pt>
                <c:pt idx="1209">
                  <c:v>1386.1684347219555</c:v>
                </c:pt>
                <c:pt idx="1210">
                  <c:v>1393.80878751046</c:v>
                </c:pt>
                <c:pt idx="1211">
                  <c:v>1375.2928601367989</c:v>
                </c:pt>
                <c:pt idx="1212">
                  <c:v>1374.3023378932542</c:v>
                </c:pt>
                <c:pt idx="1213">
                  <c:v>1382.0590734357595</c:v>
                </c:pt>
                <c:pt idx="1214">
                  <c:v>1393.2982784977964</c:v>
                </c:pt>
                <c:pt idx="1215">
                  <c:v>1392.9955520786489</c:v>
                </c:pt>
                <c:pt idx="1216">
                  <c:v>1397.4548929322332</c:v>
                </c:pt>
                <c:pt idx="1217">
                  <c:v>1386.3036312294223</c:v>
                </c:pt>
                <c:pt idx="1218">
                  <c:v>1400.8078100703374</c:v>
                </c:pt>
                <c:pt idx="1219">
                  <c:v>1420.8308941083114</c:v>
                </c:pt>
                <c:pt idx="1220">
                  <c:v>1446.6781036786488</c:v>
                </c:pt>
                <c:pt idx="1221">
                  <c:v>1457.118774288328</c:v>
                </c:pt>
                <c:pt idx="1222">
                  <c:v>1486.2985996441921</c:v>
                </c:pt>
                <c:pt idx="1223">
                  <c:v>1488.5355549313383</c:v>
                </c:pt>
                <c:pt idx="1224">
                  <c:v>1460.7806307595156</c:v>
                </c:pt>
                <c:pt idx="1225">
                  <c:v>1507.6137947690675</c:v>
                </c:pt>
                <c:pt idx="1226">
                  <c:v>1504.9286783731877</c:v>
                </c:pt>
                <c:pt idx="1227">
                  <c:v>1510.3188187412895</c:v>
                </c:pt>
                <c:pt idx="1228">
                  <c:v>1506.2840561752337</c:v>
                </c:pt>
                <c:pt idx="1229">
                  <c:v>1540.1543252819129</c:v>
                </c:pt>
                <c:pt idx="1230">
                  <c:v>1631.7575720982315</c:v>
                </c:pt>
                <c:pt idx="1231">
                  <c:v>1612.1608164643876</c:v>
                </c:pt>
                <c:pt idx="1232">
                  <c:v>1609.4037702761852</c:v>
                </c:pt>
                <c:pt idx="1233">
                  <c:v>1605.4564697872902</c:v>
                </c:pt>
                <c:pt idx="1234">
                  <c:v>1640.6093118453921</c:v>
                </c:pt>
                <c:pt idx="1235">
                  <c:v>1660.031099571999</c:v>
                </c:pt>
                <c:pt idx="1236">
                  <c:v>1669.6170132334967</c:v>
                </c:pt>
                <c:pt idx="1237">
                  <c:v>1683.6516795431394</c:v>
                </c:pt>
                <c:pt idx="1238">
                  <c:v>1666.4827731647522</c:v>
                </c:pt>
                <c:pt idx="1239">
                  <c:v>1600.2974323164187</c:v>
                </c:pt>
                <c:pt idx="1240">
                  <c:v>1631.9638670926354</c:v>
                </c:pt>
                <c:pt idx="1241">
                  <c:v>1643.0759261835722</c:v>
                </c:pt>
                <c:pt idx="1242">
                  <c:v>1629.4434804218733</c:v>
                </c:pt>
                <c:pt idx="1243">
                  <c:v>1618.1953497651684</c:v>
                </c:pt>
                <c:pt idx="1244">
                  <c:v>1638.5488558175091</c:v>
                </c:pt>
                <c:pt idx="1245">
                  <c:v>1685.2519861635678</c:v>
                </c:pt>
                <c:pt idx="1246">
                  <c:v>1677.4703989653208</c:v>
                </c:pt>
                <c:pt idx="1247">
                  <c:v>1678.1166732733466</c:v>
                </c:pt>
                <c:pt idx="1248">
                  <c:v>1678.7517905880377</c:v>
                </c:pt>
                <c:pt idx="1249">
                  <c:v>1677.3998255133647</c:v>
                </c:pt>
                <c:pt idx="1250">
                  <c:v>1637.5951297755114</c:v>
                </c:pt>
                <c:pt idx="1251">
                  <c:v>1619.0498441958596</c:v>
                </c:pt>
                <c:pt idx="1252">
                  <c:v>1637.8412836755149</c:v>
                </c:pt>
                <c:pt idx="1253">
                  <c:v>1631.2816278884484</c:v>
                </c:pt>
                <c:pt idx="1254">
                  <c:v>1694.2621552160811</c:v>
                </c:pt>
                <c:pt idx="1255">
                  <c:v>1738.7093415098677</c:v>
                </c:pt>
                <c:pt idx="1256">
                  <c:v>1737.5530394712443</c:v>
                </c:pt>
                <c:pt idx="1257">
                  <c:v>1759.8107598918671</c:v>
                </c:pt>
                <c:pt idx="1258">
                  <c:v>1777.3444343229262</c:v>
                </c:pt>
                <c:pt idx="1259">
                  <c:v>1775.1557822539821</c:v>
                </c:pt>
                <c:pt idx="1260">
                  <c:v>1783.1194690846173</c:v>
                </c:pt>
                <c:pt idx="1261">
                  <c:v>1787.6771664912071</c:v>
                </c:pt>
                <c:pt idx="1262">
                  <c:v>1749.0568184105164</c:v>
                </c:pt>
                <c:pt idx="1263">
                  <c:v>1745.1361196939642</c:v>
                </c:pt>
                <c:pt idx="1264">
                  <c:v>1739.4078130455339</c:v>
                </c:pt>
                <c:pt idx="1265">
                  <c:v>1787.6518335534001</c:v>
                </c:pt>
                <c:pt idx="1266">
                  <c:v>1788.2865570918557</c:v>
                </c:pt>
                <c:pt idx="1267">
                  <c:v>1781.6516462909237</c:v>
                </c:pt>
                <c:pt idx="1268">
                  <c:v>1802.8860297817234</c:v>
                </c:pt>
                <c:pt idx="1269">
                  <c:v>1761.322116836024</c:v>
                </c:pt>
                <c:pt idx="1270">
                  <c:v>1758.4319742802761</c:v>
                </c:pt>
                <c:pt idx="1271">
                  <c:v>1763.2812848655938</c:v>
                </c:pt>
                <c:pt idx="1272">
                  <c:v>1724.6594054328766</c:v>
                </c:pt>
                <c:pt idx="1273">
                  <c:v>1701.67109883695</c:v>
                </c:pt>
                <c:pt idx="1274">
                  <c:v>1706.5097774639137</c:v>
                </c:pt>
                <c:pt idx="1275">
                  <c:v>1712.1438840862672</c:v>
                </c:pt>
                <c:pt idx="1276">
                  <c:v>1612.1272579785534</c:v>
                </c:pt>
                <c:pt idx="1277">
                  <c:v>1627.90088389638</c:v>
                </c:pt>
                <c:pt idx="1278">
                  <c:v>1604.6195202755289</c:v>
                </c:pt>
                <c:pt idx="1279">
                  <c:v>1574.9737263745105</c:v>
                </c:pt>
                <c:pt idx="1280">
                  <c:v>1632.181187821629</c:v>
                </c:pt>
                <c:pt idx="1281">
                  <c:v>1605.1743509911253</c:v>
                </c:pt>
                <c:pt idx="1282">
                  <c:v>1594.8595137650952</c:v>
                </c:pt>
                <c:pt idx="1283">
                  <c:v>1630.7115274055038</c:v>
                </c:pt>
                <c:pt idx="1284">
                  <c:v>1638.0931692073889</c:v>
                </c:pt>
                <c:pt idx="1285">
                  <c:v>1596.4392565154562</c:v>
                </c:pt>
                <c:pt idx="1286">
                  <c:v>1582.8896350219241</c:v>
                </c:pt>
                <c:pt idx="1287">
                  <c:v>1604.3214754182902</c:v>
                </c:pt>
                <c:pt idx="1288">
                  <c:v>1596.709955800796</c:v>
                </c:pt>
                <c:pt idx="1289">
                  <c:v>1568.0889864287115</c:v>
                </c:pt>
                <c:pt idx="1290">
                  <c:v>1572.4420952045837</c:v>
                </c:pt>
                <c:pt idx="1291">
                  <c:v>1591.3797569262956</c:v>
                </c:pt>
                <c:pt idx="1292">
                  <c:v>1606.7210165377173</c:v>
                </c:pt>
                <c:pt idx="1293">
                  <c:v>1603.0669918383219</c:v>
                </c:pt>
                <c:pt idx="1294">
                  <c:v>1593.1238356255392</c:v>
                </c:pt>
                <c:pt idx="1295">
                  <c:v>1588.1386284861135</c:v>
                </c:pt>
                <c:pt idx="1296">
                  <c:v>1589.1114307990676</c:v>
                </c:pt>
                <c:pt idx="1297">
                  <c:v>1574.4340341675172</c:v>
                </c:pt>
                <c:pt idx="1298">
                  <c:v>1573.8382944763603</c:v>
                </c:pt>
                <c:pt idx="1299">
                  <c:v>1559.6504492111694</c:v>
                </c:pt>
                <c:pt idx="1300">
                  <c:v>1579.8055357938131</c:v>
                </c:pt>
                <c:pt idx="1301">
                  <c:v>1627.2916245544764</c:v>
                </c:pt>
                <c:pt idx="1302">
                  <c:v>1614.9619655909478</c:v>
                </c:pt>
                <c:pt idx="1303">
                  <c:v>1612.4669993638231</c:v>
                </c:pt>
                <c:pt idx="1304">
                  <c:v>1599.1164973866289</c:v>
                </c:pt>
                <c:pt idx="1305">
                  <c:v>1599.0923895304429</c:v>
                </c:pt>
                <c:pt idx="1306">
                  <c:v>1604.690006221655</c:v>
                </c:pt>
                <c:pt idx="1307">
                  <c:v>1625.8312397563391</c:v>
                </c:pt>
                <c:pt idx="1308">
                  <c:v>1675.0883590119095</c:v>
                </c:pt>
                <c:pt idx="1309">
                  <c:v>1677.459767006967</c:v>
                </c:pt>
                <c:pt idx="1310">
                  <c:v>1680.6658056092888</c:v>
                </c:pt>
                <c:pt idx="1311">
                  <c:v>1663.1838471238048</c:v>
                </c:pt>
                <c:pt idx="1312">
                  <c:v>1660.1304186891355</c:v>
                </c:pt>
                <c:pt idx="1313">
                  <c:v>1677.8443113772357</c:v>
                </c:pt>
                <c:pt idx="1314">
                  <c:v>1673.8059610721468</c:v>
                </c:pt>
                <c:pt idx="1315">
                  <c:v>1722.0323054023374</c:v>
                </c:pt>
                <c:pt idx="1316">
                  <c:v>1722.6262512239778</c:v>
                </c:pt>
                <c:pt idx="1317">
                  <c:v>1703.534666747162</c:v>
                </c:pt>
                <c:pt idx="1318">
                  <c:v>1694.5949836407751</c:v>
                </c:pt>
                <c:pt idx="1319">
                  <c:v>1703.3895820808959</c:v>
                </c:pt>
                <c:pt idx="1320">
                  <c:v>1663.8313465134513</c:v>
                </c:pt>
                <c:pt idx="1321">
                  <c:v>1659.6048149207841</c:v>
                </c:pt>
                <c:pt idx="1322">
                  <c:v>1656.8086973794527</c:v>
                </c:pt>
                <c:pt idx="1323">
                  <c:v>1656.1445281291765</c:v>
                </c:pt>
                <c:pt idx="1324">
                  <c:v>1666.4308822075168</c:v>
                </c:pt>
                <c:pt idx="1325">
                  <c:v>1673.1936390261899</c:v>
                </c:pt>
                <c:pt idx="1326">
                  <c:v>1665.6056147240706</c:v>
                </c:pt>
                <c:pt idx="1327">
                  <c:v>1664.6402066537578</c:v>
                </c:pt>
                <c:pt idx="1328">
                  <c:v>1648.7856815960261</c:v>
                </c:pt>
                <c:pt idx="1329">
                  <c:v>1666.0913595868221</c:v>
                </c:pt>
                <c:pt idx="1330">
                  <c:v>1654.596637500963</c:v>
                </c:pt>
                <c:pt idx="1331">
                  <c:v>1658.1976336673326</c:v>
                </c:pt>
                <c:pt idx="1332">
                  <c:v>1671.288068317541</c:v>
                </c:pt>
                <c:pt idx="1333">
                  <c:v>1684.9538538004986</c:v>
                </c:pt>
                <c:pt idx="1334">
                  <c:v>1688.2363287453918</c:v>
                </c:pt>
                <c:pt idx="1335">
                  <c:v>1686.3556534453999</c:v>
                </c:pt>
                <c:pt idx="1336">
                  <c:v>1693.376771227372</c:v>
                </c:pt>
                <c:pt idx="1337">
                  <c:v>1678.0813209179953</c:v>
                </c:pt>
                <c:pt idx="1338">
                  <c:v>1664.1287350769635</c:v>
                </c:pt>
                <c:pt idx="1339">
                  <c:v>1639.6133204874666</c:v>
                </c:pt>
                <c:pt idx="1340">
                  <c:v>1608.2208227123026</c:v>
                </c:pt>
                <c:pt idx="1341">
                  <c:v>1590.9998941179351</c:v>
                </c:pt>
                <c:pt idx="1342">
                  <c:v>1584.4816285884942</c:v>
                </c:pt>
                <c:pt idx="1343">
                  <c:v>1605.4229113014549</c:v>
                </c:pt>
                <c:pt idx="1344">
                  <c:v>1589.7751187672775</c:v>
                </c:pt>
                <c:pt idx="1345">
                  <c:v>1618.4661365563375</c:v>
                </c:pt>
                <c:pt idx="1346">
                  <c:v>1603.8731392978952</c:v>
                </c:pt>
                <c:pt idx="1347">
                  <c:v>1611.1579996517164</c:v>
                </c:pt>
                <c:pt idx="1348">
                  <c:v>1616.2329440198848</c:v>
                </c:pt>
                <c:pt idx="1349">
                  <c:v>1623.4688011088633</c:v>
                </c:pt>
                <c:pt idx="1350">
                  <c:v>1658.7143993468458</c:v>
                </c:pt>
                <c:pt idx="1351">
                  <c:v>1657.2433388374395</c:v>
                </c:pt>
                <c:pt idx="1352">
                  <c:v>1654.6293209284963</c:v>
                </c:pt>
                <c:pt idx="1353">
                  <c:v>1659.7695008929866</c:v>
                </c:pt>
                <c:pt idx="1354">
                  <c:v>1671.7392921303278</c:v>
                </c:pt>
                <c:pt idx="1355">
                  <c:v>1647.6956214707702</c:v>
                </c:pt>
                <c:pt idx="1356">
                  <c:v>1670.0250966720553</c:v>
                </c:pt>
                <c:pt idx="1357">
                  <c:v>1663.7415217788782</c:v>
                </c:pt>
                <c:pt idx="1358">
                  <c:v>1658.3171666312164</c:v>
                </c:pt>
                <c:pt idx="1359">
                  <c:v>1662.4297656331246</c:v>
                </c:pt>
                <c:pt idx="1360">
                  <c:v>1683.752092483151</c:v>
                </c:pt>
                <c:pt idx="1361">
                  <c:v>1686.0669717119795</c:v>
                </c:pt>
                <c:pt idx="1362">
                  <c:v>1700.2388034102664</c:v>
                </c:pt>
                <c:pt idx="1363">
                  <c:v>1717.4432371556645</c:v>
                </c:pt>
                <c:pt idx="1364">
                  <c:v>1727.5871317426415</c:v>
                </c:pt>
                <c:pt idx="1365">
                  <c:v>1738.2807379541553</c:v>
                </c:pt>
                <c:pt idx="1366">
                  <c:v>1732.2938515778503</c:v>
                </c:pt>
                <c:pt idx="1367">
                  <c:v>1719.5332701541131</c:v>
                </c:pt>
                <c:pt idx="1368">
                  <c:v>1738.0320026321642</c:v>
                </c:pt>
                <c:pt idx="1369">
                  <c:v>1731.6158564064219</c:v>
                </c:pt>
                <c:pt idx="1370">
                  <c:v>1702.5225305635879</c:v>
                </c:pt>
                <c:pt idx="1371">
                  <c:v>1710.7755991742843</c:v>
                </c:pt>
                <c:pt idx="1372">
                  <c:v>1717.0316534839026</c:v>
                </c:pt>
                <c:pt idx="1373">
                  <c:v>1721.9620819737006</c:v>
                </c:pt>
                <c:pt idx="1374">
                  <c:v>1702.2778642626956</c:v>
                </c:pt>
                <c:pt idx="1375">
                  <c:v>1706.8343803405794</c:v>
                </c:pt>
                <c:pt idx="1376">
                  <c:v>1693.6682093944403</c:v>
                </c:pt>
                <c:pt idx="1377">
                  <c:v>1680.6101956542748</c:v>
                </c:pt>
                <c:pt idx="1378">
                  <c:v>1685.6481688092363</c:v>
                </c:pt>
                <c:pt idx="1379">
                  <c:v>1668.9672824451823</c:v>
                </c:pt>
                <c:pt idx="1380">
                  <c:v>1679.0964760527061</c:v>
                </c:pt>
                <c:pt idx="1381">
                  <c:v>1681.529181881732</c:v>
                </c:pt>
                <c:pt idx="1382">
                  <c:v>1695.2675534507375</c:v>
                </c:pt>
                <c:pt idx="1383">
                  <c:v>1711.4938470275472</c:v>
                </c:pt>
                <c:pt idx="1384">
                  <c:v>1729.6582197288783</c:v>
                </c:pt>
                <c:pt idx="1385">
                  <c:v>1722.2240306760325</c:v>
                </c:pt>
                <c:pt idx="1386">
                  <c:v>1716.2892102686228</c:v>
                </c:pt>
                <c:pt idx="1387">
                  <c:v>1717.3988716998156</c:v>
                </c:pt>
                <c:pt idx="1388">
                  <c:v>1692.96553757893</c:v>
                </c:pt>
                <c:pt idx="1389">
                  <c:v>1697.9805404534966</c:v>
                </c:pt>
                <c:pt idx="1390">
                  <c:v>1704.5614601572718</c:v>
                </c:pt>
                <c:pt idx="1391">
                  <c:v>1693.7124435915432</c:v>
                </c:pt>
                <c:pt idx="1392">
                  <c:v>1693.5299939358349</c:v>
                </c:pt>
                <c:pt idx="1393">
                  <c:v>1704.9602242249277</c:v>
                </c:pt>
                <c:pt idx="1394">
                  <c:v>1717.9953989434432</c:v>
                </c:pt>
                <c:pt idx="1395">
                  <c:v>1710.8378595723827</c:v>
                </c:pt>
                <c:pt idx="1396">
                  <c:v>1702.5245869505943</c:v>
                </c:pt>
                <c:pt idx="1397">
                  <c:v>1700.5672565434561</c:v>
                </c:pt>
                <c:pt idx="1398">
                  <c:v>1729.284613587369</c:v>
                </c:pt>
                <c:pt idx="1399">
                  <c:v>1740.5441637548988</c:v>
                </c:pt>
                <c:pt idx="1400">
                  <c:v>1751.3472835127527</c:v>
                </c:pt>
                <c:pt idx="1401">
                  <c:v>1743.5018608114653</c:v>
                </c:pt>
                <c:pt idx="1402">
                  <c:v>1746.5616334188151</c:v>
                </c:pt>
                <c:pt idx="1403">
                  <c:v>1738.3079960202233</c:v>
                </c:pt>
                <c:pt idx="1404">
                  <c:v>1707.6667795491765</c:v>
                </c:pt>
                <c:pt idx="1405">
                  <c:v>1707.9776440105211</c:v>
                </c:pt>
                <c:pt idx="1406">
                  <c:v>1706.3555921913187</c:v>
                </c:pt>
                <c:pt idx="1407">
                  <c:v>1708.9262947143745</c:v>
                </c:pt>
                <c:pt idx="1408">
                  <c:v>1696.3395436220831</c:v>
                </c:pt>
                <c:pt idx="1409">
                  <c:v>1709.8328988668761</c:v>
                </c:pt>
                <c:pt idx="1410">
                  <c:v>1726.944707691139</c:v>
                </c:pt>
                <c:pt idx="1411">
                  <c:v>1709.8044594721014</c:v>
                </c:pt>
                <c:pt idx="1412">
                  <c:v>1701.812508258352</c:v>
                </c:pt>
                <c:pt idx="1413">
                  <c:v>1684.484953810037</c:v>
                </c:pt>
                <c:pt idx="1414">
                  <c:v>1696.828219930142</c:v>
                </c:pt>
                <c:pt idx="1415">
                  <c:v>1702.7117619211272</c:v>
                </c:pt>
                <c:pt idx="1416">
                  <c:v>1695.6961132535348</c:v>
                </c:pt>
                <c:pt idx="1417">
                  <c:v>1689.8701063458248</c:v>
                </c:pt>
                <c:pt idx="1418">
                  <c:v>1675.1549947015114</c:v>
                </c:pt>
                <c:pt idx="1419">
                  <c:v>1678.3875913232614</c:v>
                </c:pt>
                <c:pt idx="1420">
                  <c:v>1684.9629544068268</c:v>
                </c:pt>
                <c:pt idx="1421">
                  <c:v>1684.4080361854003</c:v>
                </c:pt>
                <c:pt idx="1422">
                  <c:v>1697.3347474275367</c:v>
                </c:pt>
                <c:pt idx="1423">
                  <c:v>1707.4073247630015</c:v>
                </c:pt>
                <c:pt idx="1424">
                  <c:v>1704.3715287530924</c:v>
                </c:pt>
                <c:pt idx="1425">
                  <c:v>1706.5318289330919</c:v>
                </c:pt>
                <c:pt idx="1426">
                  <c:v>1707.5665416208246</c:v>
                </c:pt>
                <c:pt idx="1427">
                  <c:v>1702.4365123326234</c:v>
                </c:pt>
                <c:pt idx="1428">
                  <c:v>1736.2124064015657</c:v>
                </c:pt>
                <c:pt idx="1429">
                  <c:v>1744.6677884913975</c:v>
                </c:pt>
                <c:pt idx="1430">
                  <c:v>1768.405144992774</c:v>
                </c:pt>
                <c:pt idx="1431">
                  <c:v>1764.4599446438008</c:v>
                </c:pt>
                <c:pt idx="1432">
                  <c:v>1761.9952991867972</c:v>
                </c:pt>
                <c:pt idx="1433">
                  <c:v>1757.6651606913199</c:v>
                </c:pt>
                <c:pt idx="1434">
                  <c:v>1735.7202298603033</c:v>
                </c:pt>
                <c:pt idx="1435">
                  <c:v>1747.0355649945066</c:v>
                </c:pt>
                <c:pt idx="1436">
                  <c:v>1746.1206915410628</c:v>
                </c:pt>
                <c:pt idx="1437">
                  <c:v>1761.487065325716</c:v>
                </c:pt>
                <c:pt idx="1438">
                  <c:v>1759.7544061372973</c:v>
                </c:pt>
                <c:pt idx="1439">
                  <c:v>1785.8335936631663</c:v>
                </c:pt>
                <c:pt idx="1440">
                  <c:v>1792.3740856734464</c:v>
                </c:pt>
                <c:pt idx="1441">
                  <c:v>1816.7263893956817</c:v>
                </c:pt>
                <c:pt idx="1442">
                  <c:v>1813.5429710504345</c:v>
                </c:pt>
                <c:pt idx="1443">
                  <c:v>1806.6871080285607</c:v>
                </c:pt>
                <c:pt idx="1444">
                  <c:v>1820.2207597081037</c:v>
                </c:pt>
                <c:pt idx="1445">
                  <c:v>1799.2586506075854</c:v>
                </c:pt>
                <c:pt idx="1446">
                  <c:v>1822.0331367077215</c:v>
                </c:pt>
                <c:pt idx="1447">
                  <c:v>1821.5147521703518</c:v>
                </c:pt>
                <c:pt idx="1448">
                  <c:v>1839.3674291049524</c:v>
                </c:pt>
                <c:pt idx="1449">
                  <c:v>1833.1973492733837</c:v>
                </c:pt>
                <c:pt idx="1450">
                  <c:v>1823.0677618896245</c:v>
                </c:pt>
                <c:pt idx="1451">
                  <c:v>1815.327433690258</c:v>
                </c:pt>
                <c:pt idx="1452">
                  <c:v>1817.8679904548528</c:v>
                </c:pt>
              </c:numCache>
            </c:numRef>
          </c:val>
          <c:smooth val="0"/>
          <c:extLst>
            <c:ext xmlns:c16="http://schemas.microsoft.com/office/drawing/2014/chart" uri="{C3380CC4-5D6E-409C-BE32-E72D297353CC}">
              <c16:uniqueId val="{00000002-9C55-4414-BEA8-148356EDEE1D}"/>
            </c:ext>
          </c:extLst>
        </c:ser>
        <c:dLbls>
          <c:showLegendKey val="0"/>
          <c:showVal val="0"/>
          <c:showCatName val="0"/>
          <c:showSerName val="0"/>
          <c:showPercent val="0"/>
          <c:showBubbleSize val="0"/>
        </c:dLbls>
        <c:smooth val="0"/>
        <c:axId val="1210757055"/>
        <c:axId val="1210487183"/>
      </c:lineChart>
      <c:dateAx>
        <c:axId val="1210757055"/>
        <c:scaling>
          <c:orientation val="minMax"/>
        </c:scaling>
        <c:delete val="1"/>
        <c:axPos val="b"/>
        <c:numFmt formatCode="yyyy/mm/dd;@" sourceLinked="1"/>
        <c:majorTickMark val="none"/>
        <c:minorTickMark val="none"/>
        <c:tickLblPos val="nextTo"/>
        <c:crossAx val="1210487183"/>
        <c:crosses val="autoZero"/>
        <c:auto val="1"/>
        <c:lblOffset val="100"/>
        <c:baseTimeUnit val="days"/>
      </c:dateAx>
      <c:valAx>
        <c:axId val="1210487183"/>
        <c:scaling>
          <c:orientation val="minMax"/>
        </c:scaling>
        <c:delete val="0"/>
        <c:axPos val="l"/>
        <c:majorGridlines>
          <c:spPr>
            <a:ln w="9525" cap="flat" cmpd="sng" algn="ctr">
              <a:solidFill>
                <a:schemeClr val="bg1"/>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de-DE"/>
          </a:p>
        </c:txPr>
        <c:crossAx val="1210757055"/>
        <c:crosses val="autoZero"/>
        <c:crossBetween val="between"/>
      </c:valAx>
      <c:spPr>
        <a:blipFill>
          <a:blip xmlns:r="http://schemas.openxmlformats.org/officeDocument/2006/relationships" r:embed="rId3"/>
          <a:stretch>
            <a:fillRect/>
          </a:stretch>
        </a:blip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Rest von Welt</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8</c:v>
                </c:pt>
                <c:pt idx="1">
                  <c:v>2030</c:v>
                </c:pt>
              </c:numCache>
            </c:numRef>
          </c:cat>
          <c:val>
            <c:numRef>
              <c:f>Sheet1!$B$2:$B$3</c:f>
              <c:numCache>
                <c:formatCode>0%</c:formatCode>
                <c:ptCount val="2"/>
                <c:pt idx="0">
                  <c:v>0.04</c:v>
                </c:pt>
                <c:pt idx="1">
                  <c:v>0.17</c:v>
                </c:pt>
              </c:numCache>
            </c:numRef>
          </c:val>
          <c:extLst>
            <c:ext xmlns:c16="http://schemas.microsoft.com/office/drawing/2014/chart" uri="{C3380CC4-5D6E-409C-BE32-E72D297353CC}">
              <c16:uniqueId val="{00000000-03F5-E942-9D05-40C6B2ADE4D7}"/>
            </c:ext>
          </c:extLst>
        </c:ser>
        <c:ser>
          <c:idx val="1"/>
          <c:order val="1"/>
          <c:tx>
            <c:strRef>
              <c:f>Sheet1!$C$1</c:f>
              <c:strCache>
                <c:ptCount val="1"/>
                <c:pt idx="0">
                  <c:v>Europa2</c:v>
                </c:pt>
              </c:strCache>
            </c:strRef>
          </c:tx>
          <c:spPr>
            <a:solidFill>
              <a:schemeClr val="accent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8</c:v>
                </c:pt>
                <c:pt idx="1">
                  <c:v>2030</c:v>
                </c:pt>
              </c:numCache>
            </c:numRef>
          </c:cat>
          <c:val>
            <c:numRef>
              <c:f>Sheet1!$C$2:$C$3</c:f>
              <c:numCache>
                <c:formatCode>0%</c:formatCode>
                <c:ptCount val="2"/>
                <c:pt idx="0">
                  <c:v>0.19</c:v>
                </c:pt>
                <c:pt idx="1">
                  <c:v>0.14000000000000001</c:v>
                </c:pt>
              </c:numCache>
            </c:numRef>
          </c:val>
          <c:extLst>
            <c:ext xmlns:c16="http://schemas.microsoft.com/office/drawing/2014/chart" uri="{C3380CC4-5D6E-409C-BE32-E72D297353CC}">
              <c16:uniqueId val="{00000001-03F5-E942-9D05-40C6B2ADE4D7}"/>
            </c:ext>
          </c:extLst>
        </c:ser>
        <c:ser>
          <c:idx val="2"/>
          <c:order val="2"/>
          <c:tx>
            <c:strRef>
              <c:f>Sheet1!$D$1</c:f>
              <c:strCache>
                <c:ptCount val="1"/>
                <c:pt idx="0">
                  <c:v>Nordamerika</c:v>
                </c:pt>
              </c:strCache>
            </c:strRef>
          </c:tx>
          <c:spPr>
            <a:solidFill>
              <a:schemeClr val="accent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8</c:v>
                </c:pt>
                <c:pt idx="1">
                  <c:v>2030</c:v>
                </c:pt>
              </c:numCache>
            </c:numRef>
          </c:cat>
          <c:val>
            <c:numRef>
              <c:f>Sheet1!$D$2:$D$3</c:f>
              <c:numCache>
                <c:formatCode>0%</c:formatCode>
                <c:ptCount val="2"/>
                <c:pt idx="0">
                  <c:v>0.46</c:v>
                </c:pt>
                <c:pt idx="1">
                  <c:v>0.25</c:v>
                </c:pt>
              </c:numCache>
            </c:numRef>
          </c:val>
          <c:extLst>
            <c:ext xmlns:c16="http://schemas.microsoft.com/office/drawing/2014/chart" uri="{C3380CC4-5D6E-409C-BE32-E72D297353CC}">
              <c16:uniqueId val="{00000003-03F5-E942-9D05-40C6B2ADE4D7}"/>
            </c:ext>
          </c:extLst>
        </c:ser>
        <c:ser>
          <c:idx val="3"/>
          <c:order val="3"/>
          <c:tx>
            <c:strRef>
              <c:f>Sheet1!$E$1</c:f>
              <c:strCache>
                <c:ptCount val="1"/>
                <c:pt idx="0">
                  <c:v>Rest von Asien</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8</c:v>
                </c:pt>
                <c:pt idx="1">
                  <c:v>2030</c:v>
                </c:pt>
              </c:numCache>
            </c:numRef>
          </c:cat>
          <c:val>
            <c:numRef>
              <c:f>Sheet1!$E$2:$E$3</c:f>
              <c:numCache>
                <c:formatCode>0%</c:formatCode>
                <c:ptCount val="2"/>
                <c:pt idx="0">
                  <c:v>0.17</c:v>
                </c:pt>
                <c:pt idx="1">
                  <c:v>0.16</c:v>
                </c:pt>
              </c:numCache>
            </c:numRef>
          </c:val>
          <c:extLst>
            <c:ext xmlns:c16="http://schemas.microsoft.com/office/drawing/2014/chart" uri="{C3380CC4-5D6E-409C-BE32-E72D297353CC}">
              <c16:uniqueId val="{00000004-03F5-E942-9D05-40C6B2ADE4D7}"/>
            </c:ext>
          </c:extLst>
        </c:ser>
        <c:ser>
          <c:idx val="4"/>
          <c:order val="4"/>
          <c:tx>
            <c:strRef>
              <c:f>Sheet1!$F$1</c:f>
              <c:strCache>
                <c:ptCount val="1"/>
                <c:pt idx="0">
                  <c:v>China</c:v>
                </c:pt>
              </c:strCache>
            </c:strRef>
          </c:tx>
          <c:spPr>
            <a:solidFill>
              <a:schemeClr val="accent2">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8</c:v>
                </c:pt>
                <c:pt idx="1">
                  <c:v>2030</c:v>
                </c:pt>
              </c:numCache>
            </c:numRef>
          </c:cat>
          <c:val>
            <c:numRef>
              <c:f>Sheet1!$F$2:$F$3</c:f>
              <c:numCache>
                <c:formatCode>0%</c:formatCode>
                <c:ptCount val="2"/>
                <c:pt idx="0">
                  <c:v>0.14000000000000001</c:v>
                </c:pt>
                <c:pt idx="1">
                  <c:v>0.28000000000000003</c:v>
                </c:pt>
              </c:numCache>
            </c:numRef>
          </c:val>
          <c:extLst>
            <c:ext xmlns:c16="http://schemas.microsoft.com/office/drawing/2014/chart" uri="{C3380CC4-5D6E-409C-BE32-E72D297353CC}">
              <c16:uniqueId val="{00000005-03F5-E942-9D05-40C6B2ADE4D7}"/>
            </c:ext>
          </c:extLst>
        </c:ser>
        <c:dLbls>
          <c:showLegendKey val="0"/>
          <c:showVal val="0"/>
          <c:showCatName val="0"/>
          <c:showSerName val="0"/>
          <c:showPercent val="0"/>
          <c:showBubbleSize val="0"/>
        </c:dLbls>
        <c:gapWidth val="219"/>
        <c:overlap val="100"/>
        <c:axId val="2062779407"/>
        <c:axId val="2146038831"/>
      </c:barChart>
      <c:catAx>
        <c:axId val="20627794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146038831"/>
        <c:crosses val="autoZero"/>
        <c:auto val="1"/>
        <c:lblAlgn val="ctr"/>
        <c:lblOffset val="100"/>
        <c:noMultiLvlLbl val="0"/>
      </c:catAx>
      <c:valAx>
        <c:axId val="2146038831"/>
        <c:scaling>
          <c:orientation val="minMax"/>
        </c:scaling>
        <c:delete val="1"/>
        <c:axPos val="l"/>
        <c:numFmt formatCode="0%" sourceLinked="1"/>
        <c:majorTickMark val="none"/>
        <c:minorTickMark val="none"/>
        <c:tickLblPos val="nextTo"/>
        <c:crossAx val="20627794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706" name="Rectangle 2"/>
          <p:cNvSpPr>
            <a:spLocks noGrp="1" noChangeArrowheads="1"/>
          </p:cNvSpPr>
          <p:nvPr>
            <p:ph type="hdr" sz="quarter"/>
          </p:nvPr>
        </p:nvSpPr>
        <p:spPr bwMode="auto">
          <a:xfrm>
            <a:off x="3" y="10"/>
            <a:ext cx="3077137" cy="513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795" tIns="46896" rIns="93795" bIns="46896" numCol="1" anchor="t" anchorCtr="0" compatLnSpc="1">
            <a:prstTxWarp prst="textNoShape">
              <a:avLst/>
            </a:prstTxWarp>
          </a:bodyPr>
          <a:lstStyle>
            <a:lvl1pPr defTabSz="940553">
              <a:defRPr sz="1300"/>
            </a:lvl1pPr>
          </a:lstStyle>
          <a:p>
            <a:pPr>
              <a:defRPr/>
            </a:pPr>
            <a:endParaRPr lang="de-DE" dirty="0"/>
          </a:p>
        </p:txBody>
      </p:sp>
      <p:sp>
        <p:nvSpPr>
          <p:cNvPr id="72707" name="Rectangle 3"/>
          <p:cNvSpPr>
            <a:spLocks noGrp="1" noChangeArrowheads="1"/>
          </p:cNvSpPr>
          <p:nvPr>
            <p:ph type="dt" sz="quarter" idx="1"/>
          </p:nvPr>
        </p:nvSpPr>
        <p:spPr bwMode="auto">
          <a:xfrm>
            <a:off x="4022166" y="10"/>
            <a:ext cx="3077137" cy="513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795" tIns="46896" rIns="93795" bIns="46896" numCol="1" anchor="t" anchorCtr="0" compatLnSpc="1">
            <a:prstTxWarp prst="textNoShape">
              <a:avLst/>
            </a:prstTxWarp>
          </a:bodyPr>
          <a:lstStyle>
            <a:lvl1pPr algn="r" defTabSz="940553">
              <a:defRPr sz="1300"/>
            </a:lvl1pPr>
          </a:lstStyle>
          <a:p>
            <a:pPr>
              <a:defRPr/>
            </a:pPr>
            <a:endParaRPr lang="de-DE" dirty="0"/>
          </a:p>
        </p:txBody>
      </p:sp>
      <p:sp>
        <p:nvSpPr>
          <p:cNvPr id="72708" name="Rectangle 4"/>
          <p:cNvSpPr>
            <a:spLocks noGrp="1" noChangeArrowheads="1"/>
          </p:cNvSpPr>
          <p:nvPr>
            <p:ph type="ftr" sz="quarter" idx="2"/>
          </p:nvPr>
        </p:nvSpPr>
        <p:spPr bwMode="auto">
          <a:xfrm>
            <a:off x="3" y="9720679"/>
            <a:ext cx="3077137" cy="513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795" tIns="46896" rIns="93795" bIns="46896" numCol="1" anchor="b" anchorCtr="0" compatLnSpc="1">
            <a:prstTxWarp prst="textNoShape">
              <a:avLst/>
            </a:prstTxWarp>
          </a:bodyPr>
          <a:lstStyle>
            <a:lvl1pPr defTabSz="940553">
              <a:defRPr sz="1300"/>
            </a:lvl1pPr>
          </a:lstStyle>
          <a:p>
            <a:pPr>
              <a:defRPr/>
            </a:pPr>
            <a:endParaRPr lang="de-DE" dirty="0"/>
          </a:p>
        </p:txBody>
      </p:sp>
      <p:sp>
        <p:nvSpPr>
          <p:cNvPr id="72709" name="Rectangle 5"/>
          <p:cNvSpPr>
            <a:spLocks noGrp="1" noChangeArrowheads="1"/>
          </p:cNvSpPr>
          <p:nvPr>
            <p:ph type="sldNum" sz="quarter" idx="3"/>
          </p:nvPr>
        </p:nvSpPr>
        <p:spPr bwMode="auto">
          <a:xfrm>
            <a:off x="4022166" y="9720679"/>
            <a:ext cx="3077137" cy="513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795" tIns="46896" rIns="93795" bIns="46896" numCol="1" anchor="b" anchorCtr="0" compatLnSpc="1">
            <a:prstTxWarp prst="textNoShape">
              <a:avLst/>
            </a:prstTxWarp>
          </a:bodyPr>
          <a:lstStyle>
            <a:lvl1pPr algn="r" defTabSz="940553">
              <a:defRPr sz="1300"/>
            </a:lvl1pPr>
          </a:lstStyle>
          <a:p>
            <a:pPr>
              <a:defRPr/>
            </a:pPr>
            <a:fld id="{0C1A5BCA-76D6-4985-BD5A-31B9FC28505D}" type="slidenum">
              <a:rPr lang="de-DE"/>
              <a:pPr>
                <a:defRPr/>
              </a:pPr>
              <a:t>‹Nr.›</a:t>
            </a:fld>
            <a:endParaRPr lang="de-DE" dirty="0"/>
          </a:p>
        </p:txBody>
      </p:sp>
    </p:spTree>
    <p:extLst>
      <p:ext uri="{BB962C8B-B14F-4D97-AF65-F5344CB8AC3E}">
        <p14:creationId xmlns:p14="http://schemas.microsoft.com/office/powerpoint/2010/main" val="41746278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3" y="10"/>
            <a:ext cx="3077137" cy="513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795" tIns="46896" rIns="93795" bIns="46896" numCol="1" anchor="t" anchorCtr="0" compatLnSpc="1">
            <a:prstTxWarp prst="textNoShape">
              <a:avLst/>
            </a:prstTxWarp>
          </a:bodyPr>
          <a:lstStyle>
            <a:lvl1pPr defTabSz="940553">
              <a:defRPr sz="1300"/>
            </a:lvl1pPr>
          </a:lstStyle>
          <a:p>
            <a:pPr>
              <a:defRPr/>
            </a:pPr>
            <a:endParaRPr lang="de-DE" dirty="0"/>
          </a:p>
        </p:txBody>
      </p:sp>
      <p:sp>
        <p:nvSpPr>
          <p:cNvPr id="26627" name="Rectangle 3"/>
          <p:cNvSpPr>
            <a:spLocks noGrp="1" noChangeArrowheads="1"/>
          </p:cNvSpPr>
          <p:nvPr>
            <p:ph type="dt" idx="1"/>
          </p:nvPr>
        </p:nvSpPr>
        <p:spPr bwMode="auto">
          <a:xfrm>
            <a:off x="4022167" y="10"/>
            <a:ext cx="3075480" cy="513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795" tIns="46896" rIns="93795" bIns="46896" numCol="1" anchor="t" anchorCtr="0" compatLnSpc="1">
            <a:prstTxWarp prst="textNoShape">
              <a:avLst/>
            </a:prstTxWarp>
          </a:bodyPr>
          <a:lstStyle>
            <a:lvl1pPr algn="r" defTabSz="940553">
              <a:defRPr sz="1300"/>
            </a:lvl1pPr>
          </a:lstStyle>
          <a:p>
            <a:pPr>
              <a:defRPr/>
            </a:pPr>
            <a:endParaRPr lang="de-DE" dirty="0"/>
          </a:p>
        </p:txBody>
      </p:sp>
      <p:sp>
        <p:nvSpPr>
          <p:cNvPr id="20484" name="Rectangle 4"/>
          <p:cNvSpPr>
            <a:spLocks noGrp="1" noRot="1" noChangeAspect="1" noChangeArrowheads="1" noTextEdit="1"/>
          </p:cNvSpPr>
          <p:nvPr>
            <p:ph type="sldImg" idx="2"/>
          </p:nvPr>
        </p:nvSpPr>
        <p:spPr bwMode="auto">
          <a:xfrm>
            <a:off x="996950" y="766763"/>
            <a:ext cx="5121275" cy="3840162"/>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6629" name="Rectangle 5"/>
          <p:cNvSpPr>
            <a:spLocks noGrp="1" noChangeArrowheads="1"/>
          </p:cNvSpPr>
          <p:nvPr>
            <p:ph type="body" sz="quarter" idx="3"/>
          </p:nvPr>
        </p:nvSpPr>
        <p:spPr bwMode="auto">
          <a:xfrm>
            <a:off x="707942" y="4862801"/>
            <a:ext cx="5683419" cy="4605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795" tIns="46896" rIns="93795" bIns="46896" numCol="1" anchor="t" anchorCtr="0" compatLnSpc="1">
            <a:prstTxWarp prst="textNoShape">
              <a:avLst/>
            </a:prstTxWarp>
          </a:body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26630" name="Rectangle 6"/>
          <p:cNvSpPr>
            <a:spLocks noGrp="1" noChangeArrowheads="1"/>
          </p:cNvSpPr>
          <p:nvPr>
            <p:ph type="ftr" sz="quarter" idx="4"/>
          </p:nvPr>
        </p:nvSpPr>
        <p:spPr bwMode="auto">
          <a:xfrm>
            <a:off x="3" y="9719040"/>
            <a:ext cx="3077137" cy="513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795" tIns="46896" rIns="93795" bIns="46896" numCol="1" anchor="b" anchorCtr="0" compatLnSpc="1">
            <a:prstTxWarp prst="textNoShape">
              <a:avLst/>
            </a:prstTxWarp>
          </a:bodyPr>
          <a:lstStyle>
            <a:lvl1pPr defTabSz="940553">
              <a:defRPr sz="1300"/>
            </a:lvl1pPr>
          </a:lstStyle>
          <a:p>
            <a:pPr>
              <a:defRPr/>
            </a:pPr>
            <a:endParaRPr lang="de-DE" dirty="0"/>
          </a:p>
        </p:txBody>
      </p:sp>
      <p:sp>
        <p:nvSpPr>
          <p:cNvPr id="26631" name="Rectangle 7"/>
          <p:cNvSpPr>
            <a:spLocks noGrp="1" noChangeArrowheads="1"/>
          </p:cNvSpPr>
          <p:nvPr>
            <p:ph type="sldNum" sz="quarter" idx="5"/>
          </p:nvPr>
        </p:nvSpPr>
        <p:spPr bwMode="auto">
          <a:xfrm>
            <a:off x="4022167" y="9719040"/>
            <a:ext cx="3075480" cy="513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795" tIns="46896" rIns="93795" bIns="46896" numCol="1" anchor="b" anchorCtr="0" compatLnSpc="1">
            <a:prstTxWarp prst="textNoShape">
              <a:avLst/>
            </a:prstTxWarp>
          </a:bodyPr>
          <a:lstStyle>
            <a:lvl1pPr algn="r" defTabSz="940553">
              <a:defRPr sz="1300"/>
            </a:lvl1pPr>
          </a:lstStyle>
          <a:p>
            <a:pPr>
              <a:defRPr/>
            </a:pPr>
            <a:fld id="{B0581BE7-8BF3-48E0-B309-12BB01EFC002}" type="slidenum">
              <a:rPr lang="de-DE"/>
              <a:pPr>
                <a:defRPr/>
              </a:pPr>
              <a:t>‹Nr.›</a:t>
            </a:fld>
            <a:endParaRPr lang="de-DE" dirty="0"/>
          </a:p>
        </p:txBody>
      </p:sp>
    </p:spTree>
    <p:extLst>
      <p:ext uri="{BB962C8B-B14F-4D97-AF65-F5344CB8AC3E}">
        <p14:creationId xmlns:p14="http://schemas.microsoft.com/office/powerpoint/2010/main" val="427163189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Gill Sans MT Light" pitchFamily="34" charset="0"/>
        <a:ea typeface="+mn-ea"/>
        <a:cs typeface="+mn-cs"/>
      </a:defRPr>
    </a:lvl1pPr>
    <a:lvl2pPr marL="457115" algn="l" rtl="0" eaLnBrk="0" fontAlgn="base" hangingPunct="0">
      <a:spcBef>
        <a:spcPct val="30000"/>
      </a:spcBef>
      <a:spcAft>
        <a:spcPct val="0"/>
      </a:spcAft>
      <a:defRPr sz="1200" kern="1200">
        <a:solidFill>
          <a:schemeClr val="tx1"/>
        </a:solidFill>
        <a:latin typeface="Gill Sans MT Light" pitchFamily="34" charset="0"/>
        <a:ea typeface="+mn-ea"/>
        <a:cs typeface="+mn-cs"/>
      </a:defRPr>
    </a:lvl2pPr>
    <a:lvl3pPr marL="914226" algn="l" rtl="0" eaLnBrk="0" fontAlgn="base" hangingPunct="0">
      <a:spcBef>
        <a:spcPct val="30000"/>
      </a:spcBef>
      <a:spcAft>
        <a:spcPct val="0"/>
      </a:spcAft>
      <a:defRPr sz="1200" kern="1200">
        <a:solidFill>
          <a:schemeClr val="tx1"/>
        </a:solidFill>
        <a:latin typeface="Gill Sans MT Light" pitchFamily="34" charset="0"/>
        <a:ea typeface="+mn-ea"/>
        <a:cs typeface="+mn-cs"/>
      </a:defRPr>
    </a:lvl3pPr>
    <a:lvl4pPr marL="1371341" algn="l" rtl="0" eaLnBrk="0" fontAlgn="base" hangingPunct="0">
      <a:spcBef>
        <a:spcPct val="30000"/>
      </a:spcBef>
      <a:spcAft>
        <a:spcPct val="0"/>
      </a:spcAft>
      <a:defRPr sz="1200" kern="1200">
        <a:solidFill>
          <a:schemeClr val="tx1"/>
        </a:solidFill>
        <a:latin typeface="Gill Sans MT Light" pitchFamily="34" charset="0"/>
        <a:ea typeface="+mn-ea"/>
        <a:cs typeface="+mn-cs"/>
      </a:defRPr>
    </a:lvl4pPr>
    <a:lvl5pPr marL="1828454" algn="l" rtl="0" eaLnBrk="0" fontAlgn="base" hangingPunct="0">
      <a:spcBef>
        <a:spcPct val="30000"/>
      </a:spcBef>
      <a:spcAft>
        <a:spcPct val="0"/>
      </a:spcAft>
      <a:defRPr sz="1200" kern="1200">
        <a:solidFill>
          <a:schemeClr val="tx1"/>
        </a:solidFill>
        <a:latin typeface="Gill Sans MT Light" pitchFamily="34" charset="0"/>
        <a:ea typeface="+mn-ea"/>
        <a:cs typeface="+mn-cs"/>
      </a:defRPr>
    </a:lvl5pPr>
    <a:lvl6pPr marL="2285566" algn="l" defTabSz="914226" rtl="0" eaLnBrk="1" latinLnBrk="0" hangingPunct="1">
      <a:defRPr sz="1200" kern="1200">
        <a:solidFill>
          <a:schemeClr val="tx1"/>
        </a:solidFill>
        <a:latin typeface="+mn-lt"/>
        <a:ea typeface="+mn-ea"/>
        <a:cs typeface="+mn-cs"/>
      </a:defRPr>
    </a:lvl6pPr>
    <a:lvl7pPr marL="2742681" algn="l" defTabSz="914226" rtl="0" eaLnBrk="1" latinLnBrk="0" hangingPunct="1">
      <a:defRPr sz="1200" kern="1200">
        <a:solidFill>
          <a:schemeClr val="tx1"/>
        </a:solidFill>
        <a:latin typeface="+mn-lt"/>
        <a:ea typeface="+mn-ea"/>
        <a:cs typeface="+mn-cs"/>
      </a:defRPr>
    </a:lvl7pPr>
    <a:lvl8pPr marL="3199795" algn="l" defTabSz="914226" rtl="0" eaLnBrk="1" latinLnBrk="0" hangingPunct="1">
      <a:defRPr sz="1200" kern="1200">
        <a:solidFill>
          <a:schemeClr val="tx1"/>
        </a:solidFill>
        <a:latin typeface="+mn-lt"/>
        <a:ea typeface="+mn-ea"/>
        <a:cs typeface="+mn-cs"/>
      </a:defRPr>
    </a:lvl8pPr>
    <a:lvl9pPr marL="3656908" algn="l" defTabSz="91422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a:noFill/>
        </p:spPr>
        <p:txBody>
          <a:bodyPr/>
          <a:lstStyle>
            <a:lvl1pPr defTabSz="937208">
              <a:defRPr sz="1300">
                <a:solidFill>
                  <a:schemeClr val="tx1"/>
                </a:solidFill>
                <a:latin typeface="Gill Sans MT Light" pitchFamily="34" charset="0"/>
              </a:defRPr>
            </a:lvl1pPr>
            <a:lvl2pPr marL="769495" indent="-295958" defTabSz="937208">
              <a:defRPr sz="1300">
                <a:solidFill>
                  <a:schemeClr val="tx1"/>
                </a:solidFill>
                <a:latin typeface="Gill Sans MT Light" pitchFamily="34" charset="0"/>
              </a:defRPr>
            </a:lvl2pPr>
            <a:lvl3pPr marL="1183841" indent="-236767" defTabSz="937208">
              <a:defRPr sz="1300">
                <a:solidFill>
                  <a:schemeClr val="tx1"/>
                </a:solidFill>
                <a:latin typeface="Gill Sans MT Light" pitchFamily="34" charset="0"/>
              </a:defRPr>
            </a:lvl3pPr>
            <a:lvl4pPr marL="1657378" indent="-236767" defTabSz="937208">
              <a:defRPr sz="1300">
                <a:solidFill>
                  <a:schemeClr val="tx1"/>
                </a:solidFill>
                <a:latin typeface="Gill Sans MT Light" pitchFamily="34" charset="0"/>
              </a:defRPr>
            </a:lvl4pPr>
            <a:lvl5pPr marL="2130911" indent="-236767" defTabSz="937208">
              <a:defRPr sz="1300">
                <a:solidFill>
                  <a:schemeClr val="tx1"/>
                </a:solidFill>
                <a:latin typeface="Gill Sans MT Light" pitchFamily="34" charset="0"/>
              </a:defRPr>
            </a:lvl5pPr>
            <a:lvl6pPr marL="2604451" indent="-236767" defTabSz="937208" eaLnBrk="0" fontAlgn="base" hangingPunct="0">
              <a:spcBef>
                <a:spcPct val="0"/>
              </a:spcBef>
              <a:spcAft>
                <a:spcPct val="0"/>
              </a:spcAft>
              <a:defRPr sz="1300">
                <a:solidFill>
                  <a:schemeClr val="tx1"/>
                </a:solidFill>
                <a:latin typeface="Gill Sans MT Light" pitchFamily="34" charset="0"/>
              </a:defRPr>
            </a:lvl6pPr>
            <a:lvl7pPr marL="3077989" indent="-236767" defTabSz="937208" eaLnBrk="0" fontAlgn="base" hangingPunct="0">
              <a:spcBef>
                <a:spcPct val="0"/>
              </a:spcBef>
              <a:spcAft>
                <a:spcPct val="0"/>
              </a:spcAft>
              <a:defRPr sz="1300">
                <a:solidFill>
                  <a:schemeClr val="tx1"/>
                </a:solidFill>
                <a:latin typeface="Gill Sans MT Light" pitchFamily="34" charset="0"/>
              </a:defRPr>
            </a:lvl7pPr>
            <a:lvl8pPr marL="3551522" indent="-236767" defTabSz="937208" eaLnBrk="0" fontAlgn="base" hangingPunct="0">
              <a:spcBef>
                <a:spcPct val="0"/>
              </a:spcBef>
              <a:spcAft>
                <a:spcPct val="0"/>
              </a:spcAft>
              <a:defRPr sz="1300">
                <a:solidFill>
                  <a:schemeClr val="tx1"/>
                </a:solidFill>
                <a:latin typeface="Gill Sans MT Light" pitchFamily="34" charset="0"/>
              </a:defRPr>
            </a:lvl8pPr>
            <a:lvl9pPr marL="4025058" indent="-236767" defTabSz="937208" eaLnBrk="0" fontAlgn="base" hangingPunct="0">
              <a:spcBef>
                <a:spcPct val="0"/>
              </a:spcBef>
              <a:spcAft>
                <a:spcPct val="0"/>
              </a:spcAft>
              <a:defRPr sz="1300">
                <a:solidFill>
                  <a:schemeClr val="tx1"/>
                </a:solidFill>
                <a:latin typeface="Gill Sans MT Light" pitchFamily="34" charset="0"/>
              </a:defRPr>
            </a:lvl9pPr>
          </a:lstStyle>
          <a:p>
            <a:fld id="{007374F6-943A-42EB-BFC2-3648B0FE7E0B}" type="slidenum">
              <a:rPr lang="de-DE"/>
              <a:pPr/>
              <a:t>0</a:t>
            </a:fld>
            <a:endParaRPr lang="de-DE" dirty="0"/>
          </a:p>
        </p:txBody>
      </p:sp>
      <p:sp>
        <p:nvSpPr>
          <p:cNvPr id="21507" name="Rectangle 2"/>
          <p:cNvSpPr>
            <a:spLocks noGrp="1" noRot="1" noChangeAspect="1" noChangeArrowheads="1" noTextEdit="1"/>
          </p:cNvSpPr>
          <p:nvPr>
            <p:ph type="sldImg"/>
          </p:nvPr>
        </p:nvSpPr>
        <p:spPr>
          <a:xfrm>
            <a:off x="996950" y="766763"/>
            <a:ext cx="5121275" cy="3840162"/>
          </a:xfrm>
          <a:ln/>
        </p:spPr>
      </p:sp>
      <p:sp>
        <p:nvSpPr>
          <p:cNvPr id="21508" name="Rectangle 3"/>
          <p:cNvSpPr>
            <a:spLocks noGrp="1" noChangeArrowheads="1"/>
          </p:cNvSpPr>
          <p:nvPr>
            <p:ph type="body" idx="1"/>
          </p:nvPr>
        </p:nvSpPr>
        <p:spPr>
          <a:noFill/>
        </p:spPr>
        <p:txBody>
          <a:bodyPr/>
          <a:lstStyle/>
          <a:p>
            <a:pPr eaLnBrk="1" hangingPunct="1"/>
            <a:endParaRPr lang="de-DE" dirty="0"/>
          </a:p>
        </p:txBody>
      </p:sp>
    </p:spTree>
    <p:extLst>
      <p:ext uri="{BB962C8B-B14F-4D97-AF65-F5344CB8AC3E}">
        <p14:creationId xmlns:p14="http://schemas.microsoft.com/office/powerpoint/2010/main" val="3332575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0A5E93F0-B58A-4BD7-A477-788CAA78FA6B}" type="slidenum">
              <a:rPr lang="de-DE" altLang="de-DE">
                <a:solidFill>
                  <a:prstClr val="black"/>
                </a:solidFill>
              </a:rPr>
              <a:pPr/>
              <a:t>20</a:t>
            </a:fld>
            <a:endParaRPr lang="de-DE" altLang="de-DE" dirty="0">
              <a:solidFill>
                <a:prstClr val="black"/>
              </a:solidFill>
            </a:endParaRPr>
          </a:p>
        </p:txBody>
      </p:sp>
      <p:sp>
        <p:nvSpPr>
          <p:cNvPr id="260098" name="Rectangle 2"/>
          <p:cNvSpPr>
            <a:spLocks noGrp="1" noRot="1" noChangeAspect="1" noChangeArrowheads="1" noTextEdit="1"/>
          </p:cNvSpPr>
          <p:nvPr>
            <p:ph type="sldImg"/>
          </p:nvPr>
        </p:nvSpPr>
        <p:spPr bwMode="auto">
          <a:xfrm>
            <a:off x="993775" y="768350"/>
            <a:ext cx="5118100" cy="3838575"/>
          </a:xfrm>
          <a:prstGeom prst="rect">
            <a:avLst/>
          </a:prstGeom>
          <a:noFill/>
          <a:ln cap="flat">
            <a:solidFill>
              <a:srgbClr val="000000"/>
            </a:solidFill>
            <a:miter lim="800000"/>
            <a:headEnd type="none" w="med" len="med"/>
            <a:tailEnd type="none" w="med" len="med"/>
          </a:ln>
          <a:extLst>
            <a:ext uri="{909E8E84-426E-40DD-AFC4-6F175D3DCCD1}">
              <a14:hiddenFill xmlns:a14="http://schemas.microsoft.com/office/drawing/2010/main">
                <a:solidFill>
                  <a:srgbClr val="FFFFFF"/>
                </a:solidFill>
              </a14:hiddenFill>
            </a:ext>
          </a:extLst>
        </p:spPr>
      </p:sp>
      <p:sp>
        <p:nvSpPr>
          <p:cNvPr id="260099" name="Rectangle 3"/>
          <p:cNvSpPr>
            <a:spLocks noGrp="1" noChangeArrowheads="1"/>
          </p:cNvSpPr>
          <p:nvPr>
            <p:ph type="body" idx="1"/>
          </p:nvPr>
        </p:nvSpPr>
        <p:spPr bwMode="auto">
          <a:xfrm>
            <a:off x="709622" y="4864109"/>
            <a:ext cx="5680074" cy="4602162"/>
          </a:xfrm>
          <a:prstGeom prst="rect">
            <a:avLst/>
          </a:prstGeo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91670" tIns="45836" rIns="91670" bIns="45836"/>
          <a:lstStyle/>
          <a:p>
            <a:endParaRPr lang="en-US" altLang="de-DE" dirty="0">
              <a:latin typeface="Verdana" pitchFamily="34" charset="0"/>
            </a:endParaRPr>
          </a:p>
        </p:txBody>
      </p:sp>
      <p:sp>
        <p:nvSpPr>
          <p:cNvPr id="260100" name="Rectangle 7"/>
          <p:cNvSpPr>
            <a:spLocks noGrp="1" noChangeArrowheads="1"/>
          </p:cNvSpPr>
          <p:nvPr/>
        </p:nvSpPr>
        <p:spPr bwMode="auto">
          <a:xfrm>
            <a:off x="4021138" y="9721856"/>
            <a:ext cx="3076576"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670" tIns="45836" rIns="91670" bIns="45836" anchor="b"/>
          <a:lstStyle>
            <a:lvl1pPr defTabSz="912813">
              <a:defRPr sz="2400">
                <a:solidFill>
                  <a:schemeClr val="tx1"/>
                </a:solidFill>
                <a:latin typeface="Times New Roman" pitchFamily="18" charset="0"/>
              </a:defRPr>
            </a:lvl1pPr>
            <a:lvl2pPr marL="742950" indent="-285750" defTabSz="912813">
              <a:defRPr sz="2400">
                <a:solidFill>
                  <a:schemeClr val="tx1"/>
                </a:solidFill>
                <a:latin typeface="Times New Roman" pitchFamily="18" charset="0"/>
              </a:defRPr>
            </a:lvl2pPr>
            <a:lvl3pPr marL="1143000" indent="-228600" defTabSz="912813">
              <a:defRPr sz="2400">
                <a:solidFill>
                  <a:schemeClr val="tx1"/>
                </a:solidFill>
                <a:latin typeface="Times New Roman" pitchFamily="18" charset="0"/>
              </a:defRPr>
            </a:lvl3pPr>
            <a:lvl4pPr marL="1600200" indent="-228600" defTabSz="912813">
              <a:defRPr sz="2400">
                <a:solidFill>
                  <a:schemeClr val="tx1"/>
                </a:solidFill>
                <a:latin typeface="Times New Roman" pitchFamily="18" charset="0"/>
              </a:defRPr>
            </a:lvl4pPr>
            <a:lvl5pPr marL="2057400" indent="-230188" defTabSz="912813">
              <a:defRPr sz="2400">
                <a:solidFill>
                  <a:schemeClr val="tx1"/>
                </a:solidFill>
                <a:latin typeface="Times New Roman" pitchFamily="18" charset="0"/>
              </a:defRPr>
            </a:lvl5pPr>
            <a:lvl6pPr marL="2514600" indent="-230188" defTabSz="912813" eaLnBrk="0" fontAlgn="base" hangingPunct="0">
              <a:spcBef>
                <a:spcPct val="0"/>
              </a:spcBef>
              <a:spcAft>
                <a:spcPct val="0"/>
              </a:spcAft>
              <a:defRPr sz="2400">
                <a:solidFill>
                  <a:schemeClr val="tx1"/>
                </a:solidFill>
                <a:latin typeface="Times New Roman" pitchFamily="18" charset="0"/>
              </a:defRPr>
            </a:lvl6pPr>
            <a:lvl7pPr marL="2971800" indent="-230188" defTabSz="912813" eaLnBrk="0" fontAlgn="base" hangingPunct="0">
              <a:spcBef>
                <a:spcPct val="0"/>
              </a:spcBef>
              <a:spcAft>
                <a:spcPct val="0"/>
              </a:spcAft>
              <a:defRPr sz="2400">
                <a:solidFill>
                  <a:schemeClr val="tx1"/>
                </a:solidFill>
                <a:latin typeface="Times New Roman" pitchFamily="18" charset="0"/>
              </a:defRPr>
            </a:lvl7pPr>
            <a:lvl8pPr marL="3429000" indent="-230188" defTabSz="912813" eaLnBrk="0" fontAlgn="base" hangingPunct="0">
              <a:spcBef>
                <a:spcPct val="0"/>
              </a:spcBef>
              <a:spcAft>
                <a:spcPct val="0"/>
              </a:spcAft>
              <a:defRPr sz="2400">
                <a:solidFill>
                  <a:schemeClr val="tx1"/>
                </a:solidFill>
                <a:latin typeface="Times New Roman" pitchFamily="18" charset="0"/>
              </a:defRPr>
            </a:lvl8pPr>
            <a:lvl9pPr marL="3886200" indent="-230188" defTabSz="912813" eaLnBrk="0" fontAlgn="base" hangingPunct="0">
              <a:spcBef>
                <a:spcPct val="0"/>
              </a:spcBef>
              <a:spcAft>
                <a:spcPct val="0"/>
              </a:spcAft>
              <a:defRPr sz="2400">
                <a:solidFill>
                  <a:schemeClr val="tx1"/>
                </a:solidFill>
                <a:latin typeface="Times New Roman" pitchFamily="18" charset="0"/>
              </a:defRPr>
            </a:lvl9pPr>
          </a:lstStyle>
          <a:p>
            <a:pPr algn="r" eaLnBrk="0" fontAlgn="base" hangingPunct="0">
              <a:spcBef>
                <a:spcPct val="0"/>
              </a:spcBef>
              <a:spcAft>
                <a:spcPct val="0"/>
              </a:spcAft>
            </a:pPr>
            <a:fld id="{36467F1A-BD03-4A67-A53F-4F8E8D8CFF5A}" type="slidenum">
              <a:rPr lang="en-US" altLang="de-DE" sz="1300">
                <a:solidFill>
                  <a:prstClr val="black"/>
                </a:solidFill>
                <a:latin typeface="Arial" charset="0"/>
              </a:rPr>
              <a:pPr algn="r" eaLnBrk="0" fontAlgn="base" hangingPunct="0">
                <a:spcBef>
                  <a:spcPct val="0"/>
                </a:spcBef>
                <a:spcAft>
                  <a:spcPct val="0"/>
                </a:spcAft>
              </a:pPr>
              <a:t>20</a:t>
            </a:fld>
            <a:endParaRPr lang="en-US" altLang="de-DE" sz="1300" dirty="0">
              <a:solidFill>
                <a:prstClr val="black"/>
              </a:solidFill>
              <a:latin typeface="Arial" charset="0"/>
            </a:endParaRPr>
          </a:p>
        </p:txBody>
      </p:sp>
    </p:spTree>
    <p:extLst>
      <p:ext uri="{BB962C8B-B14F-4D97-AF65-F5344CB8AC3E}">
        <p14:creationId xmlns:p14="http://schemas.microsoft.com/office/powerpoint/2010/main" val="19723809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p:spPr>
        <p:txBody>
          <a:bodyPr/>
          <a:lstStyle>
            <a:lvl1pPr defTabSz="937208">
              <a:defRPr sz="1300">
                <a:solidFill>
                  <a:schemeClr val="tx1"/>
                </a:solidFill>
                <a:latin typeface="Gill Sans MT Light" pitchFamily="34" charset="0"/>
              </a:defRPr>
            </a:lvl1pPr>
            <a:lvl2pPr marL="769495" indent="-295958" defTabSz="937208">
              <a:defRPr sz="1300">
                <a:solidFill>
                  <a:schemeClr val="tx1"/>
                </a:solidFill>
                <a:latin typeface="Gill Sans MT Light" pitchFamily="34" charset="0"/>
              </a:defRPr>
            </a:lvl2pPr>
            <a:lvl3pPr marL="1183841" indent="-236767" defTabSz="937208">
              <a:defRPr sz="1300">
                <a:solidFill>
                  <a:schemeClr val="tx1"/>
                </a:solidFill>
                <a:latin typeface="Gill Sans MT Light" pitchFamily="34" charset="0"/>
              </a:defRPr>
            </a:lvl3pPr>
            <a:lvl4pPr marL="1657378" indent="-236767" defTabSz="937208">
              <a:defRPr sz="1300">
                <a:solidFill>
                  <a:schemeClr val="tx1"/>
                </a:solidFill>
                <a:latin typeface="Gill Sans MT Light" pitchFamily="34" charset="0"/>
              </a:defRPr>
            </a:lvl4pPr>
            <a:lvl5pPr marL="2130911" indent="-236767" defTabSz="937208">
              <a:defRPr sz="1300">
                <a:solidFill>
                  <a:schemeClr val="tx1"/>
                </a:solidFill>
                <a:latin typeface="Gill Sans MT Light" pitchFamily="34" charset="0"/>
              </a:defRPr>
            </a:lvl5pPr>
            <a:lvl6pPr marL="2604451" indent="-236767" defTabSz="937208" eaLnBrk="0" fontAlgn="base" hangingPunct="0">
              <a:spcBef>
                <a:spcPct val="0"/>
              </a:spcBef>
              <a:spcAft>
                <a:spcPct val="0"/>
              </a:spcAft>
              <a:defRPr sz="1300">
                <a:solidFill>
                  <a:schemeClr val="tx1"/>
                </a:solidFill>
                <a:latin typeface="Gill Sans MT Light" pitchFamily="34" charset="0"/>
              </a:defRPr>
            </a:lvl6pPr>
            <a:lvl7pPr marL="3077989" indent="-236767" defTabSz="937208" eaLnBrk="0" fontAlgn="base" hangingPunct="0">
              <a:spcBef>
                <a:spcPct val="0"/>
              </a:spcBef>
              <a:spcAft>
                <a:spcPct val="0"/>
              </a:spcAft>
              <a:defRPr sz="1300">
                <a:solidFill>
                  <a:schemeClr val="tx1"/>
                </a:solidFill>
                <a:latin typeface="Gill Sans MT Light" pitchFamily="34" charset="0"/>
              </a:defRPr>
            </a:lvl7pPr>
            <a:lvl8pPr marL="3551522" indent="-236767" defTabSz="937208" eaLnBrk="0" fontAlgn="base" hangingPunct="0">
              <a:spcBef>
                <a:spcPct val="0"/>
              </a:spcBef>
              <a:spcAft>
                <a:spcPct val="0"/>
              </a:spcAft>
              <a:defRPr sz="1300">
                <a:solidFill>
                  <a:schemeClr val="tx1"/>
                </a:solidFill>
                <a:latin typeface="Gill Sans MT Light" pitchFamily="34" charset="0"/>
              </a:defRPr>
            </a:lvl8pPr>
            <a:lvl9pPr marL="4025058" indent="-236767" defTabSz="937208" eaLnBrk="0" fontAlgn="base" hangingPunct="0">
              <a:spcBef>
                <a:spcPct val="0"/>
              </a:spcBef>
              <a:spcAft>
                <a:spcPct val="0"/>
              </a:spcAft>
              <a:defRPr sz="1300">
                <a:solidFill>
                  <a:schemeClr val="tx1"/>
                </a:solidFill>
                <a:latin typeface="Gill Sans MT Light" pitchFamily="34" charset="0"/>
              </a:defRPr>
            </a:lvl9pPr>
          </a:lstStyle>
          <a:p>
            <a:fld id="{77ADCC75-C250-45C7-AB1D-2FE9A5BE37F5}" type="slidenum">
              <a:rPr lang="de-DE"/>
              <a:pPr/>
              <a:t>21</a:t>
            </a:fld>
            <a:endParaRPr lang="de-DE" dirty="0"/>
          </a:p>
        </p:txBody>
      </p:sp>
      <p:sp>
        <p:nvSpPr>
          <p:cNvPr id="22531" name="Rectangle 2"/>
          <p:cNvSpPr>
            <a:spLocks noGrp="1" noRot="1" noChangeAspect="1" noChangeArrowheads="1" noTextEdit="1"/>
          </p:cNvSpPr>
          <p:nvPr>
            <p:ph type="sldImg"/>
          </p:nvPr>
        </p:nvSpPr>
        <p:spPr>
          <a:xfrm>
            <a:off x="996950" y="766763"/>
            <a:ext cx="5121275" cy="3840162"/>
          </a:xfrm>
          <a:ln/>
        </p:spPr>
      </p:sp>
      <p:sp>
        <p:nvSpPr>
          <p:cNvPr id="22532" name="Rectangle 3"/>
          <p:cNvSpPr>
            <a:spLocks noGrp="1" noChangeArrowheads="1"/>
          </p:cNvSpPr>
          <p:nvPr>
            <p:ph type="body" idx="1"/>
          </p:nvPr>
        </p:nvSpPr>
        <p:spPr>
          <a:noFill/>
        </p:spPr>
        <p:txBody>
          <a:bodyPr/>
          <a:lstStyle/>
          <a:p>
            <a:pPr eaLnBrk="1" hangingPunct="1"/>
            <a:endParaRPr lang="de-DE" dirty="0"/>
          </a:p>
        </p:txBody>
      </p:sp>
    </p:spTree>
    <p:extLst>
      <p:ext uri="{BB962C8B-B14F-4D97-AF65-F5344CB8AC3E}">
        <p14:creationId xmlns:p14="http://schemas.microsoft.com/office/powerpoint/2010/main" val="13028171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B0581BE7-8BF3-48E0-B309-12BB01EFC002}" type="slidenum">
              <a:rPr lang="de-DE" smtClean="0"/>
              <a:pPr>
                <a:defRPr/>
              </a:pPr>
              <a:t>23</a:t>
            </a:fld>
            <a:endParaRPr lang="de-DE" dirty="0"/>
          </a:p>
        </p:txBody>
      </p:sp>
    </p:spTree>
    <p:extLst>
      <p:ext uri="{BB962C8B-B14F-4D97-AF65-F5344CB8AC3E}">
        <p14:creationId xmlns:p14="http://schemas.microsoft.com/office/powerpoint/2010/main" val="17136794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p:spPr>
        <p:txBody>
          <a:bodyPr/>
          <a:lstStyle>
            <a:lvl1pPr defTabSz="937208">
              <a:defRPr sz="1300">
                <a:solidFill>
                  <a:schemeClr val="tx1"/>
                </a:solidFill>
                <a:latin typeface="Gill Sans MT Light" pitchFamily="34" charset="0"/>
              </a:defRPr>
            </a:lvl1pPr>
            <a:lvl2pPr marL="769495" indent="-295958" defTabSz="937208">
              <a:defRPr sz="1300">
                <a:solidFill>
                  <a:schemeClr val="tx1"/>
                </a:solidFill>
                <a:latin typeface="Gill Sans MT Light" pitchFamily="34" charset="0"/>
              </a:defRPr>
            </a:lvl2pPr>
            <a:lvl3pPr marL="1183841" indent="-236767" defTabSz="937208">
              <a:defRPr sz="1300">
                <a:solidFill>
                  <a:schemeClr val="tx1"/>
                </a:solidFill>
                <a:latin typeface="Gill Sans MT Light" pitchFamily="34" charset="0"/>
              </a:defRPr>
            </a:lvl3pPr>
            <a:lvl4pPr marL="1657378" indent="-236767" defTabSz="937208">
              <a:defRPr sz="1300">
                <a:solidFill>
                  <a:schemeClr val="tx1"/>
                </a:solidFill>
                <a:latin typeface="Gill Sans MT Light" pitchFamily="34" charset="0"/>
              </a:defRPr>
            </a:lvl4pPr>
            <a:lvl5pPr marL="2130911" indent="-236767" defTabSz="937208">
              <a:defRPr sz="1300">
                <a:solidFill>
                  <a:schemeClr val="tx1"/>
                </a:solidFill>
                <a:latin typeface="Gill Sans MT Light" pitchFamily="34" charset="0"/>
              </a:defRPr>
            </a:lvl5pPr>
            <a:lvl6pPr marL="2604451" indent="-236767" defTabSz="937208" eaLnBrk="0" fontAlgn="base" hangingPunct="0">
              <a:spcBef>
                <a:spcPct val="0"/>
              </a:spcBef>
              <a:spcAft>
                <a:spcPct val="0"/>
              </a:spcAft>
              <a:defRPr sz="1300">
                <a:solidFill>
                  <a:schemeClr val="tx1"/>
                </a:solidFill>
                <a:latin typeface="Gill Sans MT Light" pitchFamily="34" charset="0"/>
              </a:defRPr>
            </a:lvl6pPr>
            <a:lvl7pPr marL="3077989" indent="-236767" defTabSz="937208" eaLnBrk="0" fontAlgn="base" hangingPunct="0">
              <a:spcBef>
                <a:spcPct val="0"/>
              </a:spcBef>
              <a:spcAft>
                <a:spcPct val="0"/>
              </a:spcAft>
              <a:defRPr sz="1300">
                <a:solidFill>
                  <a:schemeClr val="tx1"/>
                </a:solidFill>
                <a:latin typeface="Gill Sans MT Light" pitchFamily="34" charset="0"/>
              </a:defRPr>
            </a:lvl7pPr>
            <a:lvl8pPr marL="3551522" indent="-236767" defTabSz="937208" eaLnBrk="0" fontAlgn="base" hangingPunct="0">
              <a:spcBef>
                <a:spcPct val="0"/>
              </a:spcBef>
              <a:spcAft>
                <a:spcPct val="0"/>
              </a:spcAft>
              <a:defRPr sz="1300">
                <a:solidFill>
                  <a:schemeClr val="tx1"/>
                </a:solidFill>
                <a:latin typeface="Gill Sans MT Light" pitchFamily="34" charset="0"/>
              </a:defRPr>
            </a:lvl8pPr>
            <a:lvl9pPr marL="4025058" indent="-236767" defTabSz="937208" eaLnBrk="0" fontAlgn="base" hangingPunct="0">
              <a:spcBef>
                <a:spcPct val="0"/>
              </a:spcBef>
              <a:spcAft>
                <a:spcPct val="0"/>
              </a:spcAft>
              <a:defRPr sz="1300">
                <a:solidFill>
                  <a:schemeClr val="tx1"/>
                </a:solidFill>
                <a:latin typeface="Gill Sans MT Light" pitchFamily="34" charset="0"/>
              </a:defRPr>
            </a:lvl9pPr>
          </a:lstStyle>
          <a:p>
            <a:fld id="{77ADCC75-C250-45C7-AB1D-2FE9A5BE37F5}" type="slidenum">
              <a:rPr lang="de-DE"/>
              <a:pPr/>
              <a:t>25</a:t>
            </a:fld>
            <a:endParaRPr lang="de-DE" dirty="0"/>
          </a:p>
        </p:txBody>
      </p:sp>
      <p:sp>
        <p:nvSpPr>
          <p:cNvPr id="22531" name="Rectangle 2"/>
          <p:cNvSpPr>
            <a:spLocks noGrp="1" noRot="1" noChangeAspect="1" noChangeArrowheads="1" noTextEdit="1"/>
          </p:cNvSpPr>
          <p:nvPr>
            <p:ph type="sldImg"/>
          </p:nvPr>
        </p:nvSpPr>
        <p:spPr>
          <a:xfrm>
            <a:off x="996950" y="766763"/>
            <a:ext cx="5121275" cy="3840162"/>
          </a:xfrm>
          <a:ln/>
        </p:spPr>
      </p:sp>
      <p:sp>
        <p:nvSpPr>
          <p:cNvPr id="22532" name="Rectangle 3"/>
          <p:cNvSpPr>
            <a:spLocks noGrp="1" noChangeArrowheads="1"/>
          </p:cNvSpPr>
          <p:nvPr>
            <p:ph type="body" idx="1"/>
          </p:nvPr>
        </p:nvSpPr>
        <p:spPr>
          <a:noFill/>
        </p:spPr>
        <p:txBody>
          <a:bodyPr/>
          <a:lstStyle/>
          <a:p>
            <a:pPr eaLnBrk="1" hangingPunct="1"/>
            <a:endParaRPr lang="de-DE" dirty="0"/>
          </a:p>
        </p:txBody>
      </p:sp>
    </p:spTree>
    <p:extLst>
      <p:ext uri="{BB962C8B-B14F-4D97-AF65-F5344CB8AC3E}">
        <p14:creationId xmlns:p14="http://schemas.microsoft.com/office/powerpoint/2010/main" val="18121600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p:spPr>
        <p:txBody>
          <a:bodyPr/>
          <a:lstStyle>
            <a:lvl1pPr defTabSz="937208">
              <a:defRPr sz="1300">
                <a:solidFill>
                  <a:schemeClr val="tx1"/>
                </a:solidFill>
                <a:latin typeface="Gill Sans MT Light" pitchFamily="34" charset="0"/>
              </a:defRPr>
            </a:lvl1pPr>
            <a:lvl2pPr marL="769495" indent="-295958" defTabSz="937208">
              <a:defRPr sz="1300">
                <a:solidFill>
                  <a:schemeClr val="tx1"/>
                </a:solidFill>
                <a:latin typeface="Gill Sans MT Light" pitchFamily="34" charset="0"/>
              </a:defRPr>
            </a:lvl2pPr>
            <a:lvl3pPr marL="1183841" indent="-236767" defTabSz="937208">
              <a:defRPr sz="1300">
                <a:solidFill>
                  <a:schemeClr val="tx1"/>
                </a:solidFill>
                <a:latin typeface="Gill Sans MT Light" pitchFamily="34" charset="0"/>
              </a:defRPr>
            </a:lvl3pPr>
            <a:lvl4pPr marL="1657378" indent="-236767" defTabSz="937208">
              <a:defRPr sz="1300">
                <a:solidFill>
                  <a:schemeClr val="tx1"/>
                </a:solidFill>
                <a:latin typeface="Gill Sans MT Light" pitchFamily="34" charset="0"/>
              </a:defRPr>
            </a:lvl4pPr>
            <a:lvl5pPr marL="2130911" indent="-236767" defTabSz="937208">
              <a:defRPr sz="1300">
                <a:solidFill>
                  <a:schemeClr val="tx1"/>
                </a:solidFill>
                <a:latin typeface="Gill Sans MT Light" pitchFamily="34" charset="0"/>
              </a:defRPr>
            </a:lvl5pPr>
            <a:lvl6pPr marL="2604451" indent="-236767" defTabSz="937208" eaLnBrk="0" fontAlgn="base" hangingPunct="0">
              <a:spcBef>
                <a:spcPct val="0"/>
              </a:spcBef>
              <a:spcAft>
                <a:spcPct val="0"/>
              </a:spcAft>
              <a:defRPr sz="1300">
                <a:solidFill>
                  <a:schemeClr val="tx1"/>
                </a:solidFill>
                <a:latin typeface="Gill Sans MT Light" pitchFamily="34" charset="0"/>
              </a:defRPr>
            </a:lvl6pPr>
            <a:lvl7pPr marL="3077989" indent="-236767" defTabSz="937208" eaLnBrk="0" fontAlgn="base" hangingPunct="0">
              <a:spcBef>
                <a:spcPct val="0"/>
              </a:spcBef>
              <a:spcAft>
                <a:spcPct val="0"/>
              </a:spcAft>
              <a:defRPr sz="1300">
                <a:solidFill>
                  <a:schemeClr val="tx1"/>
                </a:solidFill>
                <a:latin typeface="Gill Sans MT Light" pitchFamily="34" charset="0"/>
              </a:defRPr>
            </a:lvl7pPr>
            <a:lvl8pPr marL="3551522" indent="-236767" defTabSz="937208" eaLnBrk="0" fontAlgn="base" hangingPunct="0">
              <a:spcBef>
                <a:spcPct val="0"/>
              </a:spcBef>
              <a:spcAft>
                <a:spcPct val="0"/>
              </a:spcAft>
              <a:defRPr sz="1300">
                <a:solidFill>
                  <a:schemeClr val="tx1"/>
                </a:solidFill>
                <a:latin typeface="Gill Sans MT Light" pitchFamily="34" charset="0"/>
              </a:defRPr>
            </a:lvl8pPr>
            <a:lvl9pPr marL="4025058" indent="-236767" defTabSz="937208" eaLnBrk="0" fontAlgn="base" hangingPunct="0">
              <a:spcBef>
                <a:spcPct val="0"/>
              </a:spcBef>
              <a:spcAft>
                <a:spcPct val="0"/>
              </a:spcAft>
              <a:defRPr sz="1300">
                <a:solidFill>
                  <a:schemeClr val="tx1"/>
                </a:solidFill>
                <a:latin typeface="Gill Sans MT Light" pitchFamily="34" charset="0"/>
              </a:defRPr>
            </a:lvl9pPr>
          </a:lstStyle>
          <a:p>
            <a:fld id="{77ADCC75-C250-45C7-AB1D-2FE9A5BE37F5}" type="slidenum">
              <a:rPr lang="de-DE"/>
              <a:pPr/>
              <a:t>30</a:t>
            </a:fld>
            <a:endParaRPr lang="de-DE" dirty="0"/>
          </a:p>
        </p:txBody>
      </p:sp>
      <p:sp>
        <p:nvSpPr>
          <p:cNvPr id="22531" name="Rectangle 2"/>
          <p:cNvSpPr>
            <a:spLocks noGrp="1" noRot="1" noChangeAspect="1" noChangeArrowheads="1" noTextEdit="1"/>
          </p:cNvSpPr>
          <p:nvPr>
            <p:ph type="sldImg"/>
          </p:nvPr>
        </p:nvSpPr>
        <p:spPr>
          <a:xfrm>
            <a:off x="996950" y="766763"/>
            <a:ext cx="5121275" cy="3840162"/>
          </a:xfrm>
          <a:ln/>
        </p:spPr>
      </p:sp>
      <p:sp>
        <p:nvSpPr>
          <p:cNvPr id="22532" name="Rectangle 3"/>
          <p:cNvSpPr>
            <a:spLocks noGrp="1" noChangeArrowheads="1"/>
          </p:cNvSpPr>
          <p:nvPr>
            <p:ph type="body" idx="1"/>
          </p:nvPr>
        </p:nvSpPr>
        <p:spPr>
          <a:noFill/>
        </p:spPr>
        <p:txBody>
          <a:bodyPr/>
          <a:lstStyle/>
          <a:p>
            <a:pPr eaLnBrk="1" hangingPunct="1"/>
            <a:endParaRPr lang="de-DE" dirty="0"/>
          </a:p>
        </p:txBody>
      </p:sp>
    </p:spTree>
    <p:extLst>
      <p:ext uri="{BB962C8B-B14F-4D97-AF65-F5344CB8AC3E}">
        <p14:creationId xmlns:p14="http://schemas.microsoft.com/office/powerpoint/2010/main" val="35628568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txBox="1">
            <a:spLocks noGrp="1" noChangeArrowheads="1"/>
          </p:cNvSpPr>
          <p:nvPr/>
        </p:nvSpPr>
        <p:spPr bwMode="auto">
          <a:xfrm>
            <a:off x="4199562" y="10020212"/>
            <a:ext cx="3213089" cy="530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7984" tIns="48989" rIns="97984" bIns="48989" anchor="b"/>
          <a:lstStyle>
            <a:lvl1pPr defTabSz="904875">
              <a:defRPr sz="1200">
                <a:solidFill>
                  <a:schemeClr val="tx1"/>
                </a:solidFill>
                <a:latin typeface="Arial" charset="0"/>
              </a:defRPr>
            </a:lvl1pPr>
            <a:lvl2pPr marL="742950" indent="-285750" defTabSz="904875">
              <a:defRPr sz="1200">
                <a:solidFill>
                  <a:schemeClr val="tx1"/>
                </a:solidFill>
                <a:latin typeface="Arial" charset="0"/>
              </a:defRPr>
            </a:lvl2pPr>
            <a:lvl3pPr marL="1143000" indent="-228600" defTabSz="904875">
              <a:defRPr sz="1200">
                <a:solidFill>
                  <a:schemeClr val="tx1"/>
                </a:solidFill>
                <a:latin typeface="Arial" charset="0"/>
              </a:defRPr>
            </a:lvl3pPr>
            <a:lvl4pPr marL="1600200" indent="-228600" defTabSz="904875">
              <a:defRPr sz="1200">
                <a:solidFill>
                  <a:schemeClr val="tx1"/>
                </a:solidFill>
                <a:latin typeface="Arial" charset="0"/>
              </a:defRPr>
            </a:lvl4pPr>
            <a:lvl5pPr marL="2057400" indent="-228600" defTabSz="904875">
              <a:defRPr sz="1200">
                <a:solidFill>
                  <a:schemeClr val="tx1"/>
                </a:solidFill>
                <a:latin typeface="Arial" charset="0"/>
              </a:defRPr>
            </a:lvl5pPr>
            <a:lvl6pPr marL="2514600" indent="-228600" defTabSz="904875" eaLnBrk="0" fontAlgn="base" hangingPunct="0">
              <a:spcBef>
                <a:spcPct val="0"/>
              </a:spcBef>
              <a:spcAft>
                <a:spcPct val="0"/>
              </a:spcAft>
              <a:defRPr sz="1200">
                <a:solidFill>
                  <a:schemeClr val="tx1"/>
                </a:solidFill>
                <a:latin typeface="Arial" charset="0"/>
              </a:defRPr>
            </a:lvl6pPr>
            <a:lvl7pPr marL="2971800" indent="-228600" defTabSz="904875" eaLnBrk="0" fontAlgn="base" hangingPunct="0">
              <a:spcBef>
                <a:spcPct val="0"/>
              </a:spcBef>
              <a:spcAft>
                <a:spcPct val="0"/>
              </a:spcAft>
              <a:defRPr sz="1200">
                <a:solidFill>
                  <a:schemeClr val="tx1"/>
                </a:solidFill>
                <a:latin typeface="Arial" charset="0"/>
              </a:defRPr>
            </a:lvl7pPr>
            <a:lvl8pPr marL="3429000" indent="-228600" defTabSz="904875" eaLnBrk="0" fontAlgn="base" hangingPunct="0">
              <a:spcBef>
                <a:spcPct val="0"/>
              </a:spcBef>
              <a:spcAft>
                <a:spcPct val="0"/>
              </a:spcAft>
              <a:defRPr sz="1200">
                <a:solidFill>
                  <a:schemeClr val="tx1"/>
                </a:solidFill>
                <a:latin typeface="Arial" charset="0"/>
              </a:defRPr>
            </a:lvl8pPr>
            <a:lvl9pPr marL="3886200" indent="-228600" defTabSz="904875" eaLnBrk="0" fontAlgn="base" hangingPunct="0">
              <a:spcBef>
                <a:spcPct val="0"/>
              </a:spcBef>
              <a:spcAft>
                <a:spcPct val="0"/>
              </a:spcAft>
              <a:defRPr sz="1200">
                <a:solidFill>
                  <a:schemeClr val="tx1"/>
                </a:solidFill>
                <a:latin typeface="Arial" charset="0"/>
              </a:defRPr>
            </a:lvl9pPr>
          </a:lstStyle>
          <a:p>
            <a:pPr algn="r"/>
            <a:fld id="{2159D333-FD2D-436A-A35C-D37032ABE0E8}" type="slidenum">
              <a:rPr lang="de-DE" altLang="de-DE">
                <a:latin typeface="Gill Sans MT Light" pitchFamily="34" charset="0"/>
              </a:rPr>
              <a:pPr algn="r"/>
              <a:t>31</a:t>
            </a:fld>
            <a:endParaRPr lang="de-DE" altLang="de-DE">
              <a:latin typeface="Gill Sans MT Light" pitchFamily="34" charset="0"/>
            </a:endParaRPr>
          </a:p>
        </p:txBody>
      </p:sp>
      <p:sp>
        <p:nvSpPr>
          <p:cNvPr id="30723" name="Rectangle 3074"/>
          <p:cNvSpPr>
            <a:spLocks noGrp="1" noRot="1" noChangeAspect="1" noChangeArrowheads="1" noTextEdit="1"/>
          </p:cNvSpPr>
          <p:nvPr>
            <p:ph type="sldImg"/>
          </p:nvPr>
        </p:nvSpPr>
        <p:spPr>
          <a:ln/>
        </p:spPr>
      </p:sp>
      <p:sp>
        <p:nvSpPr>
          <p:cNvPr id="30724" name="Rectangle 3075"/>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altLang="de-DE"/>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p:spPr>
        <p:txBody>
          <a:bodyPr/>
          <a:lstStyle>
            <a:lvl1pPr defTabSz="943611">
              <a:defRPr sz="1300">
                <a:solidFill>
                  <a:schemeClr val="tx1"/>
                </a:solidFill>
                <a:latin typeface="Gill Sans MT Light" pitchFamily="34" charset="0"/>
              </a:defRPr>
            </a:lvl1pPr>
            <a:lvl2pPr marL="740953" indent="-284985" defTabSz="943611">
              <a:defRPr sz="1300">
                <a:solidFill>
                  <a:schemeClr val="tx1"/>
                </a:solidFill>
                <a:latin typeface="Gill Sans MT Light" pitchFamily="34" charset="0"/>
              </a:defRPr>
            </a:lvl2pPr>
            <a:lvl3pPr marL="1139932" indent="-227989" defTabSz="943611">
              <a:defRPr sz="1300">
                <a:solidFill>
                  <a:schemeClr val="tx1"/>
                </a:solidFill>
                <a:latin typeface="Gill Sans MT Light" pitchFamily="34" charset="0"/>
              </a:defRPr>
            </a:lvl3pPr>
            <a:lvl4pPr marL="1595910" indent="-227989" defTabSz="943611">
              <a:defRPr sz="1300">
                <a:solidFill>
                  <a:schemeClr val="tx1"/>
                </a:solidFill>
                <a:latin typeface="Gill Sans MT Light" pitchFamily="34" charset="0"/>
              </a:defRPr>
            </a:lvl4pPr>
            <a:lvl5pPr marL="2051886" indent="-227989" defTabSz="943611">
              <a:defRPr sz="1300">
                <a:solidFill>
                  <a:schemeClr val="tx1"/>
                </a:solidFill>
                <a:latin typeface="Gill Sans MT Light" pitchFamily="34" charset="0"/>
              </a:defRPr>
            </a:lvl5pPr>
            <a:lvl6pPr marL="2507861" indent="-227989" defTabSz="943611" eaLnBrk="0" fontAlgn="base" hangingPunct="0">
              <a:spcBef>
                <a:spcPct val="0"/>
              </a:spcBef>
              <a:spcAft>
                <a:spcPct val="0"/>
              </a:spcAft>
              <a:defRPr sz="1300">
                <a:solidFill>
                  <a:schemeClr val="tx1"/>
                </a:solidFill>
                <a:latin typeface="Gill Sans MT Light" pitchFamily="34" charset="0"/>
              </a:defRPr>
            </a:lvl6pPr>
            <a:lvl7pPr marL="2963837" indent="-227989" defTabSz="943611" eaLnBrk="0" fontAlgn="base" hangingPunct="0">
              <a:spcBef>
                <a:spcPct val="0"/>
              </a:spcBef>
              <a:spcAft>
                <a:spcPct val="0"/>
              </a:spcAft>
              <a:defRPr sz="1300">
                <a:solidFill>
                  <a:schemeClr val="tx1"/>
                </a:solidFill>
                <a:latin typeface="Gill Sans MT Light" pitchFamily="34" charset="0"/>
              </a:defRPr>
            </a:lvl7pPr>
            <a:lvl8pPr marL="3419808" indent="-227989" defTabSz="943611" eaLnBrk="0" fontAlgn="base" hangingPunct="0">
              <a:spcBef>
                <a:spcPct val="0"/>
              </a:spcBef>
              <a:spcAft>
                <a:spcPct val="0"/>
              </a:spcAft>
              <a:defRPr sz="1300">
                <a:solidFill>
                  <a:schemeClr val="tx1"/>
                </a:solidFill>
                <a:latin typeface="Gill Sans MT Light" pitchFamily="34" charset="0"/>
              </a:defRPr>
            </a:lvl8pPr>
            <a:lvl9pPr marL="3875783" indent="-227989" defTabSz="943611" eaLnBrk="0" fontAlgn="base" hangingPunct="0">
              <a:spcBef>
                <a:spcPct val="0"/>
              </a:spcBef>
              <a:spcAft>
                <a:spcPct val="0"/>
              </a:spcAft>
              <a:defRPr sz="1300">
                <a:solidFill>
                  <a:schemeClr val="tx1"/>
                </a:solidFill>
                <a:latin typeface="Gill Sans MT Light" pitchFamily="34" charset="0"/>
              </a:defRPr>
            </a:lvl9pPr>
          </a:lstStyle>
          <a:p>
            <a:fld id="{84C04A6F-7011-4C01-8D03-8627A9A14618}" type="slidenum">
              <a:rPr lang="de-DE">
                <a:solidFill>
                  <a:prstClr val="black"/>
                </a:solidFill>
                <a:latin typeface="Times New Roman" pitchFamily="18" charset="0"/>
              </a:rPr>
              <a:pPr/>
              <a:t>32</a:t>
            </a:fld>
            <a:endParaRPr lang="de-DE" dirty="0">
              <a:solidFill>
                <a:prstClr val="black"/>
              </a:solidFill>
              <a:latin typeface="Times New Roman" pitchFamily="18" charset="0"/>
            </a:endParaRPr>
          </a:p>
        </p:txBody>
      </p:sp>
      <p:sp>
        <p:nvSpPr>
          <p:cNvPr id="43011" name="Rectangle 2050"/>
          <p:cNvSpPr>
            <a:spLocks noGrp="1" noRot="1" noChangeAspect="1" noChangeArrowheads="1" noTextEdit="1"/>
          </p:cNvSpPr>
          <p:nvPr>
            <p:ph type="sldImg"/>
          </p:nvPr>
        </p:nvSpPr>
        <p:spPr>
          <a:xfrm>
            <a:off x="993775" y="768350"/>
            <a:ext cx="5114925" cy="3836988"/>
          </a:xfrm>
          <a:ln/>
        </p:spPr>
      </p:sp>
      <p:sp>
        <p:nvSpPr>
          <p:cNvPr id="43012" name="Rectangle 2051"/>
          <p:cNvSpPr>
            <a:spLocks noGrp="1" noChangeArrowheads="1"/>
          </p:cNvSpPr>
          <p:nvPr>
            <p:ph type="body" idx="1"/>
          </p:nvPr>
        </p:nvSpPr>
        <p:spPr>
          <a:xfrm>
            <a:off x="946156" y="4859353"/>
            <a:ext cx="5206998" cy="4605337"/>
          </a:xfrm>
          <a:noFill/>
        </p:spPr>
        <p:txBody>
          <a:bodyPr lIns="93719" tIns="46857" rIns="93719" bIns="46857"/>
          <a:lstStyle/>
          <a:p>
            <a:pPr eaLnBrk="1" hangingPunct="1"/>
            <a:endParaRPr lang="de-DE" dirty="0"/>
          </a:p>
        </p:txBody>
      </p:sp>
    </p:spTree>
    <p:extLst>
      <p:ext uri="{BB962C8B-B14F-4D97-AF65-F5344CB8AC3E}">
        <p14:creationId xmlns:p14="http://schemas.microsoft.com/office/powerpoint/2010/main" val="10619281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p:spPr>
        <p:txBody>
          <a:bodyPr/>
          <a:lstStyle>
            <a:lvl1pPr defTabSz="970822">
              <a:defRPr sz="1300">
                <a:solidFill>
                  <a:schemeClr val="tx1"/>
                </a:solidFill>
                <a:latin typeface="Gill Sans MT Light" pitchFamily="34" charset="0"/>
              </a:defRPr>
            </a:lvl1pPr>
            <a:lvl2pPr marL="797095" indent="-306574" defTabSz="970822">
              <a:defRPr sz="1300">
                <a:solidFill>
                  <a:schemeClr val="tx1"/>
                </a:solidFill>
                <a:latin typeface="Gill Sans MT Light" pitchFamily="34" charset="0"/>
              </a:defRPr>
            </a:lvl2pPr>
            <a:lvl3pPr marL="1226298" indent="-245262" defTabSz="970822">
              <a:defRPr sz="1300">
                <a:solidFill>
                  <a:schemeClr val="tx1"/>
                </a:solidFill>
                <a:latin typeface="Gill Sans MT Light" pitchFamily="34" charset="0"/>
              </a:defRPr>
            </a:lvl3pPr>
            <a:lvl4pPr marL="1716820" indent="-245262" defTabSz="970822">
              <a:defRPr sz="1300">
                <a:solidFill>
                  <a:schemeClr val="tx1"/>
                </a:solidFill>
                <a:latin typeface="Gill Sans MT Light" pitchFamily="34" charset="0"/>
              </a:defRPr>
            </a:lvl4pPr>
            <a:lvl5pPr marL="2207339" indent="-245262" defTabSz="970822">
              <a:defRPr sz="1300">
                <a:solidFill>
                  <a:schemeClr val="tx1"/>
                </a:solidFill>
                <a:latin typeface="Gill Sans MT Light" pitchFamily="34" charset="0"/>
              </a:defRPr>
            </a:lvl5pPr>
            <a:lvl6pPr marL="2697858" indent="-245262" defTabSz="970822" eaLnBrk="0" fontAlgn="base" hangingPunct="0">
              <a:spcBef>
                <a:spcPct val="0"/>
              </a:spcBef>
              <a:spcAft>
                <a:spcPct val="0"/>
              </a:spcAft>
              <a:defRPr sz="1300">
                <a:solidFill>
                  <a:schemeClr val="tx1"/>
                </a:solidFill>
                <a:latin typeface="Gill Sans MT Light" pitchFamily="34" charset="0"/>
              </a:defRPr>
            </a:lvl6pPr>
            <a:lvl7pPr marL="3188378" indent="-245262" defTabSz="970822" eaLnBrk="0" fontAlgn="base" hangingPunct="0">
              <a:spcBef>
                <a:spcPct val="0"/>
              </a:spcBef>
              <a:spcAft>
                <a:spcPct val="0"/>
              </a:spcAft>
              <a:defRPr sz="1300">
                <a:solidFill>
                  <a:schemeClr val="tx1"/>
                </a:solidFill>
                <a:latin typeface="Gill Sans MT Light" pitchFamily="34" charset="0"/>
              </a:defRPr>
            </a:lvl7pPr>
            <a:lvl8pPr marL="3678901" indent="-245262" defTabSz="970822" eaLnBrk="0" fontAlgn="base" hangingPunct="0">
              <a:spcBef>
                <a:spcPct val="0"/>
              </a:spcBef>
              <a:spcAft>
                <a:spcPct val="0"/>
              </a:spcAft>
              <a:defRPr sz="1300">
                <a:solidFill>
                  <a:schemeClr val="tx1"/>
                </a:solidFill>
                <a:latin typeface="Gill Sans MT Light" pitchFamily="34" charset="0"/>
              </a:defRPr>
            </a:lvl8pPr>
            <a:lvl9pPr marL="4169423" indent="-245262" defTabSz="970822" eaLnBrk="0" fontAlgn="base" hangingPunct="0">
              <a:spcBef>
                <a:spcPct val="0"/>
              </a:spcBef>
              <a:spcAft>
                <a:spcPct val="0"/>
              </a:spcAft>
              <a:defRPr sz="1300">
                <a:solidFill>
                  <a:schemeClr val="tx1"/>
                </a:solidFill>
                <a:latin typeface="Gill Sans MT Light" pitchFamily="34" charset="0"/>
              </a:defRPr>
            </a:lvl9pPr>
          </a:lstStyle>
          <a:p>
            <a:fld id="{C18473CB-0CB4-4613-92D0-5882F5D33610}" type="slidenum">
              <a:rPr lang="de-DE"/>
              <a:pPr/>
              <a:t>33</a:t>
            </a:fld>
            <a:endParaRPr lang="de-DE"/>
          </a:p>
        </p:txBody>
      </p:sp>
      <p:sp>
        <p:nvSpPr>
          <p:cNvPr id="31747" name="Rectangle 2"/>
          <p:cNvSpPr>
            <a:spLocks noGrp="1" noRot="1" noChangeAspect="1" noChangeArrowheads="1" noTextEdit="1"/>
          </p:cNvSpPr>
          <p:nvPr>
            <p:ph type="sldImg"/>
          </p:nvPr>
        </p:nvSpPr>
        <p:spPr>
          <a:xfrm>
            <a:off x="1076325" y="790575"/>
            <a:ext cx="5280025" cy="3959225"/>
          </a:xfrm>
          <a:ln/>
        </p:spPr>
      </p:sp>
      <p:sp>
        <p:nvSpPr>
          <p:cNvPr id="31748" name="Rectangle 3"/>
          <p:cNvSpPr>
            <a:spLocks noGrp="1" noChangeArrowheads="1"/>
          </p:cNvSpPr>
          <p:nvPr>
            <p:ph type="body" idx="1"/>
          </p:nvPr>
        </p:nvSpPr>
        <p:spPr>
          <a:noFill/>
        </p:spPr>
        <p:txBody>
          <a:bodyPr/>
          <a:lstStyle/>
          <a:p>
            <a:pPr eaLnBrk="1" hangingPunct="1"/>
            <a:endParaRPr lang="de-DE"/>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p:spPr>
        <p:txBody>
          <a:bodyPr/>
          <a:lstStyle>
            <a:lvl1pPr defTabSz="937208">
              <a:defRPr sz="1300">
                <a:solidFill>
                  <a:schemeClr val="tx1"/>
                </a:solidFill>
                <a:latin typeface="Gill Sans MT Light" pitchFamily="34" charset="0"/>
              </a:defRPr>
            </a:lvl1pPr>
            <a:lvl2pPr marL="769495" indent="-295958" defTabSz="937208">
              <a:defRPr sz="1300">
                <a:solidFill>
                  <a:schemeClr val="tx1"/>
                </a:solidFill>
                <a:latin typeface="Gill Sans MT Light" pitchFamily="34" charset="0"/>
              </a:defRPr>
            </a:lvl2pPr>
            <a:lvl3pPr marL="1183841" indent="-236767" defTabSz="937208">
              <a:defRPr sz="1300">
                <a:solidFill>
                  <a:schemeClr val="tx1"/>
                </a:solidFill>
                <a:latin typeface="Gill Sans MT Light" pitchFamily="34" charset="0"/>
              </a:defRPr>
            </a:lvl3pPr>
            <a:lvl4pPr marL="1657378" indent="-236767" defTabSz="937208">
              <a:defRPr sz="1300">
                <a:solidFill>
                  <a:schemeClr val="tx1"/>
                </a:solidFill>
                <a:latin typeface="Gill Sans MT Light" pitchFamily="34" charset="0"/>
              </a:defRPr>
            </a:lvl4pPr>
            <a:lvl5pPr marL="2130911" indent="-236767" defTabSz="937208">
              <a:defRPr sz="1300">
                <a:solidFill>
                  <a:schemeClr val="tx1"/>
                </a:solidFill>
                <a:latin typeface="Gill Sans MT Light" pitchFamily="34" charset="0"/>
              </a:defRPr>
            </a:lvl5pPr>
            <a:lvl6pPr marL="2604451" indent="-236767" defTabSz="937208" eaLnBrk="0" fontAlgn="base" hangingPunct="0">
              <a:spcBef>
                <a:spcPct val="0"/>
              </a:spcBef>
              <a:spcAft>
                <a:spcPct val="0"/>
              </a:spcAft>
              <a:defRPr sz="1300">
                <a:solidFill>
                  <a:schemeClr val="tx1"/>
                </a:solidFill>
                <a:latin typeface="Gill Sans MT Light" pitchFamily="34" charset="0"/>
              </a:defRPr>
            </a:lvl6pPr>
            <a:lvl7pPr marL="3077989" indent="-236767" defTabSz="937208" eaLnBrk="0" fontAlgn="base" hangingPunct="0">
              <a:spcBef>
                <a:spcPct val="0"/>
              </a:spcBef>
              <a:spcAft>
                <a:spcPct val="0"/>
              </a:spcAft>
              <a:defRPr sz="1300">
                <a:solidFill>
                  <a:schemeClr val="tx1"/>
                </a:solidFill>
                <a:latin typeface="Gill Sans MT Light" pitchFamily="34" charset="0"/>
              </a:defRPr>
            </a:lvl7pPr>
            <a:lvl8pPr marL="3551522" indent="-236767" defTabSz="937208" eaLnBrk="0" fontAlgn="base" hangingPunct="0">
              <a:spcBef>
                <a:spcPct val="0"/>
              </a:spcBef>
              <a:spcAft>
                <a:spcPct val="0"/>
              </a:spcAft>
              <a:defRPr sz="1300">
                <a:solidFill>
                  <a:schemeClr val="tx1"/>
                </a:solidFill>
                <a:latin typeface="Gill Sans MT Light" pitchFamily="34" charset="0"/>
              </a:defRPr>
            </a:lvl8pPr>
            <a:lvl9pPr marL="4025058" indent="-236767" defTabSz="937208" eaLnBrk="0" fontAlgn="base" hangingPunct="0">
              <a:spcBef>
                <a:spcPct val="0"/>
              </a:spcBef>
              <a:spcAft>
                <a:spcPct val="0"/>
              </a:spcAft>
              <a:defRPr sz="1300">
                <a:solidFill>
                  <a:schemeClr val="tx1"/>
                </a:solidFill>
                <a:latin typeface="Gill Sans MT Light" pitchFamily="34" charset="0"/>
              </a:defRPr>
            </a:lvl9pPr>
          </a:lstStyle>
          <a:p>
            <a:fld id="{77ADCC75-C250-45C7-AB1D-2FE9A5BE37F5}" type="slidenum">
              <a:rPr lang="de-DE"/>
              <a:pPr/>
              <a:t>34</a:t>
            </a:fld>
            <a:endParaRPr lang="de-DE" dirty="0"/>
          </a:p>
        </p:txBody>
      </p:sp>
      <p:sp>
        <p:nvSpPr>
          <p:cNvPr id="22531" name="Rectangle 2"/>
          <p:cNvSpPr>
            <a:spLocks noGrp="1" noRot="1" noChangeAspect="1" noChangeArrowheads="1" noTextEdit="1"/>
          </p:cNvSpPr>
          <p:nvPr>
            <p:ph type="sldImg"/>
          </p:nvPr>
        </p:nvSpPr>
        <p:spPr>
          <a:xfrm>
            <a:off x="996950" y="766763"/>
            <a:ext cx="5121275" cy="3840162"/>
          </a:xfrm>
          <a:ln/>
        </p:spPr>
      </p:sp>
      <p:sp>
        <p:nvSpPr>
          <p:cNvPr id="22532" name="Rectangle 3"/>
          <p:cNvSpPr>
            <a:spLocks noGrp="1" noChangeArrowheads="1"/>
          </p:cNvSpPr>
          <p:nvPr>
            <p:ph type="body" idx="1"/>
          </p:nvPr>
        </p:nvSpPr>
        <p:spPr>
          <a:noFill/>
        </p:spPr>
        <p:txBody>
          <a:bodyPr/>
          <a:lstStyle/>
          <a:p>
            <a:pPr eaLnBrk="1" hangingPunct="1"/>
            <a:endParaRPr lang="de-DE" dirty="0"/>
          </a:p>
        </p:txBody>
      </p:sp>
    </p:spTree>
    <p:extLst>
      <p:ext uri="{BB962C8B-B14F-4D97-AF65-F5344CB8AC3E}">
        <p14:creationId xmlns:p14="http://schemas.microsoft.com/office/powerpoint/2010/main" val="2403746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p:spPr>
        <p:txBody>
          <a:bodyPr/>
          <a:lstStyle>
            <a:lvl1pPr defTabSz="835234">
              <a:defRPr sz="1000">
                <a:solidFill>
                  <a:schemeClr val="tx1"/>
                </a:solidFill>
                <a:latin typeface="Gill Sans MT Light" pitchFamily="34" charset="0"/>
              </a:defRPr>
            </a:lvl1pPr>
            <a:lvl2pPr marL="655855" indent="-252250" defTabSz="835234">
              <a:defRPr sz="1000">
                <a:solidFill>
                  <a:schemeClr val="tx1"/>
                </a:solidFill>
                <a:latin typeface="Gill Sans MT Light" pitchFamily="34" charset="0"/>
              </a:defRPr>
            </a:lvl2pPr>
            <a:lvl3pPr marL="1009008" indent="-201801" defTabSz="835234">
              <a:defRPr sz="1000">
                <a:solidFill>
                  <a:schemeClr val="tx1"/>
                </a:solidFill>
                <a:latin typeface="Gill Sans MT Light" pitchFamily="34" charset="0"/>
              </a:defRPr>
            </a:lvl3pPr>
            <a:lvl4pPr marL="1412610" indent="-201801" defTabSz="835234">
              <a:defRPr sz="1000">
                <a:solidFill>
                  <a:schemeClr val="tx1"/>
                </a:solidFill>
                <a:latin typeface="Gill Sans MT Light" pitchFamily="34" charset="0"/>
              </a:defRPr>
            </a:lvl4pPr>
            <a:lvl5pPr marL="1816213" indent="-201801" defTabSz="835234">
              <a:defRPr sz="1000">
                <a:solidFill>
                  <a:schemeClr val="tx1"/>
                </a:solidFill>
                <a:latin typeface="Gill Sans MT Light" pitchFamily="34" charset="0"/>
              </a:defRPr>
            </a:lvl5pPr>
            <a:lvl6pPr marL="2219816" indent="-201801" defTabSz="835234" eaLnBrk="0" fontAlgn="base" hangingPunct="0">
              <a:spcBef>
                <a:spcPct val="0"/>
              </a:spcBef>
              <a:spcAft>
                <a:spcPct val="0"/>
              </a:spcAft>
              <a:defRPr sz="1000">
                <a:solidFill>
                  <a:schemeClr val="tx1"/>
                </a:solidFill>
                <a:latin typeface="Gill Sans MT Light" pitchFamily="34" charset="0"/>
              </a:defRPr>
            </a:lvl6pPr>
            <a:lvl7pPr marL="2623420" indent="-201801" defTabSz="835234" eaLnBrk="0" fontAlgn="base" hangingPunct="0">
              <a:spcBef>
                <a:spcPct val="0"/>
              </a:spcBef>
              <a:spcAft>
                <a:spcPct val="0"/>
              </a:spcAft>
              <a:defRPr sz="1000">
                <a:solidFill>
                  <a:schemeClr val="tx1"/>
                </a:solidFill>
                <a:latin typeface="Gill Sans MT Light" pitchFamily="34" charset="0"/>
              </a:defRPr>
            </a:lvl7pPr>
            <a:lvl8pPr marL="3027022" indent="-201801" defTabSz="835234" eaLnBrk="0" fontAlgn="base" hangingPunct="0">
              <a:spcBef>
                <a:spcPct val="0"/>
              </a:spcBef>
              <a:spcAft>
                <a:spcPct val="0"/>
              </a:spcAft>
              <a:defRPr sz="1000">
                <a:solidFill>
                  <a:schemeClr val="tx1"/>
                </a:solidFill>
                <a:latin typeface="Gill Sans MT Light" pitchFamily="34" charset="0"/>
              </a:defRPr>
            </a:lvl8pPr>
            <a:lvl9pPr marL="3430625" indent="-201801" defTabSz="835234" eaLnBrk="0" fontAlgn="base" hangingPunct="0">
              <a:spcBef>
                <a:spcPct val="0"/>
              </a:spcBef>
              <a:spcAft>
                <a:spcPct val="0"/>
              </a:spcAft>
              <a:defRPr sz="1000">
                <a:solidFill>
                  <a:schemeClr val="tx1"/>
                </a:solidFill>
                <a:latin typeface="Gill Sans MT Light" pitchFamily="34" charset="0"/>
              </a:defRPr>
            </a:lvl9pPr>
          </a:lstStyle>
          <a:p>
            <a:fld id="{BC6C8EF8-060E-47F0-B657-E97DD580586E}" type="slidenum">
              <a:rPr lang="de-DE" sz="900">
                <a:solidFill>
                  <a:prstClr val="black"/>
                </a:solidFill>
                <a:latin typeface="Times New Roman" pitchFamily="18" charset="0"/>
              </a:rPr>
              <a:pPr/>
              <a:t>37</a:t>
            </a:fld>
            <a:endParaRPr lang="de-DE" sz="900" dirty="0">
              <a:solidFill>
                <a:prstClr val="black"/>
              </a:solidFill>
              <a:latin typeface="Times New Roman" pitchFamily="18" charset="0"/>
            </a:endParaRPr>
          </a:p>
        </p:txBody>
      </p:sp>
      <p:sp>
        <p:nvSpPr>
          <p:cNvPr id="54275" name="Rectangle 2"/>
          <p:cNvSpPr>
            <a:spLocks noGrp="1" noRot="1" noChangeAspect="1" noChangeArrowheads="1" noTextEdit="1"/>
          </p:cNvSpPr>
          <p:nvPr>
            <p:ph type="sldImg"/>
          </p:nvPr>
        </p:nvSpPr>
        <p:spPr>
          <a:xfrm>
            <a:off x="979488" y="735013"/>
            <a:ext cx="4897437" cy="3673475"/>
          </a:xfrm>
          <a:ln/>
        </p:spPr>
      </p:sp>
      <p:sp>
        <p:nvSpPr>
          <p:cNvPr id="54276" name="Rectangle 3"/>
          <p:cNvSpPr>
            <a:spLocks noGrp="1" noChangeArrowheads="1"/>
          </p:cNvSpPr>
          <p:nvPr>
            <p:ph type="body" idx="1"/>
          </p:nvPr>
        </p:nvSpPr>
        <p:spPr>
          <a:xfrm>
            <a:off x="869476" y="4702804"/>
            <a:ext cx="5038973" cy="4413374"/>
          </a:xfrm>
          <a:noFill/>
        </p:spPr>
        <p:txBody>
          <a:bodyPr lIns="80536" tIns="40267" rIns="80536" bIns="40267"/>
          <a:lstStyle/>
          <a:p>
            <a:pPr eaLnBrk="1" hangingPunct="1"/>
            <a:endParaRPr lang="de-DE"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p:spPr>
        <p:txBody>
          <a:bodyPr/>
          <a:lstStyle>
            <a:lvl1pPr defTabSz="937208">
              <a:defRPr sz="1300">
                <a:solidFill>
                  <a:schemeClr val="tx1"/>
                </a:solidFill>
                <a:latin typeface="Gill Sans MT Light" pitchFamily="34" charset="0"/>
              </a:defRPr>
            </a:lvl1pPr>
            <a:lvl2pPr marL="769495" indent="-295958" defTabSz="937208">
              <a:defRPr sz="1300">
                <a:solidFill>
                  <a:schemeClr val="tx1"/>
                </a:solidFill>
                <a:latin typeface="Gill Sans MT Light" pitchFamily="34" charset="0"/>
              </a:defRPr>
            </a:lvl2pPr>
            <a:lvl3pPr marL="1183841" indent="-236767" defTabSz="937208">
              <a:defRPr sz="1300">
                <a:solidFill>
                  <a:schemeClr val="tx1"/>
                </a:solidFill>
                <a:latin typeface="Gill Sans MT Light" pitchFamily="34" charset="0"/>
              </a:defRPr>
            </a:lvl3pPr>
            <a:lvl4pPr marL="1657378" indent="-236767" defTabSz="937208">
              <a:defRPr sz="1300">
                <a:solidFill>
                  <a:schemeClr val="tx1"/>
                </a:solidFill>
                <a:latin typeface="Gill Sans MT Light" pitchFamily="34" charset="0"/>
              </a:defRPr>
            </a:lvl4pPr>
            <a:lvl5pPr marL="2130911" indent="-236767" defTabSz="937208">
              <a:defRPr sz="1300">
                <a:solidFill>
                  <a:schemeClr val="tx1"/>
                </a:solidFill>
                <a:latin typeface="Gill Sans MT Light" pitchFamily="34" charset="0"/>
              </a:defRPr>
            </a:lvl5pPr>
            <a:lvl6pPr marL="2604451" indent="-236767" defTabSz="937208" eaLnBrk="0" fontAlgn="base" hangingPunct="0">
              <a:spcBef>
                <a:spcPct val="0"/>
              </a:spcBef>
              <a:spcAft>
                <a:spcPct val="0"/>
              </a:spcAft>
              <a:defRPr sz="1300">
                <a:solidFill>
                  <a:schemeClr val="tx1"/>
                </a:solidFill>
                <a:latin typeface="Gill Sans MT Light" pitchFamily="34" charset="0"/>
              </a:defRPr>
            </a:lvl6pPr>
            <a:lvl7pPr marL="3077989" indent="-236767" defTabSz="937208" eaLnBrk="0" fontAlgn="base" hangingPunct="0">
              <a:spcBef>
                <a:spcPct val="0"/>
              </a:spcBef>
              <a:spcAft>
                <a:spcPct val="0"/>
              </a:spcAft>
              <a:defRPr sz="1300">
                <a:solidFill>
                  <a:schemeClr val="tx1"/>
                </a:solidFill>
                <a:latin typeface="Gill Sans MT Light" pitchFamily="34" charset="0"/>
              </a:defRPr>
            </a:lvl7pPr>
            <a:lvl8pPr marL="3551522" indent="-236767" defTabSz="937208" eaLnBrk="0" fontAlgn="base" hangingPunct="0">
              <a:spcBef>
                <a:spcPct val="0"/>
              </a:spcBef>
              <a:spcAft>
                <a:spcPct val="0"/>
              </a:spcAft>
              <a:defRPr sz="1300">
                <a:solidFill>
                  <a:schemeClr val="tx1"/>
                </a:solidFill>
                <a:latin typeface="Gill Sans MT Light" pitchFamily="34" charset="0"/>
              </a:defRPr>
            </a:lvl8pPr>
            <a:lvl9pPr marL="4025058" indent="-236767" defTabSz="937208" eaLnBrk="0" fontAlgn="base" hangingPunct="0">
              <a:spcBef>
                <a:spcPct val="0"/>
              </a:spcBef>
              <a:spcAft>
                <a:spcPct val="0"/>
              </a:spcAft>
              <a:defRPr sz="1300">
                <a:solidFill>
                  <a:schemeClr val="tx1"/>
                </a:solidFill>
                <a:latin typeface="Gill Sans MT Light" pitchFamily="34" charset="0"/>
              </a:defRPr>
            </a:lvl9pPr>
          </a:lstStyle>
          <a:p>
            <a:fld id="{77ADCC75-C250-45C7-AB1D-2FE9A5BE37F5}" type="slidenum">
              <a:rPr lang="de-DE"/>
              <a:pPr/>
              <a:t>1</a:t>
            </a:fld>
            <a:endParaRPr lang="de-DE" dirty="0"/>
          </a:p>
        </p:txBody>
      </p:sp>
      <p:sp>
        <p:nvSpPr>
          <p:cNvPr id="22531" name="Rectangle 2"/>
          <p:cNvSpPr>
            <a:spLocks noGrp="1" noRot="1" noChangeAspect="1" noChangeArrowheads="1" noTextEdit="1"/>
          </p:cNvSpPr>
          <p:nvPr>
            <p:ph type="sldImg"/>
          </p:nvPr>
        </p:nvSpPr>
        <p:spPr>
          <a:xfrm>
            <a:off x="996950" y="766763"/>
            <a:ext cx="5121275" cy="3840162"/>
          </a:xfrm>
          <a:ln/>
        </p:spPr>
      </p:sp>
      <p:sp>
        <p:nvSpPr>
          <p:cNvPr id="22532" name="Rectangle 3"/>
          <p:cNvSpPr>
            <a:spLocks noGrp="1" noChangeArrowheads="1"/>
          </p:cNvSpPr>
          <p:nvPr>
            <p:ph type="body" idx="1"/>
          </p:nvPr>
        </p:nvSpPr>
        <p:spPr>
          <a:noFill/>
        </p:spPr>
        <p:txBody>
          <a:bodyPr/>
          <a:lstStyle/>
          <a:p>
            <a:pPr eaLnBrk="1" hangingPunct="1"/>
            <a:endParaRPr lang="de-DE" dirty="0"/>
          </a:p>
        </p:txBody>
      </p:sp>
    </p:spTree>
    <p:extLst>
      <p:ext uri="{BB962C8B-B14F-4D97-AF65-F5344CB8AC3E}">
        <p14:creationId xmlns:p14="http://schemas.microsoft.com/office/powerpoint/2010/main" val="34644986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p:spPr>
        <p:txBody>
          <a:bodyPr/>
          <a:lstStyle>
            <a:lvl1pPr defTabSz="937508">
              <a:defRPr sz="1100">
                <a:solidFill>
                  <a:schemeClr val="tx1"/>
                </a:solidFill>
                <a:latin typeface="Gill Sans MT Light" pitchFamily="34" charset="0"/>
              </a:defRPr>
            </a:lvl1pPr>
            <a:lvl2pPr marL="736165" indent="-283138" defTabSz="937508">
              <a:defRPr sz="1100">
                <a:solidFill>
                  <a:schemeClr val="tx1"/>
                </a:solidFill>
                <a:latin typeface="Gill Sans MT Light" pitchFamily="34" charset="0"/>
              </a:defRPr>
            </a:lvl2pPr>
            <a:lvl3pPr marL="1132558" indent="-226511" defTabSz="937508">
              <a:defRPr sz="1100">
                <a:solidFill>
                  <a:schemeClr val="tx1"/>
                </a:solidFill>
                <a:latin typeface="Gill Sans MT Light" pitchFamily="34" charset="0"/>
              </a:defRPr>
            </a:lvl3pPr>
            <a:lvl4pPr marL="1585581" indent="-226511" defTabSz="937508">
              <a:defRPr sz="1100">
                <a:solidFill>
                  <a:schemeClr val="tx1"/>
                </a:solidFill>
                <a:latin typeface="Gill Sans MT Light" pitchFamily="34" charset="0"/>
              </a:defRPr>
            </a:lvl4pPr>
            <a:lvl5pPr marL="2038603" indent="-226511" defTabSz="937508">
              <a:defRPr sz="1100">
                <a:solidFill>
                  <a:schemeClr val="tx1"/>
                </a:solidFill>
                <a:latin typeface="Gill Sans MT Light" pitchFamily="34" charset="0"/>
              </a:defRPr>
            </a:lvl5pPr>
            <a:lvl6pPr marL="2491624" indent="-226511" defTabSz="937508" eaLnBrk="0" fontAlgn="base" hangingPunct="0">
              <a:spcBef>
                <a:spcPct val="0"/>
              </a:spcBef>
              <a:spcAft>
                <a:spcPct val="0"/>
              </a:spcAft>
              <a:defRPr sz="1100">
                <a:solidFill>
                  <a:schemeClr val="tx1"/>
                </a:solidFill>
                <a:latin typeface="Gill Sans MT Light" pitchFamily="34" charset="0"/>
              </a:defRPr>
            </a:lvl6pPr>
            <a:lvl7pPr marL="2944648" indent="-226511" defTabSz="937508" eaLnBrk="0" fontAlgn="base" hangingPunct="0">
              <a:spcBef>
                <a:spcPct val="0"/>
              </a:spcBef>
              <a:spcAft>
                <a:spcPct val="0"/>
              </a:spcAft>
              <a:defRPr sz="1100">
                <a:solidFill>
                  <a:schemeClr val="tx1"/>
                </a:solidFill>
                <a:latin typeface="Gill Sans MT Light" pitchFamily="34" charset="0"/>
              </a:defRPr>
            </a:lvl7pPr>
            <a:lvl8pPr marL="3397671" indent="-226511" defTabSz="937508" eaLnBrk="0" fontAlgn="base" hangingPunct="0">
              <a:spcBef>
                <a:spcPct val="0"/>
              </a:spcBef>
              <a:spcAft>
                <a:spcPct val="0"/>
              </a:spcAft>
              <a:defRPr sz="1100">
                <a:solidFill>
                  <a:schemeClr val="tx1"/>
                </a:solidFill>
                <a:latin typeface="Gill Sans MT Light" pitchFamily="34" charset="0"/>
              </a:defRPr>
            </a:lvl8pPr>
            <a:lvl9pPr marL="3850695" indent="-226511" defTabSz="937508" eaLnBrk="0" fontAlgn="base" hangingPunct="0">
              <a:spcBef>
                <a:spcPct val="0"/>
              </a:spcBef>
              <a:spcAft>
                <a:spcPct val="0"/>
              </a:spcAft>
              <a:defRPr sz="1100">
                <a:solidFill>
                  <a:schemeClr val="tx1"/>
                </a:solidFill>
                <a:latin typeface="Gill Sans MT Light" pitchFamily="34" charset="0"/>
              </a:defRPr>
            </a:lvl9pPr>
          </a:lstStyle>
          <a:p>
            <a:fld id="{BC6C8EF8-060E-47F0-B657-E97DD580586E}" type="slidenum">
              <a:rPr lang="de-DE" sz="1000">
                <a:solidFill>
                  <a:prstClr val="black"/>
                </a:solidFill>
                <a:latin typeface="Times New Roman" pitchFamily="18" charset="0"/>
              </a:rPr>
              <a:pPr/>
              <a:t>38</a:t>
            </a:fld>
            <a:endParaRPr lang="de-DE" sz="1000" dirty="0">
              <a:solidFill>
                <a:prstClr val="black"/>
              </a:solidFill>
              <a:latin typeface="Times New Roman" pitchFamily="18" charset="0"/>
            </a:endParaRPr>
          </a:p>
        </p:txBody>
      </p:sp>
      <p:sp>
        <p:nvSpPr>
          <p:cNvPr id="54275" name="Rectangle 2"/>
          <p:cNvSpPr>
            <a:spLocks noGrp="1" noRot="1" noChangeAspect="1" noChangeArrowheads="1" noTextEdit="1"/>
          </p:cNvSpPr>
          <p:nvPr>
            <p:ph type="sldImg"/>
          </p:nvPr>
        </p:nvSpPr>
        <p:spPr>
          <a:xfrm>
            <a:off x="1122363" y="785813"/>
            <a:ext cx="5233987" cy="3925887"/>
          </a:xfrm>
          <a:ln/>
        </p:spPr>
      </p:sp>
      <p:sp>
        <p:nvSpPr>
          <p:cNvPr id="54276" name="Rectangle 3"/>
          <p:cNvSpPr>
            <a:spLocks noGrp="1" noChangeArrowheads="1"/>
          </p:cNvSpPr>
          <p:nvPr>
            <p:ph type="body" idx="1"/>
          </p:nvPr>
        </p:nvSpPr>
        <p:spPr>
          <a:xfrm>
            <a:off x="948350" y="5026472"/>
            <a:ext cx="5496071" cy="4717121"/>
          </a:xfrm>
          <a:noFill/>
        </p:spPr>
        <p:txBody>
          <a:bodyPr lIns="90398" tIns="45197" rIns="90398" bIns="45197"/>
          <a:lstStyle/>
          <a:p>
            <a:pPr eaLnBrk="1" hangingPunct="1"/>
            <a:endParaRPr lang="de-DE"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p:spPr>
        <p:txBody>
          <a:bodyPr/>
          <a:lstStyle>
            <a:lvl1pPr defTabSz="981483">
              <a:defRPr sz="1300">
                <a:solidFill>
                  <a:schemeClr val="tx1"/>
                </a:solidFill>
                <a:latin typeface="Gill Sans MT Light" pitchFamily="34" charset="0"/>
              </a:defRPr>
            </a:lvl1pPr>
            <a:lvl2pPr marL="769402" indent="-295924" defTabSz="981483">
              <a:defRPr sz="1300">
                <a:solidFill>
                  <a:schemeClr val="tx1"/>
                </a:solidFill>
                <a:latin typeface="Gill Sans MT Light" pitchFamily="34" charset="0"/>
              </a:defRPr>
            </a:lvl2pPr>
            <a:lvl3pPr marL="1183696" indent="-236738" defTabSz="981483">
              <a:defRPr sz="1300">
                <a:solidFill>
                  <a:schemeClr val="tx1"/>
                </a:solidFill>
                <a:latin typeface="Gill Sans MT Light" pitchFamily="34" charset="0"/>
              </a:defRPr>
            </a:lvl3pPr>
            <a:lvl4pPr marL="1657178" indent="-236738" defTabSz="981483">
              <a:defRPr sz="1300">
                <a:solidFill>
                  <a:schemeClr val="tx1"/>
                </a:solidFill>
                <a:latin typeface="Gill Sans MT Light" pitchFamily="34" charset="0"/>
              </a:defRPr>
            </a:lvl4pPr>
            <a:lvl5pPr marL="2130659" indent="-236738" defTabSz="981483">
              <a:defRPr sz="1300">
                <a:solidFill>
                  <a:schemeClr val="tx1"/>
                </a:solidFill>
                <a:latin typeface="Gill Sans MT Light" pitchFamily="34" charset="0"/>
              </a:defRPr>
            </a:lvl5pPr>
            <a:lvl6pPr marL="2604137" indent="-236738" defTabSz="981483" eaLnBrk="0" fontAlgn="base" hangingPunct="0">
              <a:spcBef>
                <a:spcPct val="0"/>
              </a:spcBef>
              <a:spcAft>
                <a:spcPct val="0"/>
              </a:spcAft>
              <a:defRPr sz="1300">
                <a:solidFill>
                  <a:schemeClr val="tx1"/>
                </a:solidFill>
                <a:latin typeface="Gill Sans MT Light" pitchFamily="34" charset="0"/>
              </a:defRPr>
            </a:lvl6pPr>
            <a:lvl7pPr marL="3077618" indent="-236738" defTabSz="981483" eaLnBrk="0" fontAlgn="base" hangingPunct="0">
              <a:spcBef>
                <a:spcPct val="0"/>
              </a:spcBef>
              <a:spcAft>
                <a:spcPct val="0"/>
              </a:spcAft>
              <a:defRPr sz="1300">
                <a:solidFill>
                  <a:schemeClr val="tx1"/>
                </a:solidFill>
                <a:latin typeface="Gill Sans MT Light" pitchFamily="34" charset="0"/>
              </a:defRPr>
            </a:lvl7pPr>
            <a:lvl8pPr marL="3551097" indent="-236738" defTabSz="981483" eaLnBrk="0" fontAlgn="base" hangingPunct="0">
              <a:spcBef>
                <a:spcPct val="0"/>
              </a:spcBef>
              <a:spcAft>
                <a:spcPct val="0"/>
              </a:spcAft>
              <a:defRPr sz="1300">
                <a:solidFill>
                  <a:schemeClr val="tx1"/>
                </a:solidFill>
                <a:latin typeface="Gill Sans MT Light" pitchFamily="34" charset="0"/>
              </a:defRPr>
            </a:lvl8pPr>
            <a:lvl9pPr marL="4024577" indent="-236738" defTabSz="981483" eaLnBrk="0" fontAlgn="base" hangingPunct="0">
              <a:spcBef>
                <a:spcPct val="0"/>
              </a:spcBef>
              <a:spcAft>
                <a:spcPct val="0"/>
              </a:spcAft>
              <a:defRPr sz="1300">
                <a:solidFill>
                  <a:schemeClr val="tx1"/>
                </a:solidFill>
                <a:latin typeface="Gill Sans MT Light" pitchFamily="34" charset="0"/>
              </a:defRPr>
            </a:lvl9pPr>
          </a:lstStyle>
          <a:p>
            <a:fld id="{96FA2175-D517-401C-B4B8-B93DD4879FD7}" type="slidenum">
              <a:rPr lang="de-DE">
                <a:solidFill>
                  <a:prstClr val="black"/>
                </a:solidFill>
                <a:latin typeface="Times New Roman" pitchFamily="18" charset="0"/>
              </a:rPr>
              <a:pPr/>
              <a:t>39</a:t>
            </a:fld>
            <a:endParaRPr lang="en-GB">
              <a:solidFill>
                <a:prstClr val="black"/>
              </a:solidFill>
              <a:latin typeface="Times New Roman" pitchFamily="18" charset="0"/>
            </a:endParaRPr>
          </a:p>
        </p:txBody>
      </p:sp>
      <p:sp>
        <p:nvSpPr>
          <p:cNvPr id="58371" name="Rectangle 2"/>
          <p:cNvSpPr>
            <a:spLocks noGrp="1" noRot="1" noChangeAspect="1" noChangeArrowheads="1" noTextEdit="1"/>
          </p:cNvSpPr>
          <p:nvPr>
            <p:ph type="sldImg"/>
          </p:nvPr>
        </p:nvSpPr>
        <p:spPr>
          <a:xfrm>
            <a:off x="1119188" y="782638"/>
            <a:ext cx="5241925" cy="3932237"/>
          </a:xfrm>
          <a:solidFill>
            <a:srgbClr val="FFFFFF"/>
          </a:solidFill>
          <a:ln/>
        </p:spPr>
      </p:sp>
      <p:sp>
        <p:nvSpPr>
          <p:cNvPr id="58372" name="Rectangle 3"/>
          <p:cNvSpPr>
            <a:spLocks noGrp="1" noChangeArrowheads="1"/>
          </p:cNvSpPr>
          <p:nvPr>
            <p:ph type="body" idx="1"/>
          </p:nvPr>
        </p:nvSpPr>
        <p:spPr>
          <a:xfrm>
            <a:off x="951669" y="5026469"/>
            <a:ext cx="5494414" cy="4715484"/>
          </a:xfrm>
          <a:solidFill>
            <a:srgbClr val="FFFFFF"/>
          </a:solidFill>
          <a:ln>
            <a:solidFill>
              <a:srgbClr val="000000"/>
            </a:solidFill>
            <a:miter lim="800000"/>
            <a:headEnd/>
            <a:tailEnd/>
          </a:ln>
        </p:spPr>
        <p:txBody>
          <a:bodyPr lIns="94681" tIns="47341" rIns="94681" bIns="47341"/>
          <a:lstStyle/>
          <a:p>
            <a:pPr eaLnBrk="1" hangingPunct="1"/>
            <a:endParaRPr lang="de-DE" dirty="0"/>
          </a:p>
        </p:txBody>
      </p:sp>
    </p:spTree>
    <p:extLst>
      <p:ext uri="{BB962C8B-B14F-4D97-AF65-F5344CB8AC3E}">
        <p14:creationId xmlns:p14="http://schemas.microsoft.com/office/powerpoint/2010/main" val="30943975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p:spPr>
        <p:txBody>
          <a:bodyPr/>
          <a:lstStyle>
            <a:lvl1pPr defTabSz="937208">
              <a:defRPr sz="1300">
                <a:solidFill>
                  <a:schemeClr val="tx1"/>
                </a:solidFill>
                <a:latin typeface="Gill Sans MT Light" pitchFamily="34" charset="0"/>
              </a:defRPr>
            </a:lvl1pPr>
            <a:lvl2pPr marL="769495" indent="-295958" defTabSz="937208">
              <a:defRPr sz="1300">
                <a:solidFill>
                  <a:schemeClr val="tx1"/>
                </a:solidFill>
                <a:latin typeface="Gill Sans MT Light" pitchFamily="34" charset="0"/>
              </a:defRPr>
            </a:lvl2pPr>
            <a:lvl3pPr marL="1183841" indent="-236767" defTabSz="937208">
              <a:defRPr sz="1300">
                <a:solidFill>
                  <a:schemeClr val="tx1"/>
                </a:solidFill>
                <a:latin typeface="Gill Sans MT Light" pitchFamily="34" charset="0"/>
              </a:defRPr>
            </a:lvl3pPr>
            <a:lvl4pPr marL="1657378" indent="-236767" defTabSz="937208">
              <a:defRPr sz="1300">
                <a:solidFill>
                  <a:schemeClr val="tx1"/>
                </a:solidFill>
                <a:latin typeface="Gill Sans MT Light" pitchFamily="34" charset="0"/>
              </a:defRPr>
            </a:lvl4pPr>
            <a:lvl5pPr marL="2130911" indent="-236767" defTabSz="937208">
              <a:defRPr sz="1300">
                <a:solidFill>
                  <a:schemeClr val="tx1"/>
                </a:solidFill>
                <a:latin typeface="Gill Sans MT Light" pitchFamily="34" charset="0"/>
              </a:defRPr>
            </a:lvl5pPr>
            <a:lvl6pPr marL="2604451" indent="-236767" defTabSz="937208" eaLnBrk="0" fontAlgn="base" hangingPunct="0">
              <a:spcBef>
                <a:spcPct val="0"/>
              </a:spcBef>
              <a:spcAft>
                <a:spcPct val="0"/>
              </a:spcAft>
              <a:defRPr sz="1300">
                <a:solidFill>
                  <a:schemeClr val="tx1"/>
                </a:solidFill>
                <a:latin typeface="Gill Sans MT Light" pitchFamily="34" charset="0"/>
              </a:defRPr>
            </a:lvl6pPr>
            <a:lvl7pPr marL="3077989" indent="-236767" defTabSz="937208" eaLnBrk="0" fontAlgn="base" hangingPunct="0">
              <a:spcBef>
                <a:spcPct val="0"/>
              </a:spcBef>
              <a:spcAft>
                <a:spcPct val="0"/>
              </a:spcAft>
              <a:defRPr sz="1300">
                <a:solidFill>
                  <a:schemeClr val="tx1"/>
                </a:solidFill>
                <a:latin typeface="Gill Sans MT Light" pitchFamily="34" charset="0"/>
              </a:defRPr>
            </a:lvl7pPr>
            <a:lvl8pPr marL="3551522" indent="-236767" defTabSz="937208" eaLnBrk="0" fontAlgn="base" hangingPunct="0">
              <a:spcBef>
                <a:spcPct val="0"/>
              </a:spcBef>
              <a:spcAft>
                <a:spcPct val="0"/>
              </a:spcAft>
              <a:defRPr sz="1300">
                <a:solidFill>
                  <a:schemeClr val="tx1"/>
                </a:solidFill>
                <a:latin typeface="Gill Sans MT Light" pitchFamily="34" charset="0"/>
              </a:defRPr>
            </a:lvl8pPr>
            <a:lvl9pPr marL="4025058" indent="-236767" defTabSz="937208" eaLnBrk="0" fontAlgn="base" hangingPunct="0">
              <a:spcBef>
                <a:spcPct val="0"/>
              </a:spcBef>
              <a:spcAft>
                <a:spcPct val="0"/>
              </a:spcAft>
              <a:defRPr sz="1300">
                <a:solidFill>
                  <a:schemeClr val="tx1"/>
                </a:solidFill>
                <a:latin typeface="Gill Sans MT Light" pitchFamily="34" charset="0"/>
              </a:defRPr>
            </a:lvl9pPr>
          </a:lstStyle>
          <a:p>
            <a:fld id="{77ADCC75-C250-45C7-AB1D-2FE9A5BE37F5}" type="slidenum">
              <a:rPr lang="de-DE"/>
              <a:pPr/>
              <a:t>3</a:t>
            </a:fld>
            <a:endParaRPr lang="de-DE" dirty="0"/>
          </a:p>
        </p:txBody>
      </p:sp>
      <p:sp>
        <p:nvSpPr>
          <p:cNvPr id="22531" name="Rectangle 2"/>
          <p:cNvSpPr>
            <a:spLocks noGrp="1" noRot="1" noChangeAspect="1" noChangeArrowheads="1" noTextEdit="1"/>
          </p:cNvSpPr>
          <p:nvPr>
            <p:ph type="sldImg"/>
          </p:nvPr>
        </p:nvSpPr>
        <p:spPr>
          <a:xfrm>
            <a:off x="996950" y="766763"/>
            <a:ext cx="5121275" cy="3840162"/>
          </a:xfrm>
          <a:ln/>
        </p:spPr>
      </p:sp>
      <p:sp>
        <p:nvSpPr>
          <p:cNvPr id="22532" name="Rectangle 3"/>
          <p:cNvSpPr>
            <a:spLocks noGrp="1" noChangeArrowheads="1"/>
          </p:cNvSpPr>
          <p:nvPr>
            <p:ph type="body" idx="1"/>
          </p:nvPr>
        </p:nvSpPr>
        <p:spPr>
          <a:noFill/>
        </p:spPr>
        <p:txBody>
          <a:bodyPr/>
          <a:lstStyle/>
          <a:p>
            <a:pPr eaLnBrk="1" hangingPunct="1"/>
            <a:endParaRPr lang="de-DE" dirty="0"/>
          </a:p>
        </p:txBody>
      </p:sp>
    </p:spTree>
    <p:extLst>
      <p:ext uri="{BB962C8B-B14F-4D97-AF65-F5344CB8AC3E}">
        <p14:creationId xmlns:p14="http://schemas.microsoft.com/office/powerpoint/2010/main" val="10227729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B0581BE7-8BF3-48E0-B309-12BB01EFC002}" type="slidenum">
              <a:rPr lang="de-DE" smtClean="0"/>
              <a:pPr>
                <a:defRPr/>
              </a:pPr>
              <a:t>7</a:t>
            </a:fld>
            <a:endParaRPr lang="de-DE" dirty="0"/>
          </a:p>
        </p:txBody>
      </p:sp>
    </p:spTree>
    <p:extLst>
      <p:ext uri="{BB962C8B-B14F-4D97-AF65-F5344CB8AC3E}">
        <p14:creationId xmlns:p14="http://schemas.microsoft.com/office/powerpoint/2010/main" val="40592027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28675" y="711200"/>
            <a:ext cx="4725988" cy="35448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8124FA1-8E3A-4D1B-BDC1-33FDBA5AEE31}" type="slidenum">
              <a:rPr lang="en-GB" smtClean="0"/>
              <a:t>9</a:t>
            </a:fld>
            <a:endParaRPr lang="en-GB"/>
          </a:p>
        </p:txBody>
      </p:sp>
    </p:spTree>
    <p:extLst>
      <p:ext uri="{BB962C8B-B14F-4D97-AF65-F5344CB8AC3E}">
        <p14:creationId xmlns:p14="http://schemas.microsoft.com/office/powerpoint/2010/main" val="26376064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B0581BE7-8BF3-48E0-B309-12BB01EFC002}" type="slidenum">
              <a:rPr lang="de-DE" smtClean="0"/>
              <a:pPr>
                <a:defRPr/>
              </a:pPr>
              <a:t>14</a:t>
            </a:fld>
            <a:endParaRPr lang="de-DE" dirty="0"/>
          </a:p>
        </p:txBody>
      </p:sp>
    </p:spTree>
    <p:extLst>
      <p:ext uri="{BB962C8B-B14F-4D97-AF65-F5344CB8AC3E}">
        <p14:creationId xmlns:p14="http://schemas.microsoft.com/office/powerpoint/2010/main" val="34532125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B0581BE7-8BF3-48E0-B309-12BB01EFC002}" type="slidenum">
              <a:rPr lang="de-DE" smtClean="0"/>
              <a:pPr>
                <a:defRPr/>
              </a:pPr>
              <a:t>15</a:t>
            </a:fld>
            <a:endParaRPr lang="de-DE" dirty="0"/>
          </a:p>
        </p:txBody>
      </p:sp>
    </p:spTree>
    <p:extLst>
      <p:ext uri="{BB962C8B-B14F-4D97-AF65-F5344CB8AC3E}">
        <p14:creationId xmlns:p14="http://schemas.microsoft.com/office/powerpoint/2010/main" val="29593036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B0581BE7-8BF3-48E0-B309-12BB01EFC002}" type="slidenum">
              <a:rPr lang="de-DE" smtClean="0"/>
              <a:pPr>
                <a:defRPr/>
              </a:pPr>
              <a:t>17</a:t>
            </a:fld>
            <a:endParaRPr lang="de-DE" dirty="0"/>
          </a:p>
        </p:txBody>
      </p:sp>
    </p:spTree>
    <p:extLst>
      <p:ext uri="{BB962C8B-B14F-4D97-AF65-F5344CB8AC3E}">
        <p14:creationId xmlns:p14="http://schemas.microsoft.com/office/powerpoint/2010/main" val="33735933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p:spPr>
        <p:txBody>
          <a:bodyPr/>
          <a:lstStyle>
            <a:lvl1pPr defTabSz="937208">
              <a:defRPr sz="1300">
                <a:solidFill>
                  <a:schemeClr val="tx1"/>
                </a:solidFill>
                <a:latin typeface="Gill Sans MT Light" pitchFamily="34" charset="0"/>
              </a:defRPr>
            </a:lvl1pPr>
            <a:lvl2pPr marL="769495" indent="-295958" defTabSz="937208">
              <a:defRPr sz="1300">
                <a:solidFill>
                  <a:schemeClr val="tx1"/>
                </a:solidFill>
                <a:latin typeface="Gill Sans MT Light" pitchFamily="34" charset="0"/>
              </a:defRPr>
            </a:lvl2pPr>
            <a:lvl3pPr marL="1183841" indent="-236767" defTabSz="937208">
              <a:defRPr sz="1300">
                <a:solidFill>
                  <a:schemeClr val="tx1"/>
                </a:solidFill>
                <a:latin typeface="Gill Sans MT Light" pitchFamily="34" charset="0"/>
              </a:defRPr>
            </a:lvl3pPr>
            <a:lvl4pPr marL="1657378" indent="-236767" defTabSz="937208">
              <a:defRPr sz="1300">
                <a:solidFill>
                  <a:schemeClr val="tx1"/>
                </a:solidFill>
                <a:latin typeface="Gill Sans MT Light" pitchFamily="34" charset="0"/>
              </a:defRPr>
            </a:lvl4pPr>
            <a:lvl5pPr marL="2130911" indent="-236767" defTabSz="937208">
              <a:defRPr sz="1300">
                <a:solidFill>
                  <a:schemeClr val="tx1"/>
                </a:solidFill>
                <a:latin typeface="Gill Sans MT Light" pitchFamily="34" charset="0"/>
              </a:defRPr>
            </a:lvl5pPr>
            <a:lvl6pPr marL="2604451" indent="-236767" defTabSz="937208" eaLnBrk="0" fontAlgn="base" hangingPunct="0">
              <a:spcBef>
                <a:spcPct val="0"/>
              </a:spcBef>
              <a:spcAft>
                <a:spcPct val="0"/>
              </a:spcAft>
              <a:defRPr sz="1300">
                <a:solidFill>
                  <a:schemeClr val="tx1"/>
                </a:solidFill>
                <a:latin typeface="Gill Sans MT Light" pitchFamily="34" charset="0"/>
              </a:defRPr>
            </a:lvl6pPr>
            <a:lvl7pPr marL="3077989" indent="-236767" defTabSz="937208" eaLnBrk="0" fontAlgn="base" hangingPunct="0">
              <a:spcBef>
                <a:spcPct val="0"/>
              </a:spcBef>
              <a:spcAft>
                <a:spcPct val="0"/>
              </a:spcAft>
              <a:defRPr sz="1300">
                <a:solidFill>
                  <a:schemeClr val="tx1"/>
                </a:solidFill>
                <a:latin typeface="Gill Sans MT Light" pitchFamily="34" charset="0"/>
              </a:defRPr>
            </a:lvl7pPr>
            <a:lvl8pPr marL="3551522" indent="-236767" defTabSz="937208" eaLnBrk="0" fontAlgn="base" hangingPunct="0">
              <a:spcBef>
                <a:spcPct val="0"/>
              </a:spcBef>
              <a:spcAft>
                <a:spcPct val="0"/>
              </a:spcAft>
              <a:defRPr sz="1300">
                <a:solidFill>
                  <a:schemeClr val="tx1"/>
                </a:solidFill>
                <a:latin typeface="Gill Sans MT Light" pitchFamily="34" charset="0"/>
              </a:defRPr>
            </a:lvl8pPr>
            <a:lvl9pPr marL="4025058" indent="-236767" defTabSz="937208" eaLnBrk="0" fontAlgn="base" hangingPunct="0">
              <a:spcBef>
                <a:spcPct val="0"/>
              </a:spcBef>
              <a:spcAft>
                <a:spcPct val="0"/>
              </a:spcAft>
              <a:defRPr sz="1300">
                <a:solidFill>
                  <a:schemeClr val="tx1"/>
                </a:solidFill>
                <a:latin typeface="Gill Sans MT Light" pitchFamily="34" charset="0"/>
              </a:defRPr>
            </a:lvl9pPr>
          </a:lstStyle>
          <a:p>
            <a:fld id="{77ADCC75-C250-45C7-AB1D-2FE9A5BE37F5}" type="slidenum">
              <a:rPr lang="de-DE"/>
              <a:pPr/>
              <a:t>19</a:t>
            </a:fld>
            <a:endParaRPr lang="de-DE" dirty="0"/>
          </a:p>
        </p:txBody>
      </p:sp>
      <p:sp>
        <p:nvSpPr>
          <p:cNvPr id="22531" name="Rectangle 2"/>
          <p:cNvSpPr>
            <a:spLocks noGrp="1" noRot="1" noChangeAspect="1" noChangeArrowheads="1" noTextEdit="1"/>
          </p:cNvSpPr>
          <p:nvPr>
            <p:ph type="sldImg"/>
          </p:nvPr>
        </p:nvSpPr>
        <p:spPr>
          <a:xfrm>
            <a:off x="996950" y="766763"/>
            <a:ext cx="5121275" cy="3840162"/>
          </a:xfrm>
          <a:ln/>
        </p:spPr>
      </p:sp>
      <p:sp>
        <p:nvSpPr>
          <p:cNvPr id="22532" name="Rectangle 3"/>
          <p:cNvSpPr>
            <a:spLocks noGrp="1" noChangeArrowheads="1"/>
          </p:cNvSpPr>
          <p:nvPr>
            <p:ph type="body" idx="1"/>
          </p:nvPr>
        </p:nvSpPr>
        <p:spPr>
          <a:noFill/>
        </p:spPr>
        <p:txBody>
          <a:bodyPr/>
          <a:lstStyle/>
          <a:p>
            <a:pPr eaLnBrk="1" hangingPunct="1"/>
            <a:endParaRPr lang="de-DE" dirty="0"/>
          </a:p>
        </p:txBody>
      </p:sp>
    </p:spTree>
    <p:extLst>
      <p:ext uri="{BB962C8B-B14F-4D97-AF65-F5344CB8AC3E}">
        <p14:creationId xmlns:p14="http://schemas.microsoft.com/office/powerpoint/2010/main" val="33859932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pic>
        <p:nvPicPr>
          <p:cNvPr id="4"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33394" y="1"/>
            <a:ext cx="1191559" cy="1257300"/>
          </a:xfrm>
          <a:prstGeom prst="rect">
            <a:avLst/>
          </a:prstGeom>
        </p:spPr>
      </p:pic>
      <p:sp>
        <p:nvSpPr>
          <p:cNvPr id="10" name="Text Box 11"/>
          <p:cNvSpPr txBox="1">
            <a:spLocks noChangeArrowheads="1"/>
          </p:cNvSpPr>
          <p:nvPr userDrawn="1"/>
        </p:nvSpPr>
        <p:spPr bwMode="auto">
          <a:xfrm>
            <a:off x="8669338" y="6349206"/>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FCCE17A1-84E7-4884-AF57-63AAF7920995}" type="slidenum">
              <a:rPr lang="de-DE" sz="1300" smtClean="0"/>
              <a:pPr algn="ctr">
                <a:spcBef>
                  <a:spcPct val="50000"/>
                </a:spcBef>
                <a:defRPr/>
              </a:pPr>
              <a:t>‹Nr.›</a:t>
            </a:fld>
            <a:endParaRPr lang="de-DE" sz="1300" dirty="0"/>
          </a:p>
        </p:txBody>
      </p:sp>
    </p:spTree>
    <p:extLst>
      <p:ext uri="{BB962C8B-B14F-4D97-AF65-F5344CB8AC3E}">
        <p14:creationId xmlns:p14="http://schemas.microsoft.com/office/powerpoint/2010/main" val="1844596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457200" y="1600202"/>
            <a:ext cx="4038600" cy="4525963"/>
          </a:xfrm>
        </p:spPr>
        <p:txBody>
          <a:bodyPr/>
          <a:lstStyle>
            <a:lvl1pPr>
              <a:defRPr sz="2800"/>
            </a:lvl1pPr>
            <a:lvl2pPr>
              <a:defRPr sz="2400"/>
            </a:lvl2pPr>
            <a:lvl3pPr>
              <a:defRPr sz="19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48200" y="1600202"/>
            <a:ext cx="4038600" cy="4525963"/>
          </a:xfrm>
        </p:spPr>
        <p:txBody>
          <a:bodyPr/>
          <a:lstStyle>
            <a:lvl1pPr>
              <a:defRPr sz="2800"/>
            </a:lvl1pPr>
            <a:lvl2pPr>
              <a:defRPr sz="2400"/>
            </a:lvl2pPr>
            <a:lvl3pPr>
              <a:defRPr sz="19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4217019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1" y="1535115"/>
            <a:ext cx="4040188" cy="639763"/>
          </a:xfrm>
        </p:spPr>
        <p:txBody>
          <a:bodyPr anchor="b"/>
          <a:lstStyle>
            <a:lvl1pPr marL="0" indent="0">
              <a:buNone/>
              <a:defRPr sz="2400" b="1"/>
            </a:lvl1pPr>
            <a:lvl2pPr marL="457115" indent="0">
              <a:buNone/>
              <a:defRPr sz="1900" b="1"/>
            </a:lvl2pPr>
            <a:lvl3pPr marL="914226" indent="0">
              <a:buNone/>
              <a:defRPr sz="1800" b="1"/>
            </a:lvl3pPr>
            <a:lvl4pPr marL="1371341" indent="0">
              <a:buNone/>
              <a:defRPr sz="1600" b="1"/>
            </a:lvl4pPr>
            <a:lvl5pPr marL="1828454" indent="0">
              <a:buNone/>
              <a:defRPr sz="1600" b="1"/>
            </a:lvl5pPr>
            <a:lvl6pPr marL="2285566" indent="0">
              <a:buNone/>
              <a:defRPr sz="1600" b="1"/>
            </a:lvl6pPr>
            <a:lvl7pPr marL="2742681" indent="0">
              <a:buNone/>
              <a:defRPr sz="1600" b="1"/>
            </a:lvl7pPr>
            <a:lvl8pPr marL="3199795" indent="0">
              <a:buNone/>
              <a:defRPr sz="1600" b="1"/>
            </a:lvl8pPr>
            <a:lvl9pPr marL="3656908" indent="0">
              <a:buNone/>
              <a:defRPr sz="1600" b="1"/>
            </a:lvl9pPr>
          </a:lstStyle>
          <a:p>
            <a:pPr lvl="0"/>
            <a:r>
              <a:rPr lang="de-DE"/>
              <a:t>Textmasterformat bearbeiten</a:t>
            </a:r>
          </a:p>
        </p:txBody>
      </p:sp>
      <p:sp>
        <p:nvSpPr>
          <p:cNvPr id="4" name="Inhaltsplatzhalter 3"/>
          <p:cNvSpPr>
            <a:spLocks noGrp="1"/>
          </p:cNvSpPr>
          <p:nvPr>
            <p:ph sz="half" idx="2"/>
          </p:nvPr>
        </p:nvSpPr>
        <p:spPr>
          <a:xfrm>
            <a:off x="457201" y="2174875"/>
            <a:ext cx="4040188" cy="3951288"/>
          </a:xfrm>
        </p:spPr>
        <p:txBody>
          <a:bodyPr/>
          <a:lstStyle>
            <a:lvl1pPr>
              <a:defRPr sz="2400"/>
            </a:lvl1pPr>
            <a:lvl2pPr>
              <a:defRPr sz="19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6" y="1535115"/>
            <a:ext cx="4041775" cy="639763"/>
          </a:xfrm>
        </p:spPr>
        <p:txBody>
          <a:bodyPr anchor="b"/>
          <a:lstStyle>
            <a:lvl1pPr marL="0" indent="0">
              <a:buNone/>
              <a:defRPr sz="2400" b="1"/>
            </a:lvl1pPr>
            <a:lvl2pPr marL="457115" indent="0">
              <a:buNone/>
              <a:defRPr sz="1900" b="1"/>
            </a:lvl2pPr>
            <a:lvl3pPr marL="914226" indent="0">
              <a:buNone/>
              <a:defRPr sz="1800" b="1"/>
            </a:lvl3pPr>
            <a:lvl4pPr marL="1371341" indent="0">
              <a:buNone/>
              <a:defRPr sz="1600" b="1"/>
            </a:lvl4pPr>
            <a:lvl5pPr marL="1828454" indent="0">
              <a:buNone/>
              <a:defRPr sz="1600" b="1"/>
            </a:lvl5pPr>
            <a:lvl6pPr marL="2285566" indent="0">
              <a:buNone/>
              <a:defRPr sz="1600" b="1"/>
            </a:lvl6pPr>
            <a:lvl7pPr marL="2742681" indent="0">
              <a:buNone/>
              <a:defRPr sz="1600" b="1"/>
            </a:lvl7pPr>
            <a:lvl8pPr marL="3199795" indent="0">
              <a:buNone/>
              <a:defRPr sz="1600" b="1"/>
            </a:lvl8pPr>
            <a:lvl9pPr marL="3656908" indent="0">
              <a:buNone/>
              <a:defRPr sz="1600" b="1"/>
            </a:lvl9pPr>
          </a:lstStyle>
          <a:p>
            <a:pPr lvl="0"/>
            <a:r>
              <a:rPr lang="de-DE"/>
              <a:t>Textmasterformat bearbeiten</a:t>
            </a:r>
          </a:p>
        </p:txBody>
      </p:sp>
      <p:sp>
        <p:nvSpPr>
          <p:cNvPr id="6" name="Inhaltsplatzhalter 5"/>
          <p:cNvSpPr>
            <a:spLocks noGrp="1"/>
          </p:cNvSpPr>
          <p:nvPr>
            <p:ph sz="quarter" idx="4"/>
          </p:nvPr>
        </p:nvSpPr>
        <p:spPr>
          <a:xfrm>
            <a:off x="4645026" y="2174875"/>
            <a:ext cx="4041775" cy="3951288"/>
          </a:xfrm>
        </p:spPr>
        <p:txBody>
          <a:bodyPr/>
          <a:lstStyle>
            <a:lvl1pPr>
              <a:defRPr sz="2400"/>
            </a:lvl1pPr>
            <a:lvl2pPr>
              <a:defRPr sz="19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3219836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30330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Text Box 11"/>
          <p:cNvSpPr txBox="1">
            <a:spLocks noChangeArrowheads="1"/>
          </p:cNvSpPr>
          <p:nvPr userDrawn="1"/>
        </p:nvSpPr>
        <p:spPr bwMode="auto">
          <a:xfrm>
            <a:off x="8669338" y="6358734"/>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p>
            <a:pPr algn="ctr">
              <a:spcBef>
                <a:spcPct val="50000"/>
              </a:spcBef>
            </a:pPr>
            <a:fld id="{5B699B80-ECA6-40A2-96F2-691E817FB89F}" type="slidenum">
              <a:rPr lang="de-DE" sz="1300">
                <a:solidFill>
                  <a:srgbClr val="000000"/>
                </a:solidFill>
              </a:rPr>
              <a:pPr algn="ctr">
                <a:spcBef>
                  <a:spcPct val="50000"/>
                </a:spcBef>
              </a:pPr>
              <a:t>‹Nr.›</a:t>
            </a:fld>
            <a:endParaRPr lang="de-DE" sz="1300" dirty="0">
              <a:solidFill>
                <a:srgbClr val="000000"/>
              </a:solidFill>
            </a:endParaRPr>
          </a:p>
        </p:txBody>
      </p:sp>
      <p:pic>
        <p:nvPicPr>
          <p:cNvPr id="4"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9265" y="0"/>
            <a:ext cx="1191559" cy="1257300"/>
          </a:xfrm>
          <a:prstGeom prst="rect">
            <a:avLst/>
          </a:prstGeom>
        </p:spPr>
      </p:pic>
    </p:spTree>
    <p:extLst>
      <p:ext uri="{BB962C8B-B14F-4D97-AF65-F5344CB8AC3E}">
        <p14:creationId xmlns:p14="http://schemas.microsoft.com/office/powerpoint/2010/main" val="7685709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3" y="2130429"/>
            <a:ext cx="7772400" cy="533479"/>
          </a:xfrm>
        </p:spPr>
        <p:txBody>
          <a:bodyPr/>
          <a:lstStyle/>
          <a:p>
            <a:r>
              <a:rPr lang="de-DE"/>
              <a:t>Titelmasterformat durch Klicken bearbeiten</a:t>
            </a:r>
          </a:p>
        </p:txBody>
      </p:sp>
      <p:sp>
        <p:nvSpPr>
          <p:cNvPr id="3" name="Untertitel 2"/>
          <p:cNvSpPr>
            <a:spLocks noGrp="1"/>
          </p:cNvSpPr>
          <p:nvPr>
            <p:ph type="subTitle" idx="1"/>
          </p:nvPr>
        </p:nvSpPr>
        <p:spPr>
          <a:xfrm>
            <a:off x="1371602" y="3886202"/>
            <a:ext cx="6400801" cy="1752601"/>
          </a:xfrm>
        </p:spPr>
        <p:txBody>
          <a:bodyPr/>
          <a:lstStyle>
            <a:lvl1pPr marL="0" indent="0" algn="ctr">
              <a:buNone/>
              <a:defRPr/>
            </a:lvl1pPr>
            <a:lvl2pPr marL="457115" indent="0" algn="ctr">
              <a:buNone/>
              <a:defRPr/>
            </a:lvl2pPr>
            <a:lvl3pPr marL="914226" indent="0" algn="ctr">
              <a:buNone/>
              <a:defRPr/>
            </a:lvl3pPr>
            <a:lvl4pPr marL="1371341" indent="0" algn="ctr">
              <a:buNone/>
              <a:defRPr/>
            </a:lvl4pPr>
            <a:lvl5pPr marL="1828454" indent="0" algn="ctr">
              <a:buNone/>
              <a:defRPr/>
            </a:lvl5pPr>
            <a:lvl6pPr marL="2285566" indent="0" algn="ctr">
              <a:buNone/>
              <a:defRPr/>
            </a:lvl6pPr>
            <a:lvl7pPr marL="2742681" indent="0" algn="ctr">
              <a:buNone/>
              <a:defRPr/>
            </a:lvl7pPr>
            <a:lvl8pPr marL="3199795" indent="0" algn="ctr">
              <a:buNone/>
              <a:defRPr/>
            </a:lvl8pPr>
            <a:lvl9pPr marL="3656908" indent="0" algn="ctr">
              <a:buNone/>
              <a:defRPr/>
            </a:lvl9pPr>
          </a:lstStyle>
          <a:p>
            <a:r>
              <a:rPr lang="de-DE"/>
              <a:t>Formatvorlage des Untertitelmasters durch Klicken bearbeiten</a:t>
            </a:r>
          </a:p>
        </p:txBody>
      </p:sp>
    </p:spTree>
    <p:extLst>
      <p:ext uri="{BB962C8B-B14F-4D97-AF65-F5344CB8AC3E}">
        <p14:creationId xmlns:p14="http://schemas.microsoft.com/office/powerpoint/2010/main" val="29023100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pic>
        <p:nvPicPr>
          <p:cNvPr id="4"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9265" y="0"/>
            <a:ext cx="1191559" cy="1257300"/>
          </a:xfrm>
          <a:prstGeom prst="rect">
            <a:avLst/>
          </a:prstGeom>
        </p:spPr>
      </p:pic>
      <p:sp>
        <p:nvSpPr>
          <p:cNvPr id="5" name="Text Box 11"/>
          <p:cNvSpPr txBox="1">
            <a:spLocks noChangeArrowheads="1"/>
          </p:cNvSpPr>
          <p:nvPr userDrawn="1"/>
        </p:nvSpPr>
        <p:spPr bwMode="auto">
          <a:xfrm>
            <a:off x="8555044" y="6349205"/>
            <a:ext cx="500529"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defPPr>
              <a:defRPr lang="de-DE"/>
            </a:defPPr>
            <a:lvl1pPr algn="l" rtl="0" fontAlgn="base">
              <a:spcBef>
                <a:spcPct val="0"/>
              </a:spcBef>
              <a:spcAft>
                <a:spcPct val="0"/>
              </a:spcAft>
              <a:defRPr sz="12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algn="ctr">
              <a:spcBef>
                <a:spcPct val="50000"/>
              </a:spcBef>
              <a:defRPr/>
            </a:pPr>
            <a:fld id="{FCCE17A1-84E7-4884-AF57-63AAF7920995}" type="slidenum">
              <a:rPr lang="de-DE" sz="1300" smtClean="0">
                <a:solidFill>
                  <a:srgbClr val="000000"/>
                </a:solidFill>
                <a:latin typeface="Gill Sans MT Light"/>
              </a:rPr>
              <a:pPr algn="ctr">
                <a:spcBef>
                  <a:spcPct val="50000"/>
                </a:spcBef>
                <a:defRPr/>
              </a:pPr>
              <a:t>‹Nr.›</a:t>
            </a:fld>
            <a:endParaRPr lang="de-DE" sz="1300" dirty="0">
              <a:solidFill>
                <a:srgbClr val="000000"/>
              </a:solidFill>
              <a:latin typeface="Gill Sans MT Light"/>
            </a:endParaRPr>
          </a:p>
        </p:txBody>
      </p:sp>
    </p:spTree>
    <p:extLst>
      <p:ext uri="{BB962C8B-B14F-4D97-AF65-F5344CB8AC3E}">
        <p14:creationId xmlns:p14="http://schemas.microsoft.com/office/powerpoint/2010/main" val="657188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5" y="4406900"/>
            <a:ext cx="7772400" cy="1292662"/>
          </a:xfrm>
        </p:spPr>
        <p:txBody>
          <a:bodyPr/>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722315" y="2906717"/>
            <a:ext cx="7772400" cy="1500187"/>
          </a:xfrm>
        </p:spPr>
        <p:txBody>
          <a:bodyPr anchor="b"/>
          <a:lstStyle>
            <a:lvl1pPr marL="0" indent="0">
              <a:buNone/>
              <a:defRPr sz="1900"/>
            </a:lvl1pPr>
            <a:lvl2pPr marL="457115" indent="0">
              <a:buNone/>
              <a:defRPr sz="1800"/>
            </a:lvl2pPr>
            <a:lvl3pPr marL="914226" indent="0">
              <a:buNone/>
              <a:defRPr sz="1600"/>
            </a:lvl3pPr>
            <a:lvl4pPr marL="1371341" indent="0">
              <a:buNone/>
              <a:defRPr sz="1500"/>
            </a:lvl4pPr>
            <a:lvl5pPr marL="1828454" indent="0">
              <a:buNone/>
              <a:defRPr sz="1500"/>
            </a:lvl5pPr>
            <a:lvl6pPr marL="2285566" indent="0">
              <a:buNone/>
              <a:defRPr sz="1500"/>
            </a:lvl6pPr>
            <a:lvl7pPr marL="2742681" indent="0">
              <a:buNone/>
              <a:defRPr sz="1500"/>
            </a:lvl7pPr>
            <a:lvl8pPr marL="3199795" indent="0">
              <a:buNone/>
              <a:defRPr sz="1500"/>
            </a:lvl8pPr>
            <a:lvl9pPr marL="3656908" indent="0">
              <a:buNone/>
              <a:defRPr sz="1500"/>
            </a:lvl9pPr>
          </a:lstStyle>
          <a:p>
            <a:pPr lvl="0"/>
            <a:r>
              <a:rPr lang="de-DE"/>
              <a:t>Textmasterformat bearbeiten</a:t>
            </a:r>
          </a:p>
        </p:txBody>
      </p:sp>
    </p:spTree>
    <p:extLst>
      <p:ext uri="{BB962C8B-B14F-4D97-AF65-F5344CB8AC3E}">
        <p14:creationId xmlns:p14="http://schemas.microsoft.com/office/powerpoint/2010/main" val="18131740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368303" y="1993899"/>
            <a:ext cx="3341688" cy="4510088"/>
          </a:xfrm>
        </p:spPr>
        <p:txBody>
          <a:bodyPr/>
          <a:lstStyle>
            <a:lvl1pPr>
              <a:defRPr sz="2800"/>
            </a:lvl1pPr>
            <a:lvl2pPr>
              <a:defRPr sz="2400"/>
            </a:lvl2pPr>
            <a:lvl3pPr>
              <a:defRPr sz="19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3862391" y="1993899"/>
            <a:ext cx="3343275" cy="4510088"/>
          </a:xfrm>
        </p:spPr>
        <p:txBody>
          <a:bodyPr/>
          <a:lstStyle>
            <a:lvl1pPr>
              <a:defRPr sz="2800"/>
            </a:lvl1pPr>
            <a:lvl2pPr>
              <a:defRPr sz="2400"/>
            </a:lvl2pPr>
            <a:lvl3pPr>
              <a:defRPr sz="19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5445128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41"/>
            <a:ext cx="8229601" cy="533479"/>
          </a:xfrm>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1" y="1535115"/>
            <a:ext cx="4040188" cy="639763"/>
          </a:xfrm>
        </p:spPr>
        <p:txBody>
          <a:bodyPr anchor="b"/>
          <a:lstStyle>
            <a:lvl1pPr marL="0" indent="0">
              <a:buNone/>
              <a:defRPr sz="2400" b="1"/>
            </a:lvl1pPr>
            <a:lvl2pPr marL="457115" indent="0">
              <a:buNone/>
              <a:defRPr sz="1900" b="1"/>
            </a:lvl2pPr>
            <a:lvl3pPr marL="914226" indent="0">
              <a:buNone/>
              <a:defRPr sz="1800" b="1"/>
            </a:lvl3pPr>
            <a:lvl4pPr marL="1371341" indent="0">
              <a:buNone/>
              <a:defRPr sz="1600" b="1"/>
            </a:lvl4pPr>
            <a:lvl5pPr marL="1828454" indent="0">
              <a:buNone/>
              <a:defRPr sz="1600" b="1"/>
            </a:lvl5pPr>
            <a:lvl6pPr marL="2285566" indent="0">
              <a:buNone/>
              <a:defRPr sz="1600" b="1"/>
            </a:lvl6pPr>
            <a:lvl7pPr marL="2742681" indent="0">
              <a:buNone/>
              <a:defRPr sz="1600" b="1"/>
            </a:lvl7pPr>
            <a:lvl8pPr marL="3199795" indent="0">
              <a:buNone/>
              <a:defRPr sz="1600" b="1"/>
            </a:lvl8pPr>
            <a:lvl9pPr marL="3656908" indent="0">
              <a:buNone/>
              <a:defRPr sz="1600" b="1"/>
            </a:lvl9pPr>
          </a:lstStyle>
          <a:p>
            <a:pPr lvl="0"/>
            <a:r>
              <a:rPr lang="de-DE"/>
              <a:t>Textmasterformat bearbeiten</a:t>
            </a:r>
          </a:p>
        </p:txBody>
      </p:sp>
      <p:sp>
        <p:nvSpPr>
          <p:cNvPr id="4" name="Inhaltsplatzhalter 3"/>
          <p:cNvSpPr>
            <a:spLocks noGrp="1"/>
          </p:cNvSpPr>
          <p:nvPr>
            <p:ph sz="half" idx="2"/>
          </p:nvPr>
        </p:nvSpPr>
        <p:spPr>
          <a:xfrm>
            <a:off x="457201" y="2174875"/>
            <a:ext cx="4040188" cy="3951288"/>
          </a:xfrm>
        </p:spPr>
        <p:txBody>
          <a:bodyPr/>
          <a:lstStyle>
            <a:lvl1pPr>
              <a:defRPr sz="2400"/>
            </a:lvl1pPr>
            <a:lvl2pPr>
              <a:defRPr sz="19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6" y="1535115"/>
            <a:ext cx="4041775" cy="639763"/>
          </a:xfrm>
        </p:spPr>
        <p:txBody>
          <a:bodyPr anchor="b"/>
          <a:lstStyle>
            <a:lvl1pPr marL="0" indent="0">
              <a:buNone/>
              <a:defRPr sz="2400" b="1"/>
            </a:lvl1pPr>
            <a:lvl2pPr marL="457115" indent="0">
              <a:buNone/>
              <a:defRPr sz="1900" b="1"/>
            </a:lvl2pPr>
            <a:lvl3pPr marL="914226" indent="0">
              <a:buNone/>
              <a:defRPr sz="1800" b="1"/>
            </a:lvl3pPr>
            <a:lvl4pPr marL="1371341" indent="0">
              <a:buNone/>
              <a:defRPr sz="1600" b="1"/>
            </a:lvl4pPr>
            <a:lvl5pPr marL="1828454" indent="0">
              <a:buNone/>
              <a:defRPr sz="1600" b="1"/>
            </a:lvl5pPr>
            <a:lvl6pPr marL="2285566" indent="0">
              <a:buNone/>
              <a:defRPr sz="1600" b="1"/>
            </a:lvl6pPr>
            <a:lvl7pPr marL="2742681" indent="0">
              <a:buNone/>
              <a:defRPr sz="1600" b="1"/>
            </a:lvl7pPr>
            <a:lvl8pPr marL="3199795" indent="0">
              <a:buNone/>
              <a:defRPr sz="1600" b="1"/>
            </a:lvl8pPr>
            <a:lvl9pPr marL="3656908" indent="0">
              <a:buNone/>
              <a:defRPr sz="1600" b="1"/>
            </a:lvl9pPr>
          </a:lstStyle>
          <a:p>
            <a:pPr lvl="0"/>
            <a:r>
              <a:rPr lang="de-DE"/>
              <a:t>Textmasterformat bearbeiten</a:t>
            </a:r>
          </a:p>
        </p:txBody>
      </p:sp>
      <p:sp>
        <p:nvSpPr>
          <p:cNvPr id="6" name="Inhaltsplatzhalter 5"/>
          <p:cNvSpPr>
            <a:spLocks noGrp="1"/>
          </p:cNvSpPr>
          <p:nvPr>
            <p:ph sz="quarter" idx="4"/>
          </p:nvPr>
        </p:nvSpPr>
        <p:spPr>
          <a:xfrm>
            <a:off x="4645026" y="2174875"/>
            <a:ext cx="4041775" cy="3951288"/>
          </a:xfrm>
        </p:spPr>
        <p:txBody>
          <a:bodyPr/>
          <a:lstStyle>
            <a:lvl1pPr>
              <a:defRPr sz="2400"/>
            </a:lvl1pPr>
            <a:lvl2pPr>
              <a:defRPr sz="19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5532014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pic>
        <p:nvPicPr>
          <p:cNvPr id="3" name="Grafik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9265" y="0"/>
            <a:ext cx="1191559" cy="1257300"/>
          </a:xfrm>
          <a:prstGeom prst="rect">
            <a:avLst/>
          </a:prstGeom>
        </p:spPr>
      </p:pic>
      <p:sp>
        <p:nvSpPr>
          <p:cNvPr id="4" name="Text Box 11"/>
          <p:cNvSpPr txBox="1">
            <a:spLocks noChangeArrowheads="1"/>
          </p:cNvSpPr>
          <p:nvPr userDrawn="1"/>
        </p:nvSpPr>
        <p:spPr bwMode="auto">
          <a:xfrm>
            <a:off x="8555044" y="6349205"/>
            <a:ext cx="500529"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defPPr>
              <a:defRPr lang="de-DE"/>
            </a:defPPr>
            <a:lvl1pPr algn="l" rtl="0" fontAlgn="base">
              <a:spcBef>
                <a:spcPct val="0"/>
              </a:spcBef>
              <a:spcAft>
                <a:spcPct val="0"/>
              </a:spcAft>
              <a:defRPr sz="12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algn="ctr">
              <a:spcBef>
                <a:spcPct val="50000"/>
              </a:spcBef>
              <a:defRPr/>
            </a:pPr>
            <a:fld id="{FCCE17A1-84E7-4884-AF57-63AAF7920995}" type="slidenum">
              <a:rPr lang="de-DE" sz="1300" smtClean="0">
                <a:solidFill>
                  <a:srgbClr val="000000"/>
                </a:solidFill>
                <a:latin typeface="Gill Sans MT Light"/>
              </a:rPr>
              <a:pPr algn="ctr">
                <a:spcBef>
                  <a:spcPct val="50000"/>
                </a:spcBef>
                <a:defRPr/>
              </a:pPr>
              <a:t>‹Nr.›</a:t>
            </a:fld>
            <a:endParaRPr lang="de-DE" sz="1300" dirty="0">
              <a:solidFill>
                <a:srgbClr val="000000"/>
              </a:solidFill>
              <a:latin typeface="Gill Sans MT Light"/>
            </a:endParaRPr>
          </a:p>
        </p:txBody>
      </p:sp>
    </p:spTree>
    <p:extLst>
      <p:ext uri="{BB962C8B-B14F-4D97-AF65-F5344CB8AC3E}">
        <p14:creationId xmlns:p14="http://schemas.microsoft.com/office/powerpoint/2010/main" val="11092050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pic>
        <p:nvPicPr>
          <p:cNvPr id="6" name="Grafik 5">
            <a:extLst>
              <a:ext uri="{FF2B5EF4-FFF2-40B4-BE49-F238E27FC236}">
                <a16:creationId xmlns:a16="http://schemas.microsoft.com/office/drawing/2014/main" id="{2FA5D87B-701F-42A2-A82D-5992960609D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33394" y="1"/>
            <a:ext cx="1191559" cy="1257300"/>
          </a:xfrm>
          <a:prstGeom prst="rect">
            <a:avLst/>
          </a:prstGeom>
        </p:spPr>
      </p:pic>
      <p:sp>
        <p:nvSpPr>
          <p:cNvPr id="8" name="Text Box 11">
            <a:extLst>
              <a:ext uri="{FF2B5EF4-FFF2-40B4-BE49-F238E27FC236}">
                <a16:creationId xmlns:a16="http://schemas.microsoft.com/office/drawing/2014/main" id="{4C8429B5-F0DA-4298-97FA-D02BE015B00B}"/>
              </a:ext>
            </a:extLst>
          </p:cNvPr>
          <p:cNvSpPr txBox="1">
            <a:spLocks noChangeArrowheads="1"/>
          </p:cNvSpPr>
          <p:nvPr userDrawn="1"/>
        </p:nvSpPr>
        <p:spPr bwMode="auto">
          <a:xfrm>
            <a:off x="8669338" y="6349206"/>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FCCE17A1-84E7-4884-AF57-63AAF7920995}" type="slidenum">
              <a:rPr lang="de-DE" sz="1300" smtClean="0"/>
              <a:pPr algn="ctr">
                <a:spcBef>
                  <a:spcPct val="50000"/>
                </a:spcBef>
                <a:defRPr/>
              </a:pPr>
              <a:t>‹Nr.›</a:t>
            </a:fld>
            <a:endParaRPr lang="de-DE" sz="1300" dirty="0"/>
          </a:p>
        </p:txBody>
      </p:sp>
    </p:spTree>
    <p:extLst>
      <p:ext uri="{BB962C8B-B14F-4D97-AF65-F5344CB8AC3E}">
        <p14:creationId xmlns:p14="http://schemas.microsoft.com/office/powerpoint/2010/main" val="5209058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9265" y="0"/>
            <a:ext cx="1191559" cy="1257300"/>
          </a:xfrm>
          <a:prstGeom prst="rect">
            <a:avLst/>
          </a:prstGeom>
        </p:spPr>
      </p:pic>
      <p:sp>
        <p:nvSpPr>
          <p:cNvPr id="3" name="Text Box 11"/>
          <p:cNvSpPr txBox="1">
            <a:spLocks noChangeArrowheads="1"/>
          </p:cNvSpPr>
          <p:nvPr userDrawn="1"/>
        </p:nvSpPr>
        <p:spPr bwMode="auto">
          <a:xfrm>
            <a:off x="8695211" y="6349205"/>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defPPr>
              <a:defRPr lang="de-DE"/>
            </a:defPPr>
            <a:lvl1pPr algn="l" rtl="0" fontAlgn="base">
              <a:spcBef>
                <a:spcPct val="0"/>
              </a:spcBef>
              <a:spcAft>
                <a:spcPct val="0"/>
              </a:spcAft>
              <a:defRPr sz="12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algn="ctr">
              <a:spcBef>
                <a:spcPct val="50000"/>
              </a:spcBef>
              <a:defRPr/>
            </a:pPr>
            <a:fld id="{FCCE17A1-84E7-4884-AF57-63AAF7920995}" type="slidenum">
              <a:rPr lang="de-DE" sz="1300" smtClean="0">
                <a:solidFill>
                  <a:srgbClr val="000000"/>
                </a:solidFill>
                <a:latin typeface="Gill Sans MT Light"/>
              </a:rPr>
              <a:pPr algn="ctr">
                <a:spcBef>
                  <a:spcPct val="50000"/>
                </a:spcBef>
                <a:defRPr/>
              </a:pPr>
              <a:t>‹Nr.›</a:t>
            </a:fld>
            <a:endParaRPr lang="de-DE" sz="1300" dirty="0">
              <a:solidFill>
                <a:srgbClr val="000000"/>
              </a:solidFill>
              <a:latin typeface="Gill Sans MT Light"/>
            </a:endParaRPr>
          </a:p>
        </p:txBody>
      </p:sp>
    </p:spTree>
    <p:extLst>
      <p:ext uri="{BB962C8B-B14F-4D97-AF65-F5344CB8AC3E}">
        <p14:creationId xmlns:p14="http://schemas.microsoft.com/office/powerpoint/2010/main" val="25410021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3" y="821086"/>
            <a:ext cx="3008313" cy="614014"/>
          </a:xfrm>
        </p:spPr>
        <p:txBody>
          <a:bodyPr anchor="b"/>
          <a:lstStyle>
            <a:lvl1pPr algn="l">
              <a:defRPr sz="1900" b="1"/>
            </a:lvl1pPr>
          </a:lstStyle>
          <a:p>
            <a:r>
              <a:rPr lang="de-DE"/>
              <a:t>Titelmasterformat durch Klicken bearbeiten</a:t>
            </a:r>
          </a:p>
        </p:txBody>
      </p:sp>
      <p:sp>
        <p:nvSpPr>
          <p:cNvPr id="3" name="Inhaltsplatzhalter 2"/>
          <p:cNvSpPr>
            <a:spLocks noGrp="1"/>
          </p:cNvSpPr>
          <p:nvPr>
            <p:ph idx="1"/>
          </p:nvPr>
        </p:nvSpPr>
        <p:spPr>
          <a:xfrm>
            <a:off x="3575050" y="273052"/>
            <a:ext cx="5111750" cy="5853112"/>
          </a:xfrm>
        </p:spPr>
        <p:txBody>
          <a:bodyPr/>
          <a:lstStyle>
            <a:lvl1pPr>
              <a:defRPr sz="3200"/>
            </a:lvl1pPr>
            <a:lvl2pPr>
              <a:defRPr sz="2800"/>
            </a:lvl2pPr>
            <a:lvl3pPr>
              <a:defRPr sz="2400"/>
            </a:lvl3pPr>
            <a:lvl4pPr>
              <a:defRPr sz="1900"/>
            </a:lvl4pPr>
            <a:lvl5pPr>
              <a:defRPr sz="1900"/>
            </a:lvl5pPr>
            <a:lvl6pPr>
              <a:defRPr sz="1900"/>
            </a:lvl6pPr>
            <a:lvl7pPr>
              <a:defRPr sz="1900"/>
            </a:lvl7pPr>
            <a:lvl8pPr>
              <a:defRPr sz="1900"/>
            </a:lvl8pPr>
            <a:lvl9pPr>
              <a:defRPr sz="19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457203" y="1435101"/>
            <a:ext cx="3008313" cy="4691063"/>
          </a:xfrm>
        </p:spPr>
        <p:txBody>
          <a:bodyPr/>
          <a:lstStyle>
            <a:lvl1pPr marL="0" indent="0">
              <a:buNone/>
              <a:defRPr sz="1500"/>
            </a:lvl1pPr>
            <a:lvl2pPr marL="457115" indent="0">
              <a:buNone/>
              <a:defRPr sz="1200"/>
            </a:lvl2pPr>
            <a:lvl3pPr marL="914226" indent="0">
              <a:buNone/>
              <a:defRPr sz="1000"/>
            </a:lvl3pPr>
            <a:lvl4pPr marL="1371341" indent="0">
              <a:buNone/>
              <a:defRPr sz="900"/>
            </a:lvl4pPr>
            <a:lvl5pPr marL="1828454" indent="0">
              <a:buNone/>
              <a:defRPr sz="900"/>
            </a:lvl5pPr>
            <a:lvl6pPr marL="2285566" indent="0">
              <a:buNone/>
              <a:defRPr sz="900"/>
            </a:lvl6pPr>
            <a:lvl7pPr marL="2742681" indent="0">
              <a:buNone/>
              <a:defRPr sz="900"/>
            </a:lvl7pPr>
            <a:lvl8pPr marL="3199795" indent="0">
              <a:buNone/>
              <a:defRPr sz="900"/>
            </a:lvl8pPr>
            <a:lvl9pPr marL="3656908" indent="0">
              <a:buNone/>
              <a:defRPr sz="900"/>
            </a:lvl9pPr>
          </a:lstStyle>
          <a:p>
            <a:pPr lvl="0"/>
            <a:r>
              <a:rPr lang="de-DE"/>
              <a:t>Textmasterformat bearbeiten</a:t>
            </a:r>
          </a:p>
        </p:txBody>
      </p:sp>
    </p:spTree>
    <p:extLst>
      <p:ext uri="{BB962C8B-B14F-4D97-AF65-F5344CB8AC3E}">
        <p14:creationId xmlns:p14="http://schemas.microsoft.com/office/powerpoint/2010/main" val="9599713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5060334"/>
            <a:ext cx="5486400" cy="307007"/>
          </a:xfrm>
        </p:spPr>
        <p:txBody>
          <a:bodyPr anchor="b"/>
          <a:lstStyle>
            <a:lvl1pPr algn="l">
              <a:defRPr sz="1900" b="1"/>
            </a:lvl1pPr>
          </a:lstStyle>
          <a:p>
            <a:r>
              <a:rPr lang="de-DE"/>
              <a:t>Titelmasterformat durch Klicken bearbeiten</a:t>
            </a:r>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115" indent="0">
              <a:buNone/>
              <a:defRPr sz="2800"/>
            </a:lvl2pPr>
            <a:lvl3pPr marL="914226" indent="0">
              <a:buNone/>
              <a:defRPr sz="2400"/>
            </a:lvl3pPr>
            <a:lvl4pPr marL="1371341" indent="0">
              <a:buNone/>
              <a:defRPr sz="1900"/>
            </a:lvl4pPr>
            <a:lvl5pPr marL="1828454" indent="0">
              <a:buNone/>
              <a:defRPr sz="1900"/>
            </a:lvl5pPr>
            <a:lvl6pPr marL="2285566" indent="0">
              <a:buNone/>
              <a:defRPr sz="1900"/>
            </a:lvl6pPr>
            <a:lvl7pPr marL="2742681" indent="0">
              <a:buNone/>
              <a:defRPr sz="1900"/>
            </a:lvl7pPr>
            <a:lvl8pPr marL="3199795" indent="0">
              <a:buNone/>
              <a:defRPr sz="1900"/>
            </a:lvl8pPr>
            <a:lvl9pPr marL="3656908" indent="0">
              <a:buNone/>
              <a:defRPr sz="1900"/>
            </a:lvl9pPr>
          </a:lstStyle>
          <a:p>
            <a:pPr lvl="0"/>
            <a:endParaRPr lang="de-DE" noProof="0" dirty="0"/>
          </a:p>
        </p:txBody>
      </p:sp>
      <p:sp>
        <p:nvSpPr>
          <p:cNvPr id="4" name="Textplatzhalter 3"/>
          <p:cNvSpPr>
            <a:spLocks noGrp="1"/>
          </p:cNvSpPr>
          <p:nvPr>
            <p:ph type="body" sz="half" idx="2"/>
          </p:nvPr>
        </p:nvSpPr>
        <p:spPr>
          <a:xfrm>
            <a:off x="1792288" y="5367339"/>
            <a:ext cx="5486400" cy="804862"/>
          </a:xfrm>
        </p:spPr>
        <p:txBody>
          <a:bodyPr/>
          <a:lstStyle>
            <a:lvl1pPr marL="0" indent="0">
              <a:buNone/>
              <a:defRPr sz="1500"/>
            </a:lvl1pPr>
            <a:lvl2pPr marL="457115" indent="0">
              <a:buNone/>
              <a:defRPr sz="1200"/>
            </a:lvl2pPr>
            <a:lvl3pPr marL="914226" indent="0">
              <a:buNone/>
              <a:defRPr sz="1000"/>
            </a:lvl3pPr>
            <a:lvl4pPr marL="1371341" indent="0">
              <a:buNone/>
              <a:defRPr sz="900"/>
            </a:lvl4pPr>
            <a:lvl5pPr marL="1828454" indent="0">
              <a:buNone/>
              <a:defRPr sz="900"/>
            </a:lvl5pPr>
            <a:lvl6pPr marL="2285566" indent="0">
              <a:buNone/>
              <a:defRPr sz="900"/>
            </a:lvl6pPr>
            <a:lvl7pPr marL="2742681" indent="0">
              <a:buNone/>
              <a:defRPr sz="900"/>
            </a:lvl7pPr>
            <a:lvl8pPr marL="3199795" indent="0">
              <a:buNone/>
              <a:defRPr sz="900"/>
            </a:lvl8pPr>
            <a:lvl9pPr marL="3656908" indent="0">
              <a:buNone/>
              <a:defRPr sz="900"/>
            </a:lvl9pPr>
          </a:lstStyle>
          <a:p>
            <a:pPr lvl="0"/>
            <a:r>
              <a:rPr lang="de-DE"/>
              <a:t>Textmasterformat bearbeiten</a:t>
            </a:r>
          </a:p>
        </p:txBody>
      </p:sp>
    </p:spTree>
    <p:extLst>
      <p:ext uri="{BB962C8B-B14F-4D97-AF65-F5344CB8AC3E}">
        <p14:creationId xmlns:p14="http://schemas.microsoft.com/office/powerpoint/2010/main" val="34369894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3251930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5986903" y="654049"/>
            <a:ext cx="1218763" cy="5849938"/>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355600" y="654049"/>
            <a:ext cx="4986338" cy="584993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6391424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dgm" preserve="1">
  <p:cSld name="Titel und Diagramm oder Organigramm">
    <p:spTree>
      <p:nvGrpSpPr>
        <p:cNvPr id="1" name=""/>
        <p:cNvGrpSpPr/>
        <p:nvPr/>
      </p:nvGrpSpPr>
      <p:grpSpPr>
        <a:xfrm>
          <a:off x="0" y="0"/>
          <a:ext cx="0" cy="0"/>
          <a:chOff x="0" y="0"/>
          <a:chExt cx="0" cy="0"/>
        </a:xfrm>
      </p:grpSpPr>
      <p:sp>
        <p:nvSpPr>
          <p:cNvPr id="2" name="Titel 1"/>
          <p:cNvSpPr>
            <a:spLocks noGrp="1"/>
          </p:cNvSpPr>
          <p:nvPr>
            <p:ph type="title"/>
          </p:nvPr>
        </p:nvSpPr>
        <p:spPr>
          <a:xfrm>
            <a:off x="355604" y="654054"/>
            <a:ext cx="6837363" cy="1034129"/>
          </a:xfrm>
        </p:spPr>
        <p:txBody>
          <a:bodyPr/>
          <a:lstStyle/>
          <a:p>
            <a:r>
              <a:rPr lang="de-DE"/>
              <a:t>Titelmasterformat durch Klicken bearbeiten</a:t>
            </a:r>
          </a:p>
        </p:txBody>
      </p:sp>
      <p:sp>
        <p:nvSpPr>
          <p:cNvPr id="3" name="SmartArt-Platzhalter 2"/>
          <p:cNvSpPr>
            <a:spLocks noGrp="1"/>
          </p:cNvSpPr>
          <p:nvPr>
            <p:ph type="dgm" idx="1"/>
          </p:nvPr>
        </p:nvSpPr>
        <p:spPr>
          <a:xfrm>
            <a:off x="368303" y="1993899"/>
            <a:ext cx="6837363" cy="4510088"/>
          </a:xfrm>
        </p:spPr>
        <p:txBody>
          <a:bodyPr/>
          <a:lstStyle/>
          <a:p>
            <a:pPr lvl="0"/>
            <a:endParaRPr lang="de-DE" noProof="0" dirty="0"/>
          </a:p>
        </p:txBody>
      </p:sp>
      <p:pic>
        <p:nvPicPr>
          <p:cNvPr id="4"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9265" y="0"/>
            <a:ext cx="1191559" cy="1257300"/>
          </a:xfrm>
          <a:prstGeom prst="rect">
            <a:avLst/>
          </a:prstGeom>
        </p:spPr>
      </p:pic>
      <p:sp>
        <p:nvSpPr>
          <p:cNvPr id="5" name="Text Box 11"/>
          <p:cNvSpPr txBox="1">
            <a:spLocks noChangeArrowheads="1"/>
          </p:cNvSpPr>
          <p:nvPr userDrawn="1"/>
        </p:nvSpPr>
        <p:spPr bwMode="auto">
          <a:xfrm>
            <a:off x="8695211" y="6349205"/>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defPPr>
              <a:defRPr lang="de-DE"/>
            </a:defPPr>
            <a:lvl1pPr algn="l" rtl="0" fontAlgn="base">
              <a:spcBef>
                <a:spcPct val="0"/>
              </a:spcBef>
              <a:spcAft>
                <a:spcPct val="0"/>
              </a:spcAft>
              <a:defRPr sz="12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algn="ctr">
              <a:spcBef>
                <a:spcPct val="50000"/>
              </a:spcBef>
              <a:defRPr/>
            </a:pPr>
            <a:fld id="{FCCE17A1-84E7-4884-AF57-63AAF7920995}" type="slidenum">
              <a:rPr lang="de-DE" sz="1300" smtClean="0">
                <a:solidFill>
                  <a:srgbClr val="000000"/>
                </a:solidFill>
                <a:latin typeface="Gill Sans MT Light"/>
              </a:rPr>
              <a:pPr algn="ctr">
                <a:spcBef>
                  <a:spcPct val="50000"/>
                </a:spcBef>
                <a:defRPr/>
              </a:pPr>
              <a:t>‹Nr.›</a:t>
            </a:fld>
            <a:endParaRPr lang="de-DE" sz="1300" dirty="0">
              <a:solidFill>
                <a:srgbClr val="000000"/>
              </a:solidFill>
              <a:latin typeface="Gill Sans MT Light"/>
            </a:endParaRPr>
          </a:p>
        </p:txBody>
      </p:sp>
    </p:spTree>
    <p:extLst>
      <p:ext uri="{BB962C8B-B14F-4D97-AF65-F5344CB8AC3E}">
        <p14:creationId xmlns:p14="http://schemas.microsoft.com/office/powerpoint/2010/main" val="136871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pic>
        <p:nvPicPr>
          <p:cNvPr id="4"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33394" y="1"/>
            <a:ext cx="1191559" cy="1257300"/>
          </a:xfrm>
          <a:prstGeom prst="rect">
            <a:avLst/>
          </a:prstGeom>
        </p:spPr>
      </p:pic>
      <p:sp>
        <p:nvSpPr>
          <p:cNvPr id="10" name="Text Box 11"/>
          <p:cNvSpPr txBox="1">
            <a:spLocks noChangeArrowheads="1"/>
          </p:cNvSpPr>
          <p:nvPr userDrawn="1"/>
        </p:nvSpPr>
        <p:spPr bwMode="auto">
          <a:xfrm>
            <a:off x="8669338" y="6349206"/>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FCCE17A1-84E7-4884-AF57-63AAF7920995}" type="slidenum">
              <a:rPr lang="de-DE" sz="1300" smtClean="0">
                <a:solidFill>
                  <a:srgbClr val="000000"/>
                </a:solidFill>
              </a:rPr>
              <a:pPr algn="ctr">
                <a:spcBef>
                  <a:spcPct val="50000"/>
                </a:spcBef>
                <a:defRPr/>
              </a:pPr>
              <a:t>‹Nr.›</a:t>
            </a:fld>
            <a:endParaRPr lang="de-DE" sz="1300" dirty="0">
              <a:solidFill>
                <a:srgbClr val="000000"/>
              </a:solidFill>
            </a:endParaRPr>
          </a:p>
        </p:txBody>
      </p:sp>
    </p:spTree>
    <p:extLst>
      <p:ext uri="{BB962C8B-B14F-4D97-AF65-F5344CB8AC3E}">
        <p14:creationId xmlns:p14="http://schemas.microsoft.com/office/powerpoint/2010/main" val="17785389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5" name="Text Box 11"/>
          <p:cNvSpPr txBox="1">
            <a:spLocks noChangeArrowheads="1"/>
          </p:cNvSpPr>
          <p:nvPr userDrawn="1"/>
        </p:nvSpPr>
        <p:spPr bwMode="auto">
          <a:xfrm>
            <a:off x="8637591" y="6348414"/>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FCCE17A1-84E7-4884-AF57-63AAF7920995}" type="slidenum">
              <a:rPr lang="de-DE" sz="1300" smtClean="0">
                <a:solidFill>
                  <a:srgbClr val="000000"/>
                </a:solidFill>
              </a:rPr>
              <a:pPr algn="ctr">
                <a:spcBef>
                  <a:spcPct val="50000"/>
                </a:spcBef>
                <a:defRPr/>
              </a:pPr>
              <a:t>‹Nr.›</a:t>
            </a:fld>
            <a:endParaRPr lang="de-DE" sz="1300" dirty="0">
              <a:solidFill>
                <a:srgbClr val="000000"/>
              </a:solidFill>
            </a:endParaRP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33394" y="1"/>
            <a:ext cx="1191559" cy="1257300"/>
          </a:xfrm>
          <a:prstGeom prst="rect">
            <a:avLst/>
          </a:prstGeom>
        </p:spPr>
      </p:pic>
    </p:spTree>
    <p:extLst>
      <p:ext uri="{BB962C8B-B14F-4D97-AF65-F5344CB8AC3E}">
        <p14:creationId xmlns:p14="http://schemas.microsoft.com/office/powerpoint/2010/main" val="29512710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dgm" preserve="1">
  <p:cSld name="Titel und Diagramm oder Organigramm">
    <p:spTree>
      <p:nvGrpSpPr>
        <p:cNvPr id="1" name=""/>
        <p:cNvGrpSpPr/>
        <p:nvPr/>
      </p:nvGrpSpPr>
      <p:grpSpPr>
        <a:xfrm>
          <a:off x="0" y="0"/>
          <a:ext cx="0" cy="0"/>
          <a:chOff x="0" y="0"/>
          <a:chExt cx="0" cy="0"/>
        </a:xfrm>
      </p:grpSpPr>
      <p:sp>
        <p:nvSpPr>
          <p:cNvPr id="2" name="Titel 1"/>
          <p:cNvSpPr>
            <a:spLocks noGrp="1"/>
          </p:cNvSpPr>
          <p:nvPr>
            <p:ph type="title"/>
          </p:nvPr>
        </p:nvSpPr>
        <p:spPr>
          <a:xfrm>
            <a:off x="355604" y="654054"/>
            <a:ext cx="6837363" cy="1034129"/>
          </a:xfrm>
        </p:spPr>
        <p:txBody>
          <a:bodyPr/>
          <a:lstStyle/>
          <a:p>
            <a:r>
              <a:rPr lang="de-DE"/>
              <a:t>Titelmasterformat durch Klicken bearbeiten</a:t>
            </a:r>
          </a:p>
        </p:txBody>
      </p:sp>
      <p:sp>
        <p:nvSpPr>
          <p:cNvPr id="3" name="SmartArt-Platzhalter 2"/>
          <p:cNvSpPr>
            <a:spLocks noGrp="1"/>
          </p:cNvSpPr>
          <p:nvPr>
            <p:ph type="dgm" idx="1"/>
          </p:nvPr>
        </p:nvSpPr>
        <p:spPr>
          <a:xfrm>
            <a:off x="368303" y="1993899"/>
            <a:ext cx="6837363" cy="4510088"/>
          </a:xfrm>
        </p:spPr>
        <p:txBody>
          <a:bodyPr/>
          <a:lstStyle/>
          <a:p>
            <a:pPr lvl="0"/>
            <a:endParaRPr lang="de-DE" noProof="0" dirty="0"/>
          </a:p>
        </p:txBody>
      </p:sp>
      <p:sp>
        <p:nvSpPr>
          <p:cNvPr id="6" name="Text Box 11"/>
          <p:cNvSpPr txBox="1">
            <a:spLocks noChangeArrowheads="1"/>
          </p:cNvSpPr>
          <p:nvPr userDrawn="1"/>
        </p:nvSpPr>
        <p:spPr bwMode="auto">
          <a:xfrm>
            <a:off x="8697122" y="6394451"/>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FCCE17A1-84E7-4884-AF57-63AAF7920995}" type="slidenum">
              <a:rPr lang="de-DE" sz="1300" smtClean="0">
                <a:solidFill>
                  <a:srgbClr val="000000"/>
                </a:solidFill>
              </a:rPr>
              <a:pPr algn="ctr">
                <a:spcBef>
                  <a:spcPct val="50000"/>
                </a:spcBef>
                <a:defRPr/>
              </a:pPr>
              <a:t>‹Nr.›</a:t>
            </a:fld>
            <a:endParaRPr lang="de-DE" sz="1300" dirty="0">
              <a:solidFill>
                <a:srgbClr val="000000"/>
              </a:solidFill>
            </a:endParaRPr>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33394" y="1"/>
            <a:ext cx="1191559" cy="1257300"/>
          </a:xfrm>
          <a:prstGeom prst="rect">
            <a:avLst/>
          </a:prstGeom>
        </p:spPr>
      </p:pic>
    </p:spTree>
    <p:extLst>
      <p:ext uri="{BB962C8B-B14F-4D97-AF65-F5344CB8AC3E}">
        <p14:creationId xmlns:p14="http://schemas.microsoft.com/office/powerpoint/2010/main" val="25159615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chart" preserve="1">
  <p:cSld name="Titel und Diagramm">
    <p:spTree>
      <p:nvGrpSpPr>
        <p:cNvPr id="1" name=""/>
        <p:cNvGrpSpPr/>
        <p:nvPr/>
      </p:nvGrpSpPr>
      <p:grpSpPr>
        <a:xfrm>
          <a:off x="0" y="0"/>
          <a:ext cx="0" cy="0"/>
          <a:chOff x="0" y="0"/>
          <a:chExt cx="0" cy="0"/>
        </a:xfrm>
      </p:grpSpPr>
      <p:sp>
        <p:nvSpPr>
          <p:cNvPr id="2" name="Titel 1"/>
          <p:cNvSpPr>
            <a:spLocks noGrp="1"/>
          </p:cNvSpPr>
          <p:nvPr>
            <p:ph type="title"/>
          </p:nvPr>
        </p:nvSpPr>
        <p:spPr>
          <a:xfrm>
            <a:off x="355604" y="654054"/>
            <a:ext cx="6837363" cy="1034129"/>
          </a:xfrm>
        </p:spPr>
        <p:txBody>
          <a:bodyPr/>
          <a:lstStyle/>
          <a:p>
            <a:r>
              <a:rPr lang="de-DE"/>
              <a:t>Titelmasterformat durch Klicken bearbeiten</a:t>
            </a:r>
          </a:p>
        </p:txBody>
      </p:sp>
      <p:sp>
        <p:nvSpPr>
          <p:cNvPr id="3" name="Diagrammplatzhalter 2"/>
          <p:cNvSpPr>
            <a:spLocks noGrp="1"/>
          </p:cNvSpPr>
          <p:nvPr>
            <p:ph type="chart" idx="1"/>
          </p:nvPr>
        </p:nvSpPr>
        <p:spPr>
          <a:xfrm>
            <a:off x="368303" y="1993899"/>
            <a:ext cx="6837363" cy="4510088"/>
          </a:xfrm>
        </p:spPr>
        <p:txBody>
          <a:bodyPr/>
          <a:lstStyle/>
          <a:p>
            <a:pPr lvl="0"/>
            <a:endParaRPr lang="de-DE" noProof="0" dirty="0"/>
          </a:p>
        </p:txBody>
      </p:sp>
      <p:sp>
        <p:nvSpPr>
          <p:cNvPr id="4" name="Text Box 11"/>
          <p:cNvSpPr txBox="1">
            <a:spLocks noChangeArrowheads="1"/>
          </p:cNvSpPr>
          <p:nvPr userDrawn="1"/>
        </p:nvSpPr>
        <p:spPr bwMode="auto">
          <a:xfrm>
            <a:off x="8639970" y="6346033"/>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FCCE17A1-84E7-4884-AF57-63AAF7920995}" type="slidenum">
              <a:rPr lang="de-DE" sz="1300" smtClean="0">
                <a:solidFill>
                  <a:srgbClr val="000000"/>
                </a:solidFill>
              </a:rPr>
              <a:pPr algn="ctr">
                <a:spcBef>
                  <a:spcPct val="50000"/>
                </a:spcBef>
                <a:defRPr/>
              </a:pPr>
              <a:t>‹Nr.›</a:t>
            </a:fld>
            <a:endParaRPr lang="de-DE" sz="1300" dirty="0">
              <a:solidFill>
                <a:srgbClr val="000000"/>
              </a:solidFill>
            </a:endParaRPr>
          </a:p>
        </p:txBody>
      </p:sp>
      <p:pic>
        <p:nvPicPr>
          <p:cNvPr id="6"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33394" y="1"/>
            <a:ext cx="1191559" cy="1257300"/>
          </a:xfrm>
          <a:prstGeom prst="rect">
            <a:avLst/>
          </a:prstGeom>
        </p:spPr>
      </p:pic>
    </p:spTree>
    <p:extLst>
      <p:ext uri="{BB962C8B-B14F-4D97-AF65-F5344CB8AC3E}">
        <p14:creationId xmlns:p14="http://schemas.microsoft.com/office/powerpoint/2010/main" val="28560211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dgm" preserve="1">
  <p:cSld name="Titel und Diagramm oder Organigramm">
    <p:spTree>
      <p:nvGrpSpPr>
        <p:cNvPr id="1" name=""/>
        <p:cNvGrpSpPr/>
        <p:nvPr/>
      </p:nvGrpSpPr>
      <p:grpSpPr>
        <a:xfrm>
          <a:off x="0" y="0"/>
          <a:ext cx="0" cy="0"/>
          <a:chOff x="0" y="0"/>
          <a:chExt cx="0" cy="0"/>
        </a:xfrm>
      </p:grpSpPr>
      <p:sp>
        <p:nvSpPr>
          <p:cNvPr id="2" name="Titel 1"/>
          <p:cNvSpPr>
            <a:spLocks noGrp="1"/>
          </p:cNvSpPr>
          <p:nvPr>
            <p:ph type="title"/>
          </p:nvPr>
        </p:nvSpPr>
        <p:spPr>
          <a:xfrm>
            <a:off x="355604" y="654054"/>
            <a:ext cx="6837363" cy="1034129"/>
          </a:xfrm>
        </p:spPr>
        <p:txBody>
          <a:bodyPr/>
          <a:lstStyle/>
          <a:p>
            <a:r>
              <a:rPr lang="de-DE"/>
              <a:t>Titelmasterformat durch Klicken bearbeiten</a:t>
            </a:r>
          </a:p>
        </p:txBody>
      </p:sp>
      <p:sp>
        <p:nvSpPr>
          <p:cNvPr id="3" name="SmartArt-Platzhalter 2"/>
          <p:cNvSpPr>
            <a:spLocks noGrp="1"/>
          </p:cNvSpPr>
          <p:nvPr>
            <p:ph type="dgm" idx="1"/>
          </p:nvPr>
        </p:nvSpPr>
        <p:spPr>
          <a:xfrm>
            <a:off x="368303" y="1993899"/>
            <a:ext cx="6837363" cy="4510088"/>
          </a:xfrm>
        </p:spPr>
        <p:txBody>
          <a:bodyPr/>
          <a:lstStyle/>
          <a:p>
            <a:pPr lvl="0"/>
            <a:r>
              <a:rPr lang="de-DE" noProof="0" dirty="0"/>
              <a:t>Klicken Sie auf das Symbol, um die SmartArt-Grafik hinzuzufügen</a:t>
            </a:r>
          </a:p>
        </p:txBody>
      </p:sp>
      <p:sp>
        <p:nvSpPr>
          <p:cNvPr id="6" name="Text Box 11"/>
          <p:cNvSpPr txBox="1">
            <a:spLocks noChangeArrowheads="1"/>
          </p:cNvSpPr>
          <p:nvPr userDrawn="1"/>
        </p:nvSpPr>
        <p:spPr bwMode="auto">
          <a:xfrm>
            <a:off x="8697122" y="6394451"/>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FCCE17A1-84E7-4884-AF57-63AAF7920995}" type="slidenum">
              <a:rPr lang="de-DE" sz="1300" smtClean="0"/>
              <a:pPr algn="ctr">
                <a:spcBef>
                  <a:spcPct val="50000"/>
                </a:spcBef>
                <a:defRPr/>
              </a:pPr>
              <a:t>‹Nr.›</a:t>
            </a:fld>
            <a:endParaRPr lang="de-DE" sz="1300" dirty="0"/>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33394" y="1"/>
            <a:ext cx="1191559" cy="1257300"/>
          </a:xfrm>
          <a:prstGeom prst="rect">
            <a:avLst/>
          </a:prstGeom>
        </p:spPr>
      </p:pic>
    </p:spTree>
    <p:extLst>
      <p:ext uri="{BB962C8B-B14F-4D97-AF65-F5344CB8AC3E}">
        <p14:creationId xmlns:p14="http://schemas.microsoft.com/office/powerpoint/2010/main" val="38812822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bl" preserve="1">
  <p:cSld name="Titel und Tabelle">
    <p:spTree>
      <p:nvGrpSpPr>
        <p:cNvPr id="1" name=""/>
        <p:cNvGrpSpPr/>
        <p:nvPr/>
      </p:nvGrpSpPr>
      <p:grpSpPr>
        <a:xfrm>
          <a:off x="0" y="0"/>
          <a:ext cx="0" cy="0"/>
          <a:chOff x="0" y="0"/>
          <a:chExt cx="0" cy="0"/>
        </a:xfrm>
      </p:grpSpPr>
      <p:sp>
        <p:nvSpPr>
          <p:cNvPr id="2" name="Titel 1"/>
          <p:cNvSpPr>
            <a:spLocks noGrp="1"/>
          </p:cNvSpPr>
          <p:nvPr>
            <p:ph type="title"/>
          </p:nvPr>
        </p:nvSpPr>
        <p:spPr>
          <a:xfrm>
            <a:off x="355604" y="654054"/>
            <a:ext cx="6837363" cy="1034129"/>
          </a:xfrm>
        </p:spPr>
        <p:txBody>
          <a:bodyPr/>
          <a:lstStyle/>
          <a:p>
            <a:r>
              <a:rPr lang="de-DE"/>
              <a:t>Titelmasterformat durch Klicken bearbeiten</a:t>
            </a:r>
          </a:p>
        </p:txBody>
      </p:sp>
      <p:sp>
        <p:nvSpPr>
          <p:cNvPr id="3" name="Tabellenplatzhalter 2"/>
          <p:cNvSpPr>
            <a:spLocks noGrp="1"/>
          </p:cNvSpPr>
          <p:nvPr>
            <p:ph type="tbl" idx="1"/>
          </p:nvPr>
        </p:nvSpPr>
        <p:spPr>
          <a:xfrm>
            <a:off x="368303" y="1993899"/>
            <a:ext cx="6837363" cy="4510088"/>
          </a:xfrm>
        </p:spPr>
        <p:txBody>
          <a:bodyPr/>
          <a:lstStyle/>
          <a:p>
            <a:pPr lvl="0"/>
            <a:endParaRPr lang="de-DE" noProof="0" dirty="0"/>
          </a:p>
        </p:txBody>
      </p:sp>
      <p:sp>
        <p:nvSpPr>
          <p:cNvPr id="4" name="Text Box 11"/>
          <p:cNvSpPr txBox="1">
            <a:spLocks noChangeArrowheads="1"/>
          </p:cNvSpPr>
          <p:nvPr userDrawn="1"/>
        </p:nvSpPr>
        <p:spPr bwMode="auto">
          <a:xfrm>
            <a:off x="8639970" y="6368259"/>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FCCE17A1-84E7-4884-AF57-63AAF7920995}" type="slidenum">
              <a:rPr lang="de-DE" sz="1300" smtClean="0">
                <a:solidFill>
                  <a:srgbClr val="000000"/>
                </a:solidFill>
              </a:rPr>
              <a:pPr algn="ctr">
                <a:spcBef>
                  <a:spcPct val="50000"/>
                </a:spcBef>
                <a:defRPr/>
              </a:pPr>
              <a:t>‹Nr.›</a:t>
            </a:fld>
            <a:endParaRPr lang="de-DE" sz="1300" dirty="0">
              <a:solidFill>
                <a:srgbClr val="000000"/>
              </a:solidFill>
            </a:endParaRPr>
          </a:p>
        </p:txBody>
      </p:sp>
      <p:pic>
        <p:nvPicPr>
          <p:cNvPr id="6"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33394" y="1"/>
            <a:ext cx="1191559" cy="1257300"/>
          </a:xfrm>
          <a:prstGeom prst="rect">
            <a:avLst/>
          </a:prstGeom>
        </p:spPr>
      </p:pic>
    </p:spTree>
    <p:extLst>
      <p:ext uri="{BB962C8B-B14F-4D97-AF65-F5344CB8AC3E}">
        <p14:creationId xmlns:p14="http://schemas.microsoft.com/office/powerpoint/2010/main" val="12057969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pic>
        <p:nvPicPr>
          <p:cNvPr id="4"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33394" y="1"/>
            <a:ext cx="1191559" cy="1257300"/>
          </a:xfrm>
          <a:prstGeom prst="rect">
            <a:avLst/>
          </a:prstGeom>
        </p:spPr>
      </p:pic>
      <p:sp>
        <p:nvSpPr>
          <p:cNvPr id="10" name="Text Box 11"/>
          <p:cNvSpPr txBox="1">
            <a:spLocks noChangeArrowheads="1"/>
          </p:cNvSpPr>
          <p:nvPr userDrawn="1"/>
        </p:nvSpPr>
        <p:spPr bwMode="auto">
          <a:xfrm>
            <a:off x="8669338" y="6349206"/>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FCCE17A1-84E7-4884-AF57-63AAF7920995}" type="slidenum">
              <a:rPr lang="de-DE" sz="1300" smtClean="0">
                <a:solidFill>
                  <a:srgbClr val="000000"/>
                </a:solidFill>
              </a:rPr>
              <a:pPr algn="ctr">
                <a:spcBef>
                  <a:spcPct val="50000"/>
                </a:spcBef>
                <a:defRPr/>
              </a:pPr>
              <a:t>‹Nr.›</a:t>
            </a:fld>
            <a:endParaRPr lang="de-DE" sz="1300" dirty="0">
              <a:solidFill>
                <a:srgbClr val="000000"/>
              </a:solidFill>
            </a:endParaRPr>
          </a:p>
        </p:txBody>
      </p:sp>
    </p:spTree>
    <p:extLst>
      <p:ext uri="{BB962C8B-B14F-4D97-AF65-F5344CB8AC3E}">
        <p14:creationId xmlns:p14="http://schemas.microsoft.com/office/powerpoint/2010/main" val="32676193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5" name="Text Box 11"/>
          <p:cNvSpPr txBox="1">
            <a:spLocks noChangeArrowheads="1"/>
          </p:cNvSpPr>
          <p:nvPr userDrawn="1"/>
        </p:nvSpPr>
        <p:spPr bwMode="auto">
          <a:xfrm>
            <a:off x="8637591" y="6348414"/>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FCCE17A1-84E7-4884-AF57-63AAF7920995}" type="slidenum">
              <a:rPr lang="de-DE" sz="1300" smtClean="0">
                <a:solidFill>
                  <a:srgbClr val="000000"/>
                </a:solidFill>
              </a:rPr>
              <a:pPr algn="ctr">
                <a:spcBef>
                  <a:spcPct val="50000"/>
                </a:spcBef>
                <a:defRPr/>
              </a:pPr>
              <a:t>‹Nr.›</a:t>
            </a:fld>
            <a:endParaRPr lang="de-DE" sz="1300" dirty="0">
              <a:solidFill>
                <a:srgbClr val="000000"/>
              </a:solidFill>
            </a:endParaRP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33394" y="1"/>
            <a:ext cx="1191559" cy="1257300"/>
          </a:xfrm>
          <a:prstGeom prst="rect">
            <a:avLst/>
          </a:prstGeom>
        </p:spPr>
      </p:pic>
    </p:spTree>
    <p:extLst>
      <p:ext uri="{BB962C8B-B14F-4D97-AF65-F5344CB8AC3E}">
        <p14:creationId xmlns:p14="http://schemas.microsoft.com/office/powerpoint/2010/main" val="12988826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dgm" preserve="1">
  <p:cSld name="Titel und Diagramm oder Organigramm">
    <p:spTree>
      <p:nvGrpSpPr>
        <p:cNvPr id="1" name=""/>
        <p:cNvGrpSpPr/>
        <p:nvPr/>
      </p:nvGrpSpPr>
      <p:grpSpPr>
        <a:xfrm>
          <a:off x="0" y="0"/>
          <a:ext cx="0" cy="0"/>
          <a:chOff x="0" y="0"/>
          <a:chExt cx="0" cy="0"/>
        </a:xfrm>
      </p:grpSpPr>
      <p:sp>
        <p:nvSpPr>
          <p:cNvPr id="2" name="Titel 1"/>
          <p:cNvSpPr>
            <a:spLocks noGrp="1"/>
          </p:cNvSpPr>
          <p:nvPr>
            <p:ph type="title"/>
          </p:nvPr>
        </p:nvSpPr>
        <p:spPr>
          <a:xfrm>
            <a:off x="355604" y="654054"/>
            <a:ext cx="6837363" cy="1034129"/>
          </a:xfrm>
        </p:spPr>
        <p:txBody>
          <a:bodyPr/>
          <a:lstStyle/>
          <a:p>
            <a:r>
              <a:rPr lang="de-DE"/>
              <a:t>Titelmasterformat durch Klicken bearbeiten</a:t>
            </a:r>
          </a:p>
        </p:txBody>
      </p:sp>
      <p:sp>
        <p:nvSpPr>
          <p:cNvPr id="3" name="SmartArt-Platzhalter 2"/>
          <p:cNvSpPr>
            <a:spLocks noGrp="1"/>
          </p:cNvSpPr>
          <p:nvPr>
            <p:ph type="dgm" idx="1"/>
          </p:nvPr>
        </p:nvSpPr>
        <p:spPr>
          <a:xfrm>
            <a:off x="368303" y="1993899"/>
            <a:ext cx="6837363" cy="4510088"/>
          </a:xfrm>
        </p:spPr>
        <p:txBody>
          <a:bodyPr/>
          <a:lstStyle/>
          <a:p>
            <a:pPr lvl="0"/>
            <a:r>
              <a:rPr lang="de-DE" noProof="0" dirty="0"/>
              <a:t>Klicken Sie auf das Symbol, um die SmartArt-Grafik hinzuzufügen</a:t>
            </a:r>
          </a:p>
        </p:txBody>
      </p:sp>
      <p:sp>
        <p:nvSpPr>
          <p:cNvPr id="6" name="Text Box 11"/>
          <p:cNvSpPr txBox="1">
            <a:spLocks noChangeArrowheads="1"/>
          </p:cNvSpPr>
          <p:nvPr userDrawn="1"/>
        </p:nvSpPr>
        <p:spPr bwMode="auto">
          <a:xfrm>
            <a:off x="8697122" y="6394451"/>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FCCE17A1-84E7-4884-AF57-63AAF7920995}" type="slidenum">
              <a:rPr lang="de-DE" sz="1300" smtClean="0">
                <a:solidFill>
                  <a:srgbClr val="000000"/>
                </a:solidFill>
              </a:rPr>
              <a:pPr algn="ctr">
                <a:spcBef>
                  <a:spcPct val="50000"/>
                </a:spcBef>
                <a:defRPr/>
              </a:pPr>
              <a:t>‹Nr.›</a:t>
            </a:fld>
            <a:endParaRPr lang="de-DE" sz="1300" dirty="0">
              <a:solidFill>
                <a:srgbClr val="000000"/>
              </a:solidFill>
            </a:endParaRPr>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33394" y="1"/>
            <a:ext cx="1191559" cy="1257300"/>
          </a:xfrm>
          <a:prstGeom prst="rect">
            <a:avLst/>
          </a:prstGeom>
        </p:spPr>
      </p:pic>
    </p:spTree>
    <p:extLst>
      <p:ext uri="{BB962C8B-B14F-4D97-AF65-F5344CB8AC3E}">
        <p14:creationId xmlns:p14="http://schemas.microsoft.com/office/powerpoint/2010/main" val="38377150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chart" preserve="1">
  <p:cSld name="Titel und Diagramm">
    <p:spTree>
      <p:nvGrpSpPr>
        <p:cNvPr id="1" name=""/>
        <p:cNvGrpSpPr/>
        <p:nvPr/>
      </p:nvGrpSpPr>
      <p:grpSpPr>
        <a:xfrm>
          <a:off x="0" y="0"/>
          <a:ext cx="0" cy="0"/>
          <a:chOff x="0" y="0"/>
          <a:chExt cx="0" cy="0"/>
        </a:xfrm>
      </p:grpSpPr>
      <p:sp>
        <p:nvSpPr>
          <p:cNvPr id="2" name="Titel 1"/>
          <p:cNvSpPr>
            <a:spLocks noGrp="1"/>
          </p:cNvSpPr>
          <p:nvPr>
            <p:ph type="title"/>
          </p:nvPr>
        </p:nvSpPr>
        <p:spPr>
          <a:xfrm>
            <a:off x="355604" y="654054"/>
            <a:ext cx="6837363" cy="1034129"/>
          </a:xfrm>
        </p:spPr>
        <p:txBody>
          <a:bodyPr/>
          <a:lstStyle/>
          <a:p>
            <a:r>
              <a:rPr lang="de-DE"/>
              <a:t>Titelmasterformat durch Klicken bearbeiten</a:t>
            </a:r>
          </a:p>
        </p:txBody>
      </p:sp>
      <p:sp>
        <p:nvSpPr>
          <p:cNvPr id="3" name="Diagrammplatzhalter 2"/>
          <p:cNvSpPr>
            <a:spLocks noGrp="1"/>
          </p:cNvSpPr>
          <p:nvPr>
            <p:ph type="chart" idx="1"/>
          </p:nvPr>
        </p:nvSpPr>
        <p:spPr>
          <a:xfrm>
            <a:off x="368303" y="1993899"/>
            <a:ext cx="6837363" cy="4510088"/>
          </a:xfrm>
        </p:spPr>
        <p:txBody>
          <a:bodyPr/>
          <a:lstStyle/>
          <a:p>
            <a:pPr lvl="0"/>
            <a:r>
              <a:rPr lang="de-DE" noProof="0" dirty="0"/>
              <a:t>Diagramm durch Klicken auf Symbol hinzufügen</a:t>
            </a:r>
          </a:p>
        </p:txBody>
      </p:sp>
      <p:sp>
        <p:nvSpPr>
          <p:cNvPr id="4" name="Text Box 11"/>
          <p:cNvSpPr txBox="1">
            <a:spLocks noChangeArrowheads="1"/>
          </p:cNvSpPr>
          <p:nvPr userDrawn="1"/>
        </p:nvSpPr>
        <p:spPr bwMode="auto">
          <a:xfrm>
            <a:off x="8639970" y="6346033"/>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FCCE17A1-84E7-4884-AF57-63AAF7920995}" type="slidenum">
              <a:rPr lang="de-DE" sz="1300" smtClean="0">
                <a:solidFill>
                  <a:srgbClr val="000000"/>
                </a:solidFill>
              </a:rPr>
              <a:pPr algn="ctr">
                <a:spcBef>
                  <a:spcPct val="50000"/>
                </a:spcBef>
                <a:defRPr/>
              </a:pPr>
              <a:t>‹Nr.›</a:t>
            </a:fld>
            <a:endParaRPr lang="de-DE" sz="1300" dirty="0">
              <a:solidFill>
                <a:srgbClr val="000000"/>
              </a:solidFill>
            </a:endParaRPr>
          </a:p>
        </p:txBody>
      </p:sp>
      <p:pic>
        <p:nvPicPr>
          <p:cNvPr id="6"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33394" y="1"/>
            <a:ext cx="1191559" cy="1257300"/>
          </a:xfrm>
          <a:prstGeom prst="rect">
            <a:avLst/>
          </a:prstGeom>
        </p:spPr>
      </p:pic>
    </p:spTree>
    <p:extLst>
      <p:ext uri="{BB962C8B-B14F-4D97-AF65-F5344CB8AC3E}">
        <p14:creationId xmlns:p14="http://schemas.microsoft.com/office/powerpoint/2010/main" val="31189494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bl" preserve="1">
  <p:cSld name="Titel und Tabelle">
    <p:spTree>
      <p:nvGrpSpPr>
        <p:cNvPr id="1" name=""/>
        <p:cNvGrpSpPr/>
        <p:nvPr/>
      </p:nvGrpSpPr>
      <p:grpSpPr>
        <a:xfrm>
          <a:off x="0" y="0"/>
          <a:ext cx="0" cy="0"/>
          <a:chOff x="0" y="0"/>
          <a:chExt cx="0" cy="0"/>
        </a:xfrm>
      </p:grpSpPr>
      <p:sp>
        <p:nvSpPr>
          <p:cNvPr id="2" name="Titel 1"/>
          <p:cNvSpPr>
            <a:spLocks noGrp="1"/>
          </p:cNvSpPr>
          <p:nvPr>
            <p:ph type="title"/>
          </p:nvPr>
        </p:nvSpPr>
        <p:spPr>
          <a:xfrm>
            <a:off x="355604" y="654054"/>
            <a:ext cx="6837363" cy="1034129"/>
          </a:xfrm>
        </p:spPr>
        <p:txBody>
          <a:bodyPr/>
          <a:lstStyle/>
          <a:p>
            <a:r>
              <a:rPr lang="de-DE"/>
              <a:t>Titelmasterformat durch Klicken bearbeiten</a:t>
            </a:r>
          </a:p>
        </p:txBody>
      </p:sp>
      <p:sp>
        <p:nvSpPr>
          <p:cNvPr id="3" name="Tabellenplatzhalter 2"/>
          <p:cNvSpPr>
            <a:spLocks noGrp="1"/>
          </p:cNvSpPr>
          <p:nvPr>
            <p:ph type="tbl" idx="1"/>
          </p:nvPr>
        </p:nvSpPr>
        <p:spPr>
          <a:xfrm>
            <a:off x="368303" y="1993899"/>
            <a:ext cx="6837363" cy="4510088"/>
          </a:xfrm>
        </p:spPr>
        <p:txBody>
          <a:bodyPr/>
          <a:lstStyle/>
          <a:p>
            <a:pPr lvl="0"/>
            <a:r>
              <a:rPr lang="de-DE" noProof="0" dirty="0"/>
              <a:t>Tabelle durch Klicken auf Symbol hinzufügen</a:t>
            </a:r>
          </a:p>
        </p:txBody>
      </p:sp>
      <p:sp>
        <p:nvSpPr>
          <p:cNvPr id="4" name="Text Box 11"/>
          <p:cNvSpPr txBox="1">
            <a:spLocks noChangeArrowheads="1"/>
          </p:cNvSpPr>
          <p:nvPr userDrawn="1"/>
        </p:nvSpPr>
        <p:spPr bwMode="auto">
          <a:xfrm>
            <a:off x="8639970" y="6368259"/>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FCCE17A1-84E7-4884-AF57-63AAF7920995}" type="slidenum">
              <a:rPr lang="de-DE" sz="1300" smtClean="0">
                <a:solidFill>
                  <a:srgbClr val="000000"/>
                </a:solidFill>
              </a:rPr>
              <a:pPr algn="ctr">
                <a:spcBef>
                  <a:spcPct val="50000"/>
                </a:spcBef>
                <a:defRPr/>
              </a:pPr>
              <a:t>‹Nr.›</a:t>
            </a:fld>
            <a:endParaRPr lang="de-DE" sz="1300" dirty="0">
              <a:solidFill>
                <a:srgbClr val="000000"/>
              </a:solidFill>
            </a:endParaRPr>
          </a:p>
        </p:txBody>
      </p:sp>
      <p:pic>
        <p:nvPicPr>
          <p:cNvPr id="6"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33394" y="1"/>
            <a:ext cx="1191559" cy="1257300"/>
          </a:xfrm>
          <a:prstGeom prst="rect">
            <a:avLst/>
          </a:prstGeom>
        </p:spPr>
      </p:pic>
    </p:spTree>
    <p:extLst>
      <p:ext uri="{BB962C8B-B14F-4D97-AF65-F5344CB8AC3E}">
        <p14:creationId xmlns:p14="http://schemas.microsoft.com/office/powerpoint/2010/main" val="2455487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3" y="2130429"/>
            <a:ext cx="7772400" cy="1470025"/>
          </a:xfrm>
        </p:spPr>
        <p:txBody>
          <a:bodyPr/>
          <a:lstStyle/>
          <a:p>
            <a:r>
              <a:rPr lang="de-DE"/>
              <a:t>Titelmasterformat durch Klicken bearbeiten</a:t>
            </a:r>
          </a:p>
        </p:txBody>
      </p:sp>
      <p:sp>
        <p:nvSpPr>
          <p:cNvPr id="3" name="Untertitel 2"/>
          <p:cNvSpPr>
            <a:spLocks noGrp="1"/>
          </p:cNvSpPr>
          <p:nvPr>
            <p:ph type="subTitle" idx="1"/>
          </p:nvPr>
        </p:nvSpPr>
        <p:spPr>
          <a:xfrm>
            <a:off x="1371602" y="3886202"/>
            <a:ext cx="6400801" cy="1752601"/>
          </a:xfrm>
        </p:spPr>
        <p:txBody>
          <a:bodyPr/>
          <a:lstStyle>
            <a:lvl1pPr marL="0" indent="0" algn="ctr">
              <a:buNone/>
              <a:defRPr/>
            </a:lvl1pPr>
            <a:lvl2pPr marL="457115" indent="0" algn="ctr">
              <a:buNone/>
              <a:defRPr/>
            </a:lvl2pPr>
            <a:lvl3pPr marL="914226" indent="0" algn="ctr">
              <a:buNone/>
              <a:defRPr/>
            </a:lvl3pPr>
            <a:lvl4pPr marL="1371341" indent="0" algn="ctr">
              <a:buNone/>
              <a:defRPr/>
            </a:lvl4pPr>
            <a:lvl5pPr marL="1828454" indent="0" algn="ctr">
              <a:buNone/>
              <a:defRPr/>
            </a:lvl5pPr>
            <a:lvl6pPr marL="2285566" indent="0" algn="ctr">
              <a:buNone/>
              <a:defRPr/>
            </a:lvl6pPr>
            <a:lvl7pPr marL="2742681" indent="0" algn="ctr">
              <a:buNone/>
              <a:defRPr/>
            </a:lvl7pPr>
            <a:lvl8pPr marL="3199795" indent="0" algn="ctr">
              <a:buNone/>
              <a:defRPr/>
            </a:lvl8pPr>
            <a:lvl9pPr marL="3656908" indent="0" algn="ctr">
              <a:buNone/>
              <a:defRPr/>
            </a:lvl9pPr>
          </a:lstStyle>
          <a:p>
            <a:r>
              <a:rPr lang="de-DE"/>
              <a:t>Formatvorlage des Untertitelmasters durch Klicken bearbeiten</a:t>
            </a:r>
          </a:p>
        </p:txBody>
      </p:sp>
    </p:spTree>
    <p:extLst>
      <p:ext uri="{BB962C8B-B14F-4D97-AF65-F5344CB8AC3E}">
        <p14:creationId xmlns:p14="http://schemas.microsoft.com/office/powerpoint/2010/main" val="10677553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 Box 11"/>
          <p:cNvSpPr txBox="1">
            <a:spLocks noChangeArrowheads="1"/>
          </p:cNvSpPr>
          <p:nvPr userDrawn="1"/>
        </p:nvSpPr>
        <p:spPr bwMode="auto">
          <a:xfrm>
            <a:off x="8669338" y="6358734"/>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p>
            <a:pPr algn="ctr">
              <a:spcBef>
                <a:spcPct val="50000"/>
              </a:spcBef>
            </a:pPr>
            <a:fld id="{5B699B80-ECA6-40A2-96F2-691E817FB89F}" type="slidenum">
              <a:rPr lang="de-DE" sz="1300">
                <a:solidFill>
                  <a:srgbClr val="000000"/>
                </a:solidFill>
              </a:rPr>
              <a:pPr algn="ctr">
                <a:spcBef>
                  <a:spcPct val="50000"/>
                </a:spcBef>
              </a:pPr>
              <a:t>‹Nr.›</a:t>
            </a:fld>
            <a:endParaRPr lang="de-DE" sz="1300" dirty="0">
              <a:solidFill>
                <a:srgbClr val="000000"/>
              </a:solidFill>
            </a:endParaRP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9265" y="0"/>
            <a:ext cx="1191559" cy="1257300"/>
          </a:xfrm>
          <a:prstGeom prst="rect">
            <a:avLst/>
          </a:prstGeom>
        </p:spPr>
      </p:pic>
    </p:spTree>
    <p:extLst>
      <p:ext uri="{BB962C8B-B14F-4D97-AF65-F5344CB8AC3E}">
        <p14:creationId xmlns:p14="http://schemas.microsoft.com/office/powerpoint/2010/main" val="40039806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5" y="4406900"/>
            <a:ext cx="7772400" cy="1362075"/>
          </a:xfrm>
        </p:spPr>
        <p:txBody>
          <a:bodyPr anchor="t"/>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722315" y="2906717"/>
            <a:ext cx="7772400" cy="1500187"/>
          </a:xfrm>
        </p:spPr>
        <p:txBody>
          <a:bodyPr anchor="b"/>
          <a:lstStyle>
            <a:lvl1pPr marL="0" indent="0">
              <a:buNone/>
              <a:defRPr sz="1900"/>
            </a:lvl1pPr>
            <a:lvl2pPr marL="457115" indent="0">
              <a:buNone/>
              <a:defRPr sz="1800"/>
            </a:lvl2pPr>
            <a:lvl3pPr marL="914226" indent="0">
              <a:buNone/>
              <a:defRPr sz="1600"/>
            </a:lvl3pPr>
            <a:lvl4pPr marL="1371341" indent="0">
              <a:buNone/>
              <a:defRPr sz="1500"/>
            </a:lvl4pPr>
            <a:lvl5pPr marL="1828454" indent="0">
              <a:buNone/>
              <a:defRPr sz="1500"/>
            </a:lvl5pPr>
            <a:lvl6pPr marL="2285566" indent="0">
              <a:buNone/>
              <a:defRPr sz="1500"/>
            </a:lvl6pPr>
            <a:lvl7pPr marL="2742681" indent="0">
              <a:buNone/>
              <a:defRPr sz="1500"/>
            </a:lvl7pPr>
            <a:lvl8pPr marL="3199795" indent="0">
              <a:buNone/>
              <a:defRPr sz="1500"/>
            </a:lvl8pPr>
            <a:lvl9pPr marL="3656908" indent="0">
              <a:buNone/>
              <a:defRPr sz="1500"/>
            </a:lvl9pPr>
          </a:lstStyle>
          <a:p>
            <a:pPr lvl="0"/>
            <a:r>
              <a:rPr lang="de-DE"/>
              <a:t>Textmasterformat bearbeiten</a:t>
            </a:r>
          </a:p>
        </p:txBody>
      </p:sp>
    </p:spTree>
    <p:extLst>
      <p:ext uri="{BB962C8B-B14F-4D97-AF65-F5344CB8AC3E}">
        <p14:creationId xmlns:p14="http://schemas.microsoft.com/office/powerpoint/2010/main" val="1575403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457200" y="1600202"/>
            <a:ext cx="4038600" cy="4525963"/>
          </a:xfrm>
        </p:spPr>
        <p:txBody>
          <a:bodyPr/>
          <a:lstStyle>
            <a:lvl1pPr>
              <a:defRPr sz="2800"/>
            </a:lvl1pPr>
            <a:lvl2pPr>
              <a:defRPr sz="2400"/>
            </a:lvl2pPr>
            <a:lvl3pPr>
              <a:defRPr sz="19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48200" y="1600202"/>
            <a:ext cx="4038600" cy="4525963"/>
          </a:xfrm>
        </p:spPr>
        <p:txBody>
          <a:bodyPr/>
          <a:lstStyle>
            <a:lvl1pPr>
              <a:defRPr sz="2800"/>
            </a:lvl1pPr>
            <a:lvl2pPr>
              <a:defRPr sz="2400"/>
            </a:lvl2pPr>
            <a:lvl3pPr>
              <a:defRPr sz="19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6564994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chart" preserve="1">
  <p:cSld name="Titel und Diagramm">
    <p:spTree>
      <p:nvGrpSpPr>
        <p:cNvPr id="1" name=""/>
        <p:cNvGrpSpPr/>
        <p:nvPr/>
      </p:nvGrpSpPr>
      <p:grpSpPr>
        <a:xfrm>
          <a:off x="0" y="0"/>
          <a:ext cx="0" cy="0"/>
          <a:chOff x="0" y="0"/>
          <a:chExt cx="0" cy="0"/>
        </a:xfrm>
      </p:grpSpPr>
      <p:sp>
        <p:nvSpPr>
          <p:cNvPr id="2" name="Titel 1"/>
          <p:cNvSpPr>
            <a:spLocks noGrp="1"/>
          </p:cNvSpPr>
          <p:nvPr>
            <p:ph type="title"/>
          </p:nvPr>
        </p:nvSpPr>
        <p:spPr>
          <a:xfrm>
            <a:off x="355604" y="654054"/>
            <a:ext cx="6837363" cy="1034129"/>
          </a:xfrm>
        </p:spPr>
        <p:txBody>
          <a:bodyPr/>
          <a:lstStyle/>
          <a:p>
            <a:r>
              <a:rPr lang="de-DE"/>
              <a:t>Titelmasterformat durch Klicken bearbeiten</a:t>
            </a:r>
          </a:p>
        </p:txBody>
      </p:sp>
      <p:sp>
        <p:nvSpPr>
          <p:cNvPr id="3" name="Diagrammplatzhalter 2"/>
          <p:cNvSpPr>
            <a:spLocks noGrp="1"/>
          </p:cNvSpPr>
          <p:nvPr>
            <p:ph type="chart" idx="1"/>
          </p:nvPr>
        </p:nvSpPr>
        <p:spPr>
          <a:xfrm>
            <a:off x="368303" y="1993899"/>
            <a:ext cx="6837363" cy="4510088"/>
          </a:xfrm>
        </p:spPr>
        <p:txBody>
          <a:bodyPr/>
          <a:lstStyle/>
          <a:p>
            <a:pPr lvl="0"/>
            <a:r>
              <a:rPr lang="de-DE" noProof="0" dirty="0"/>
              <a:t>Diagramm durch Klicken auf Symbol hinzufügen</a:t>
            </a:r>
          </a:p>
        </p:txBody>
      </p:sp>
      <p:pic>
        <p:nvPicPr>
          <p:cNvPr id="7" name="Grafik 6">
            <a:extLst>
              <a:ext uri="{FF2B5EF4-FFF2-40B4-BE49-F238E27FC236}">
                <a16:creationId xmlns:a16="http://schemas.microsoft.com/office/drawing/2014/main" id="{9C935027-75EE-4BA4-9BF5-9B085E931D5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33394" y="1"/>
            <a:ext cx="1191559" cy="1257300"/>
          </a:xfrm>
          <a:prstGeom prst="rect">
            <a:avLst/>
          </a:prstGeom>
        </p:spPr>
      </p:pic>
      <p:sp>
        <p:nvSpPr>
          <p:cNvPr id="8" name="Text Box 11">
            <a:extLst>
              <a:ext uri="{FF2B5EF4-FFF2-40B4-BE49-F238E27FC236}">
                <a16:creationId xmlns:a16="http://schemas.microsoft.com/office/drawing/2014/main" id="{CA141068-F3F5-49D4-922E-F71927F6CDE8}"/>
              </a:ext>
            </a:extLst>
          </p:cNvPr>
          <p:cNvSpPr txBox="1">
            <a:spLocks noChangeArrowheads="1"/>
          </p:cNvSpPr>
          <p:nvPr userDrawn="1"/>
        </p:nvSpPr>
        <p:spPr bwMode="auto">
          <a:xfrm>
            <a:off x="8669338" y="6349206"/>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FCCE17A1-84E7-4884-AF57-63AAF7920995}" type="slidenum">
              <a:rPr lang="de-DE" sz="1300" smtClean="0"/>
              <a:pPr algn="ctr">
                <a:spcBef>
                  <a:spcPct val="50000"/>
                </a:spcBef>
                <a:defRPr/>
              </a:pPr>
              <a:t>‹Nr.›</a:t>
            </a:fld>
            <a:endParaRPr lang="de-DE" sz="1300" dirty="0"/>
          </a:p>
        </p:txBody>
      </p:sp>
    </p:spTree>
    <p:extLst>
      <p:ext uri="{BB962C8B-B14F-4D97-AF65-F5344CB8AC3E}">
        <p14:creationId xmlns:p14="http://schemas.microsoft.com/office/powerpoint/2010/main" val="25214440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1" y="1535115"/>
            <a:ext cx="4040188" cy="639763"/>
          </a:xfrm>
        </p:spPr>
        <p:txBody>
          <a:bodyPr anchor="b"/>
          <a:lstStyle>
            <a:lvl1pPr marL="0" indent="0">
              <a:buNone/>
              <a:defRPr sz="2400" b="1"/>
            </a:lvl1pPr>
            <a:lvl2pPr marL="457115" indent="0">
              <a:buNone/>
              <a:defRPr sz="1900" b="1"/>
            </a:lvl2pPr>
            <a:lvl3pPr marL="914226" indent="0">
              <a:buNone/>
              <a:defRPr sz="1800" b="1"/>
            </a:lvl3pPr>
            <a:lvl4pPr marL="1371341" indent="0">
              <a:buNone/>
              <a:defRPr sz="1600" b="1"/>
            </a:lvl4pPr>
            <a:lvl5pPr marL="1828454" indent="0">
              <a:buNone/>
              <a:defRPr sz="1600" b="1"/>
            </a:lvl5pPr>
            <a:lvl6pPr marL="2285566" indent="0">
              <a:buNone/>
              <a:defRPr sz="1600" b="1"/>
            </a:lvl6pPr>
            <a:lvl7pPr marL="2742681" indent="0">
              <a:buNone/>
              <a:defRPr sz="1600" b="1"/>
            </a:lvl7pPr>
            <a:lvl8pPr marL="3199795" indent="0">
              <a:buNone/>
              <a:defRPr sz="1600" b="1"/>
            </a:lvl8pPr>
            <a:lvl9pPr marL="3656908" indent="0">
              <a:buNone/>
              <a:defRPr sz="1600" b="1"/>
            </a:lvl9pPr>
          </a:lstStyle>
          <a:p>
            <a:pPr lvl="0"/>
            <a:r>
              <a:rPr lang="de-DE"/>
              <a:t>Textmasterformat bearbeiten</a:t>
            </a:r>
          </a:p>
        </p:txBody>
      </p:sp>
      <p:sp>
        <p:nvSpPr>
          <p:cNvPr id="4" name="Inhaltsplatzhalter 3"/>
          <p:cNvSpPr>
            <a:spLocks noGrp="1"/>
          </p:cNvSpPr>
          <p:nvPr>
            <p:ph sz="half" idx="2"/>
          </p:nvPr>
        </p:nvSpPr>
        <p:spPr>
          <a:xfrm>
            <a:off x="457201" y="2174875"/>
            <a:ext cx="4040188" cy="3951288"/>
          </a:xfrm>
        </p:spPr>
        <p:txBody>
          <a:bodyPr/>
          <a:lstStyle>
            <a:lvl1pPr>
              <a:defRPr sz="2400"/>
            </a:lvl1pPr>
            <a:lvl2pPr>
              <a:defRPr sz="19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6" y="1535115"/>
            <a:ext cx="4041775" cy="639763"/>
          </a:xfrm>
        </p:spPr>
        <p:txBody>
          <a:bodyPr anchor="b"/>
          <a:lstStyle>
            <a:lvl1pPr marL="0" indent="0">
              <a:buNone/>
              <a:defRPr sz="2400" b="1"/>
            </a:lvl1pPr>
            <a:lvl2pPr marL="457115" indent="0">
              <a:buNone/>
              <a:defRPr sz="1900" b="1"/>
            </a:lvl2pPr>
            <a:lvl3pPr marL="914226" indent="0">
              <a:buNone/>
              <a:defRPr sz="1800" b="1"/>
            </a:lvl3pPr>
            <a:lvl4pPr marL="1371341" indent="0">
              <a:buNone/>
              <a:defRPr sz="1600" b="1"/>
            </a:lvl4pPr>
            <a:lvl5pPr marL="1828454" indent="0">
              <a:buNone/>
              <a:defRPr sz="1600" b="1"/>
            </a:lvl5pPr>
            <a:lvl6pPr marL="2285566" indent="0">
              <a:buNone/>
              <a:defRPr sz="1600" b="1"/>
            </a:lvl6pPr>
            <a:lvl7pPr marL="2742681" indent="0">
              <a:buNone/>
              <a:defRPr sz="1600" b="1"/>
            </a:lvl7pPr>
            <a:lvl8pPr marL="3199795" indent="0">
              <a:buNone/>
              <a:defRPr sz="1600" b="1"/>
            </a:lvl8pPr>
            <a:lvl9pPr marL="3656908" indent="0">
              <a:buNone/>
              <a:defRPr sz="1600" b="1"/>
            </a:lvl9pPr>
          </a:lstStyle>
          <a:p>
            <a:pPr lvl="0"/>
            <a:r>
              <a:rPr lang="de-DE"/>
              <a:t>Textmasterformat bearbeiten</a:t>
            </a:r>
          </a:p>
        </p:txBody>
      </p:sp>
      <p:sp>
        <p:nvSpPr>
          <p:cNvPr id="6" name="Inhaltsplatzhalter 5"/>
          <p:cNvSpPr>
            <a:spLocks noGrp="1"/>
          </p:cNvSpPr>
          <p:nvPr>
            <p:ph sz="quarter" idx="4"/>
          </p:nvPr>
        </p:nvSpPr>
        <p:spPr>
          <a:xfrm>
            <a:off x="4645026" y="2174875"/>
            <a:ext cx="4041775" cy="3951288"/>
          </a:xfrm>
        </p:spPr>
        <p:txBody>
          <a:bodyPr/>
          <a:lstStyle>
            <a:lvl1pPr>
              <a:defRPr sz="2400"/>
            </a:lvl1pPr>
            <a:lvl2pPr>
              <a:defRPr sz="19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3806636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Text Box 11"/>
          <p:cNvSpPr txBox="1">
            <a:spLocks noChangeArrowheads="1"/>
          </p:cNvSpPr>
          <p:nvPr userDrawn="1"/>
        </p:nvSpPr>
        <p:spPr bwMode="auto">
          <a:xfrm>
            <a:off x="8669338" y="6358734"/>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p>
            <a:pPr algn="ctr">
              <a:spcBef>
                <a:spcPct val="50000"/>
              </a:spcBef>
            </a:pPr>
            <a:fld id="{5B699B80-ECA6-40A2-96F2-691E817FB89F}" type="slidenum">
              <a:rPr lang="de-DE" sz="1300">
                <a:solidFill>
                  <a:srgbClr val="000000"/>
                </a:solidFill>
              </a:rPr>
              <a:pPr algn="ctr">
                <a:spcBef>
                  <a:spcPct val="50000"/>
                </a:spcBef>
              </a:pPr>
              <a:t>‹Nr.›</a:t>
            </a:fld>
            <a:endParaRPr lang="de-DE" sz="1300" dirty="0">
              <a:solidFill>
                <a:srgbClr val="000000"/>
              </a:solidFill>
            </a:endParaRPr>
          </a:p>
        </p:txBody>
      </p:sp>
      <p:pic>
        <p:nvPicPr>
          <p:cNvPr id="4"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9265" y="0"/>
            <a:ext cx="1191559" cy="1257300"/>
          </a:xfrm>
          <a:prstGeom prst="rect">
            <a:avLst/>
          </a:prstGeom>
        </p:spPr>
      </p:pic>
    </p:spTree>
    <p:extLst>
      <p:ext uri="{BB962C8B-B14F-4D97-AF65-F5344CB8AC3E}">
        <p14:creationId xmlns:p14="http://schemas.microsoft.com/office/powerpoint/2010/main" val="42111913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Text Box 11"/>
          <p:cNvSpPr txBox="1">
            <a:spLocks noChangeArrowheads="1"/>
          </p:cNvSpPr>
          <p:nvPr userDrawn="1"/>
        </p:nvSpPr>
        <p:spPr bwMode="auto">
          <a:xfrm>
            <a:off x="8669338" y="6358734"/>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p>
            <a:pPr algn="ctr">
              <a:spcBef>
                <a:spcPct val="50000"/>
              </a:spcBef>
            </a:pPr>
            <a:fld id="{5B699B80-ECA6-40A2-96F2-691E817FB89F}" type="slidenum">
              <a:rPr lang="de-DE" sz="1300">
                <a:solidFill>
                  <a:srgbClr val="000000"/>
                </a:solidFill>
              </a:rPr>
              <a:pPr algn="ctr">
                <a:spcBef>
                  <a:spcPct val="50000"/>
                </a:spcBef>
              </a:pPr>
              <a:t>‹Nr.›</a:t>
            </a:fld>
            <a:endParaRPr lang="de-DE" sz="1300" dirty="0">
              <a:solidFill>
                <a:srgbClr val="000000"/>
              </a:solidFill>
            </a:endParaRPr>
          </a:p>
        </p:txBody>
      </p:sp>
      <p:pic>
        <p:nvPicPr>
          <p:cNvPr id="3" name="Grafik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9265" y="0"/>
            <a:ext cx="1191559" cy="1257300"/>
          </a:xfrm>
          <a:prstGeom prst="rect">
            <a:avLst/>
          </a:prstGeom>
        </p:spPr>
      </p:pic>
    </p:spTree>
    <p:extLst>
      <p:ext uri="{BB962C8B-B14F-4D97-AF65-F5344CB8AC3E}">
        <p14:creationId xmlns:p14="http://schemas.microsoft.com/office/powerpoint/2010/main" val="7164413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3" y="273050"/>
            <a:ext cx="3008313" cy="1162050"/>
          </a:xfrm>
        </p:spPr>
        <p:txBody>
          <a:bodyPr anchor="b"/>
          <a:lstStyle>
            <a:lvl1pPr algn="l">
              <a:defRPr sz="1900" b="1"/>
            </a:lvl1pPr>
          </a:lstStyle>
          <a:p>
            <a:r>
              <a:rPr lang="de-DE"/>
              <a:t>Titelmasterformat durch Klicken bearbeiten</a:t>
            </a:r>
          </a:p>
        </p:txBody>
      </p:sp>
      <p:sp>
        <p:nvSpPr>
          <p:cNvPr id="3" name="Inhaltsplatzhalter 2"/>
          <p:cNvSpPr>
            <a:spLocks noGrp="1"/>
          </p:cNvSpPr>
          <p:nvPr>
            <p:ph idx="1"/>
          </p:nvPr>
        </p:nvSpPr>
        <p:spPr>
          <a:xfrm>
            <a:off x="3575050" y="273052"/>
            <a:ext cx="5111750" cy="5853112"/>
          </a:xfrm>
        </p:spPr>
        <p:txBody>
          <a:bodyPr/>
          <a:lstStyle>
            <a:lvl1pPr>
              <a:defRPr sz="3200"/>
            </a:lvl1pPr>
            <a:lvl2pPr>
              <a:defRPr sz="2800"/>
            </a:lvl2pPr>
            <a:lvl3pPr>
              <a:defRPr sz="2400"/>
            </a:lvl3pPr>
            <a:lvl4pPr>
              <a:defRPr sz="1900"/>
            </a:lvl4pPr>
            <a:lvl5pPr>
              <a:defRPr sz="1900"/>
            </a:lvl5pPr>
            <a:lvl6pPr>
              <a:defRPr sz="1900"/>
            </a:lvl6pPr>
            <a:lvl7pPr>
              <a:defRPr sz="1900"/>
            </a:lvl7pPr>
            <a:lvl8pPr>
              <a:defRPr sz="1900"/>
            </a:lvl8pPr>
            <a:lvl9pPr>
              <a:defRPr sz="1900"/>
            </a:lvl9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half" idx="2"/>
          </p:nvPr>
        </p:nvSpPr>
        <p:spPr>
          <a:xfrm>
            <a:off x="457203" y="1435101"/>
            <a:ext cx="3008313" cy="4691063"/>
          </a:xfrm>
        </p:spPr>
        <p:txBody>
          <a:bodyPr/>
          <a:lstStyle>
            <a:lvl1pPr marL="0" indent="0">
              <a:buNone/>
              <a:defRPr sz="1500"/>
            </a:lvl1pPr>
            <a:lvl2pPr marL="457115" indent="0">
              <a:buNone/>
              <a:defRPr sz="1200"/>
            </a:lvl2pPr>
            <a:lvl3pPr marL="914226" indent="0">
              <a:buNone/>
              <a:defRPr sz="1000"/>
            </a:lvl3pPr>
            <a:lvl4pPr marL="1371341" indent="0">
              <a:buNone/>
              <a:defRPr sz="900"/>
            </a:lvl4pPr>
            <a:lvl5pPr marL="1828454" indent="0">
              <a:buNone/>
              <a:defRPr sz="900"/>
            </a:lvl5pPr>
            <a:lvl6pPr marL="2285566" indent="0">
              <a:buNone/>
              <a:defRPr sz="900"/>
            </a:lvl6pPr>
            <a:lvl7pPr marL="2742681" indent="0">
              <a:buNone/>
              <a:defRPr sz="900"/>
            </a:lvl7pPr>
            <a:lvl8pPr marL="3199795" indent="0">
              <a:buNone/>
              <a:defRPr sz="900"/>
            </a:lvl8pPr>
            <a:lvl9pPr marL="3656908" indent="0">
              <a:buNone/>
              <a:defRPr sz="900"/>
            </a:lvl9pPr>
          </a:lstStyle>
          <a:p>
            <a:pPr lvl="0"/>
            <a:r>
              <a:rPr lang="de-DE"/>
              <a:t>Textmasterformat bearbeiten</a:t>
            </a:r>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33394" y="1"/>
            <a:ext cx="1191559" cy="1257300"/>
          </a:xfrm>
          <a:prstGeom prst="rect">
            <a:avLst/>
          </a:prstGeom>
        </p:spPr>
      </p:pic>
      <p:sp>
        <p:nvSpPr>
          <p:cNvPr id="6" name="Text Box 11"/>
          <p:cNvSpPr txBox="1">
            <a:spLocks noChangeArrowheads="1"/>
          </p:cNvSpPr>
          <p:nvPr userDrawn="1"/>
        </p:nvSpPr>
        <p:spPr bwMode="auto">
          <a:xfrm>
            <a:off x="8669338" y="6349206"/>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FCCE17A1-84E7-4884-AF57-63AAF7920995}" type="slidenum">
              <a:rPr lang="de-DE" sz="1300" smtClean="0"/>
              <a:pPr algn="ctr">
                <a:spcBef>
                  <a:spcPct val="50000"/>
                </a:spcBef>
                <a:defRPr/>
              </a:pPr>
              <a:t>‹Nr.›</a:t>
            </a:fld>
            <a:endParaRPr lang="de-DE" sz="1300" dirty="0"/>
          </a:p>
        </p:txBody>
      </p:sp>
    </p:spTree>
    <p:extLst>
      <p:ext uri="{BB962C8B-B14F-4D97-AF65-F5344CB8AC3E}">
        <p14:creationId xmlns:p14="http://schemas.microsoft.com/office/powerpoint/2010/main" val="20569145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1"/>
            <a:ext cx="5486400" cy="566738"/>
          </a:xfrm>
        </p:spPr>
        <p:txBody>
          <a:bodyPr anchor="b"/>
          <a:lstStyle>
            <a:lvl1pPr algn="l">
              <a:defRPr sz="1900" b="1"/>
            </a:lvl1pPr>
          </a:lstStyle>
          <a:p>
            <a:r>
              <a:rPr lang="de-DE"/>
              <a:t>Titelmasterformat durch Klicken bearbeiten</a:t>
            </a:r>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115" indent="0">
              <a:buNone/>
              <a:defRPr sz="2800"/>
            </a:lvl2pPr>
            <a:lvl3pPr marL="914226" indent="0">
              <a:buNone/>
              <a:defRPr sz="2400"/>
            </a:lvl3pPr>
            <a:lvl4pPr marL="1371341" indent="0">
              <a:buNone/>
              <a:defRPr sz="1900"/>
            </a:lvl4pPr>
            <a:lvl5pPr marL="1828454" indent="0">
              <a:buNone/>
              <a:defRPr sz="1900"/>
            </a:lvl5pPr>
            <a:lvl6pPr marL="2285566" indent="0">
              <a:buNone/>
              <a:defRPr sz="1900"/>
            </a:lvl6pPr>
            <a:lvl7pPr marL="2742681" indent="0">
              <a:buNone/>
              <a:defRPr sz="1900"/>
            </a:lvl7pPr>
            <a:lvl8pPr marL="3199795" indent="0">
              <a:buNone/>
              <a:defRPr sz="1900"/>
            </a:lvl8pPr>
            <a:lvl9pPr marL="3656908" indent="0">
              <a:buNone/>
              <a:defRPr sz="1900"/>
            </a:lvl9pPr>
          </a:lstStyle>
          <a:p>
            <a:endParaRPr lang="de-DE" dirty="0"/>
          </a:p>
        </p:txBody>
      </p:sp>
      <p:sp>
        <p:nvSpPr>
          <p:cNvPr id="4" name="Textplatzhalter 3"/>
          <p:cNvSpPr>
            <a:spLocks noGrp="1"/>
          </p:cNvSpPr>
          <p:nvPr>
            <p:ph type="body" sz="half" idx="2"/>
          </p:nvPr>
        </p:nvSpPr>
        <p:spPr>
          <a:xfrm>
            <a:off x="1792288" y="5367339"/>
            <a:ext cx="5486400" cy="804862"/>
          </a:xfrm>
        </p:spPr>
        <p:txBody>
          <a:bodyPr/>
          <a:lstStyle>
            <a:lvl1pPr marL="0" indent="0">
              <a:buNone/>
              <a:defRPr sz="1500"/>
            </a:lvl1pPr>
            <a:lvl2pPr marL="457115" indent="0">
              <a:buNone/>
              <a:defRPr sz="1200"/>
            </a:lvl2pPr>
            <a:lvl3pPr marL="914226" indent="0">
              <a:buNone/>
              <a:defRPr sz="1000"/>
            </a:lvl3pPr>
            <a:lvl4pPr marL="1371341" indent="0">
              <a:buNone/>
              <a:defRPr sz="900"/>
            </a:lvl4pPr>
            <a:lvl5pPr marL="1828454" indent="0">
              <a:buNone/>
              <a:defRPr sz="900"/>
            </a:lvl5pPr>
            <a:lvl6pPr marL="2285566" indent="0">
              <a:buNone/>
              <a:defRPr sz="900"/>
            </a:lvl6pPr>
            <a:lvl7pPr marL="2742681" indent="0">
              <a:buNone/>
              <a:defRPr sz="900"/>
            </a:lvl7pPr>
            <a:lvl8pPr marL="3199795" indent="0">
              <a:buNone/>
              <a:defRPr sz="900"/>
            </a:lvl8pPr>
            <a:lvl9pPr marL="3656908" indent="0">
              <a:buNone/>
              <a:defRPr sz="900"/>
            </a:lvl9pPr>
          </a:lstStyle>
          <a:p>
            <a:pPr lvl="0"/>
            <a:r>
              <a:rPr lang="de-DE"/>
              <a:t>Textmasterformat bearbeiten</a:t>
            </a:r>
          </a:p>
        </p:txBody>
      </p:sp>
    </p:spTree>
    <p:extLst>
      <p:ext uri="{BB962C8B-B14F-4D97-AF65-F5344CB8AC3E}">
        <p14:creationId xmlns:p14="http://schemas.microsoft.com/office/powerpoint/2010/main" val="30248025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58039416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74640"/>
            <a:ext cx="2057400" cy="5851525"/>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457200" y="274640"/>
            <a:ext cx="6019800" cy="5851525"/>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4897642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66345" y="1595440"/>
            <a:ext cx="8442325" cy="4530725"/>
          </a:xfrm>
        </p:spPr>
        <p:txBody>
          <a:bodyPr>
            <a:normAutofit/>
          </a:bodyPr>
          <a:lstStyle>
            <a:lvl1pPr marL="285699" indent="-285699">
              <a:spcBef>
                <a:spcPts val="1200"/>
              </a:spcBef>
              <a:buFont typeface="Wingdings" panose="05000000000000000000" pitchFamily="2" charset="2"/>
              <a:buChar char="§"/>
              <a:defRPr sz="2800">
                <a:solidFill>
                  <a:schemeClr val="tx1">
                    <a:lumMod val="75000"/>
                    <a:lumOff val="25000"/>
                  </a:schemeClr>
                </a:solidFill>
              </a:defRPr>
            </a:lvl1pPr>
            <a:lvl2pPr marL="799947" indent="-280937">
              <a:buFont typeface="Arial" panose="020B0604020202020204" pitchFamily="34" charset="0"/>
              <a:buChar char="–"/>
              <a:defRPr sz="2400">
                <a:solidFill>
                  <a:schemeClr val="tx1">
                    <a:lumMod val="75000"/>
                    <a:lumOff val="25000"/>
                  </a:schemeClr>
                </a:solidFill>
              </a:defRPr>
            </a:lvl2pPr>
            <a:lvl3pPr>
              <a:spcBef>
                <a:spcPts val="1200"/>
              </a:spcBef>
              <a:defRPr sz="1900">
                <a:solidFill>
                  <a:schemeClr val="tx1">
                    <a:lumMod val="75000"/>
                    <a:lumOff val="25000"/>
                  </a:schemeClr>
                </a:solidFill>
              </a:defRPr>
            </a:lvl3pPr>
            <a:lvl4pPr>
              <a:defRPr sz="1800">
                <a:solidFill>
                  <a:schemeClr val="tx1">
                    <a:lumMod val="75000"/>
                    <a:lumOff val="25000"/>
                  </a:schemeClr>
                </a:solidFill>
              </a:defRPr>
            </a:lvl4pPr>
            <a:lvl5pPr>
              <a:defRPr sz="1800">
                <a:solidFill>
                  <a:schemeClr val="tx1">
                    <a:lumMod val="75000"/>
                    <a:lumOff val="2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p:cNvSpPr>
            <a:spLocks noGrp="1"/>
          </p:cNvSpPr>
          <p:nvPr>
            <p:ph type="title"/>
          </p:nvPr>
        </p:nvSpPr>
        <p:spPr>
          <a:xfrm>
            <a:off x="192143" y="3"/>
            <a:ext cx="8410930" cy="817563"/>
          </a:xfrm>
          <a:prstGeom prst="rect">
            <a:avLst/>
          </a:prstGeom>
        </p:spPr>
        <p:txBody>
          <a:bodyPr rtlCol="0">
            <a:normAutofit/>
          </a:bodyPr>
          <a:lstStyle/>
          <a:p>
            <a:r>
              <a:rPr lang="en-US" dirty="0"/>
              <a:t>Click to edit Master title style</a:t>
            </a:r>
          </a:p>
        </p:txBody>
      </p:sp>
      <p:sp>
        <p:nvSpPr>
          <p:cNvPr id="4" name="Slide Number Placeholder 5"/>
          <p:cNvSpPr>
            <a:spLocks noGrp="1"/>
          </p:cNvSpPr>
          <p:nvPr>
            <p:ph type="sldNum" sz="quarter" idx="10"/>
          </p:nvPr>
        </p:nvSpPr>
        <p:spPr>
          <a:xfrm>
            <a:off x="1147763" y="6542088"/>
            <a:ext cx="504826" cy="309562"/>
          </a:xfrm>
          <a:prstGeom prst="rect">
            <a:avLst/>
          </a:prstGeom>
        </p:spPr>
        <p:txBody>
          <a:bodyPr lIns="91424" tIns="45711" rIns="91424" bIns="45711"/>
          <a:lstStyle>
            <a:lvl1pPr>
              <a:defRPr smtClean="0">
                <a:solidFill>
                  <a:schemeClr val="bg1"/>
                </a:solidFill>
                <a:latin typeface="Gill Sans MT Light" panose="020B0302020104020203" pitchFamily="34" charset="0"/>
              </a:defRPr>
            </a:lvl1pPr>
          </a:lstStyle>
          <a:p>
            <a:pPr>
              <a:defRPr/>
            </a:pPr>
            <a:fld id="{67A4E259-B641-479E-A935-5FC2512751C4}" type="slidenum">
              <a:rPr lang="en-US">
                <a:solidFill>
                  <a:prstClr val="white"/>
                </a:solidFill>
              </a:rPr>
              <a:pPr>
                <a:defRPr/>
              </a:pPr>
              <a:t>‹Nr.›</a:t>
            </a:fld>
            <a:endParaRPr lang="en-US" dirty="0">
              <a:solidFill>
                <a:prstClr val="white"/>
              </a:solidFill>
            </a:endParaRPr>
          </a:p>
        </p:txBody>
      </p:sp>
      <p:sp>
        <p:nvSpPr>
          <p:cNvPr id="5" name="Text Box 11"/>
          <p:cNvSpPr txBox="1">
            <a:spLocks noChangeArrowheads="1"/>
          </p:cNvSpPr>
          <p:nvPr userDrawn="1"/>
        </p:nvSpPr>
        <p:spPr bwMode="auto">
          <a:xfrm>
            <a:off x="8669338" y="6358734"/>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p>
            <a:pPr algn="ctr">
              <a:spcBef>
                <a:spcPct val="50000"/>
              </a:spcBef>
            </a:pPr>
            <a:fld id="{5B699B80-ECA6-40A2-96F2-691E817FB89F}" type="slidenum">
              <a:rPr lang="de-DE" sz="1300">
                <a:solidFill>
                  <a:srgbClr val="000000"/>
                </a:solidFill>
              </a:rPr>
              <a:pPr algn="ctr">
                <a:spcBef>
                  <a:spcPct val="50000"/>
                </a:spcBef>
              </a:pPr>
              <a:t>‹Nr.›</a:t>
            </a:fld>
            <a:endParaRPr lang="de-DE" sz="1300" dirty="0">
              <a:solidFill>
                <a:srgbClr val="000000"/>
              </a:solidFill>
            </a:endParaRPr>
          </a:p>
        </p:txBody>
      </p:sp>
      <p:pic>
        <p:nvPicPr>
          <p:cNvPr id="6"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9265" y="0"/>
            <a:ext cx="1191559" cy="1257300"/>
          </a:xfrm>
          <a:prstGeom prst="rect">
            <a:avLst/>
          </a:prstGeom>
        </p:spPr>
      </p:pic>
    </p:spTree>
    <p:extLst>
      <p:ext uri="{BB962C8B-B14F-4D97-AF65-F5344CB8AC3E}">
        <p14:creationId xmlns:p14="http://schemas.microsoft.com/office/powerpoint/2010/main" val="203333747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457200" y="1600202"/>
            <a:ext cx="8229601" cy="4525963"/>
          </a:xfrm>
          <a:prstGeom prst="rect">
            <a:avLst/>
          </a:prstGeom>
        </p:spPr>
        <p:txBody>
          <a:bodyPr rtlCol="0">
            <a:normAutofit/>
          </a:bodyPr>
          <a:lstStyle/>
          <a:p>
            <a:pPr lvl="0"/>
            <a:endParaRPr lang="en-US" noProof="0" dirty="0"/>
          </a:p>
        </p:txBody>
      </p:sp>
      <p:sp>
        <p:nvSpPr>
          <p:cNvPr id="4" name="Title 1"/>
          <p:cNvSpPr>
            <a:spLocks noGrp="1"/>
          </p:cNvSpPr>
          <p:nvPr>
            <p:ph type="title"/>
          </p:nvPr>
        </p:nvSpPr>
        <p:spPr>
          <a:xfrm>
            <a:off x="457203" y="414072"/>
            <a:ext cx="8393502" cy="1414731"/>
          </a:xfrm>
        </p:spPr>
        <p:txBody>
          <a:bodyPr/>
          <a:lstStyle>
            <a:lvl1pPr algn="l">
              <a:defRPr sz="4000"/>
            </a:lvl1pPr>
          </a:lstStyle>
          <a:p>
            <a:r>
              <a:rPr lang="en-US" dirty="0"/>
              <a:t>Click to edit Master title style</a:t>
            </a:r>
            <a:endParaRPr lang="en-CA" dirty="0"/>
          </a:p>
        </p:txBody>
      </p:sp>
      <p:sp>
        <p:nvSpPr>
          <p:cNvPr id="5" name="Text Box 11"/>
          <p:cNvSpPr txBox="1">
            <a:spLocks noChangeArrowheads="1"/>
          </p:cNvSpPr>
          <p:nvPr userDrawn="1"/>
        </p:nvSpPr>
        <p:spPr bwMode="auto">
          <a:xfrm>
            <a:off x="8669338" y="6358734"/>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p>
            <a:pPr algn="ctr">
              <a:spcBef>
                <a:spcPct val="50000"/>
              </a:spcBef>
            </a:pPr>
            <a:fld id="{5B699B80-ECA6-40A2-96F2-691E817FB89F}" type="slidenum">
              <a:rPr lang="de-DE" sz="1300">
                <a:solidFill>
                  <a:srgbClr val="000000"/>
                </a:solidFill>
              </a:rPr>
              <a:pPr algn="ctr">
                <a:spcBef>
                  <a:spcPct val="50000"/>
                </a:spcBef>
              </a:pPr>
              <a:t>‹Nr.›</a:t>
            </a:fld>
            <a:endParaRPr lang="de-DE" sz="1300" dirty="0">
              <a:solidFill>
                <a:srgbClr val="000000"/>
              </a:solidFill>
            </a:endParaRPr>
          </a:p>
        </p:txBody>
      </p:sp>
      <p:pic>
        <p:nvPicPr>
          <p:cNvPr id="6"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9265" y="0"/>
            <a:ext cx="1191559" cy="1257300"/>
          </a:xfrm>
          <a:prstGeom prst="rect">
            <a:avLst/>
          </a:prstGeom>
        </p:spPr>
      </p:pic>
    </p:spTree>
    <p:extLst>
      <p:ext uri="{BB962C8B-B14F-4D97-AF65-F5344CB8AC3E}">
        <p14:creationId xmlns:p14="http://schemas.microsoft.com/office/powerpoint/2010/main" val="24351633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a:t>Titelmasterformat durch Klicken bearbeiten</a:t>
            </a:r>
          </a:p>
        </p:txBody>
      </p:sp>
      <p:sp>
        <p:nvSpPr>
          <p:cNvPr id="3" name="Untertitel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a:t>Formatvorlage des Untertitelmasters durch Klicken bearbeiten</a:t>
            </a:r>
          </a:p>
        </p:txBody>
      </p:sp>
    </p:spTree>
    <p:extLst>
      <p:ext uri="{BB962C8B-B14F-4D97-AF65-F5344CB8AC3E}">
        <p14:creationId xmlns:p14="http://schemas.microsoft.com/office/powerpoint/2010/main" val="2087679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bl" preserve="1">
  <p:cSld name="Titel und Tabelle">
    <p:spTree>
      <p:nvGrpSpPr>
        <p:cNvPr id="1" name=""/>
        <p:cNvGrpSpPr/>
        <p:nvPr/>
      </p:nvGrpSpPr>
      <p:grpSpPr>
        <a:xfrm>
          <a:off x="0" y="0"/>
          <a:ext cx="0" cy="0"/>
          <a:chOff x="0" y="0"/>
          <a:chExt cx="0" cy="0"/>
        </a:xfrm>
      </p:grpSpPr>
      <p:sp>
        <p:nvSpPr>
          <p:cNvPr id="2" name="Titel 1"/>
          <p:cNvSpPr>
            <a:spLocks noGrp="1"/>
          </p:cNvSpPr>
          <p:nvPr>
            <p:ph type="title"/>
          </p:nvPr>
        </p:nvSpPr>
        <p:spPr>
          <a:xfrm>
            <a:off x="355604" y="654054"/>
            <a:ext cx="6837363" cy="1034129"/>
          </a:xfrm>
        </p:spPr>
        <p:txBody>
          <a:bodyPr/>
          <a:lstStyle/>
          <a:p>
            <a:r>
              <a:rPr lang="de-DE"/>
              <a:t>Titelmasterformat durch Klicken bearbeiten</a:t>
            </a:r>
          </a:p>
        </p:txBody>
      </p:sp>
      <p:sp>
        <p:nvSpPr>
          <p:cNvPr id="3" name="Tabellenplatzhalter 2"/>
          <p:cNvSpPr>
            <a:spLocks noGrp="1"/>
          </p:cNvSpPr>
          <p:nvPr>
            <p:ph type="tbl" idx="1"/>
          </p:nvPr>
        </p:nvSpPr>
        <p:spPr>
          <a:xfrm>
            <a:off x="368303" y="1993899"/>
            <a:ext cx="6837363" cy="4510088"/>
          </a:xfrm>
        </p:spPr>
        <p:txBody>
          <a:bodyPr/>
          <a:lstStyle/>
          <a:p>
            <a:pPr lvl="0"/>
            <a:r>
              <a:rPr lang="de-DE" noProof="0" dirty="0"/>
              <a:t>Tabelle durch Klicken auf Symbol hinzufügen</a:t>
            </a:r>
          </a:p>
        </p:txBody>
      </p:sp>
      <p:sp>
        <p:nvSpPr>
          <p:cNvPr id="4" name="Text Box 11"/>
          <p:cNvSpPr txBox="1">
            <a:spLocks noChangeArrowheads="1"/>
          </p:cNvSpPr>
          <p:nvPr userDrawn="1"/>
        </p:nvSpPr>
        <p:spPr bwMode="auto">
          <a:xfrm>
            <a:off x="8529173" y="6368259"/>
            <a:ext cx="471159"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FCCE17A1-84E7-4884-AF57-63AAF7920995}" type="slidenum">
              <a:rPr lang="de-DE" sz="1300" smtClean="0"/>
              <a:pPr algn="ctr">
                <a:spcBef>
                  <a:spcPct val="50000"/>
                </a:spcBef>
                <a:defRPr/>
              </a:pPr>
              <a:t>‹Nr.›</a:t>
            </a:fld>
            <a:endParaRPr lang="de-DE" sz="1300" dirty="0"/>
          </a:p>
        </p:txBody>
      </p:sp>
      <p:pic>
        <p:nvPicPr>
          <p:cNvPr id="6"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33394" y="1"/>
            <a:ext cx="1191559" cy="1257300"/>
          </a:xfrm>
          <a:prstGeom prst="rect">
            <a:avLst/>
          </a:prstGeom>
        </p:spPr>
      </p:pic>
    </p:spTree>
    <p:extLst>
      <p:ext uri="{BB962C8B-B14F-4D97-AF65-F5344CB8AC3E}">
        <p14:creationId xmlns:p14="http://schemas.microsoft.com/office/powerpoint/2010/main" val="19830163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DE" dirty="0"/>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 Box 11"/>
          <p:cNvSpPr txBox="1">
            <a:spLocks noChangeArrowheads="1"/>
          </p:cNvSpPr>
          <p:nvPr userDrawn="1"/>
        </p:nvSpPr>
        <p:spPr bwMode="auto">
          <a:xfrm>
            <a:off x="8669338" y="6358731"/>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a:lstStyle/>
          <a:p>
            <a:pPr algn="ctr">
              <a:spcBef>
                <a:spcPct val="50000"/>
              </a:spcBef>
            </a:pPr>
            <a:fld id="{5B699B80-ECA6-40A2-96F2-691E817FB89F}" type="slidenum">
              <a:rPr lang="de-DE" sz="1300">
                <a:solidFill>
                  <a:srgbClr val="000000"/>
                </a:solidFill>
              </a:rPr>
              <a:pPr algn="ctr">
                <a:spcBef>
                  <a:spcPct val="50000"/>
                </a:spcBef>
              </a:pPr>
              <a:t>‹Nr.›</a:t>
            </a:fld>
            <a:endParaRPr lang="de-DE" sz="1300" dirty="0">
              <a:solidFill>
                <a:srgbClr val="000000"/>
              </a:solidFill>
            </a:endParaRP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9261" y="0"/>
            <a:ext cx="1191559" cy="1257300"/>
          </a:xfrm>
          <a:prstGeom prst="rect">
            <a:avLst/>
          </a:prstGeom>
        </p:spPr>
      </p:pic>
    </p:spTree>
    <p:extLst>
      <p:ext uri="{BB962C8B-B14F-4D97-AF65-F5344CB8AC3E}">
        <p14:creationId xmlns:p14="http://schemas.microsoft.com/office/powerpoint/2010/main" val="239247462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Tree>
    <p:extLst>
      <p:ext uri="{BB962C8B-B14F-4D97-AF65-F5344CB8AC3E}">
        <p14:creationId xmlns:p14="http://schemas.microsoft.com/office/powerpoint/2010/main" val="26500807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368300" y="1993900"/>
            <a:ext cx="3341688" cy="4510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3862388" y="1993900"/>
            <a:ext cx="3343275" cy="4510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 Box 11"/>
          <p:cNvSpPr txBox="1">
            <a:spLocks noChangeArrowheads="1"/>
          </p:cNvSpPr>
          <p:nvPr userDrawn="1"/>
        </p:nvSpPr>
        <p:spPr bwMode="auto">
          <a:xfrm>
            <a:off x="8669338" y="6358731"/>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a:lstStyle/>
          <a:p>
            <a:pPr algn="ctr">
              <a:spcBef>
                <a:spcPct val="50000"/>
              </a:spcBef>
            </a:pPr>
            <a:fld id="{5B699B80-ECA6-40A2-96F2-691E817FB89F}" type="slidenum">
              <a:rPr lang="de-DE" sz="1300">
                <a:solidFill>
                  <a:srgbClr val="000000"/>
                </a:solidFill>
              </a:rPr>
              <a:pPr algn="ctr">
                <a:spcBef>
                  <a:spcPct val="50000"/>
                </a:spcBef>
              </a:pPr>
              <a:t>‹Nr.›</a:t>
            </a:fld>
            <a:endParaRPr lang="de-DE" sz="1300" dirty="0">
              <a:solidFill>
                <a:srgbClr val="000000"/>
              </a:solidFill>
            </a:endParaRPr>
          </a:p>
        </p:txBody>
      </p:sp>
      <p:pic>
        <p:nvPicPr>
          <p:cNvPr id="6"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9261" y="0"/>
            <a:ext cx="1191559" cy="1257300"/>
          </a:xfrm>
          <a:prstGeom prst="rect">
            <a:avLst/>
          </a:prstGeom>
        </p:spPr>
      </p:pic>
    </p:spTree>
    <p:extLst>
      <p:ext uri="{BB962C8B-B14F-4D97-AF65-F5344CB8AC3E}">
        <p14:creationId xmlns:p14="http://schemas.microsoft.com/office/powerpoint/2010/main" val="30548129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45214478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Text Box 11"/>
          <p:cNvSpPr txBox="1">
            <a:spLocks noChangeArrowheads="1"/>
          </p:cNvSpPr>
          <p:nvPr userDrawn="1"/>
        </p:nvSpPr>
        <p:spPr bwMode="auto">
          <a:xfrm>
            <a:off x="8669338" y="6358731"/>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a:lstStyle/>
          <a:p>
            <a:pPr algn="ctr">
              <a:spcBef>
                <a:spcPct val="50000"/>
              </a:spcBef>
            </a:pPr>
            <a:fld id="{5B699B80-ECA6-40A2-96F2-691E817FB89F}" type="slidenum">
              <a:rPr lang="de-DE" sz="1300">
                <a:solidFill>
                  <a:srgbClr val="000000"/>
                </a:solidFill>
              </a:rPr>
              <a:pPr algn="ctr">
                <a:spcBef>
                  <a:spcPct val="50000"/>
                </a:spcBef>
              </a:pPr>
              <a:t>‹Nr.›</a:t>
            </a:fld>
            <a:endParaRPr lang="de-DE" sz="1300" dirty="0">
              <a:solidFill>
                <a:srgbClr val="000000"/>
              </a:solidFill>
            </a:endParaRPr>
          </a:p>
        </p:txBody>
      </p:sp>
      <p:pic>
        <p:nvPicPr>
          <p:cNvPr id="4"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9261" y="0"/>
            <a:ext cx="1191559" cy="1257300"/>
          </a:xfrm>
          <a:prstGeom prst="rect">
            <a:avLst/>
          </a:prstGeom>
        </p:spPr>
      </p:pic>
    </p:spTree>
    <p:extLst>
      <p:ext uri="{BB962C8B-B14F-4D97-AF65-F5344CB8AC3E}">
        <p14:creationId xmlns:p14="http://schemas.microsoft.com/office/powerpoint/2010/main" val="26276604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6066138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Tree>
    <p:extLst>
      <p:ext uri="{BB962C8B-B14F-4D97-AF65-F5344CB8AC3E}">
        <p14:creationId xmlns:p14="http://schemas.microsoft.com/office/powerpoint/2010/main" val="22816565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Bild durch Klicken auf Symbol hinzufügen</a:t>
            </a:r>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Tree>
    <p:extLst>
      <p:ext uri="{BB962C8B-B14F-4D97-AF65-F5344CB8AC3E}">
        <p14:creationId xmlns:p14="http://schemas.microsoft.com/office/powerpoint/2010/main" val="29278041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10202477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5494338" y="654050"/>
            <a:ext cx="1711325" cy="5849938"/>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355600" y="654050"/>
            <a:ext cx="4986338" cy="584993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3207588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6" name="McK 1. On-page tracker" hidden="1"/>
          <p:cNvSpPr>
            <a:spLocks noChangeArrowheads="1"/>
          </p:cNvSpPr>
          <p:nvPr/>
        </p:nvSpPr>
        <p:spPr bwMode="auto">
          <a:xfrm>
            <a:off x="121490" y="27537"/>
            <a:ext cx="804707" cy="202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eaLnBrk="0" hangingPunct="0">
              <a:defRPr sz="1600" b="1">
                <a:solidFill>
                  <a:schemeClr val="tx1"/>
                </a:solidFill>
                <a:latin typeface="Arial" pitchFamily="34" charset="0"/>
              </a:defRPr>
            </a:lvl1pPr>
            <a:lvl2pPr marL="742950" indent="-285750" algn="l" eaLnBrk="0" hangingPunct="0">
              <a:defRPr sz="1600" b="1">
                <a:solidFill>
                  <a:schemeClr val="tx1"/>
                </a:solidFill>
                <a:latin typeface="Arial" pitchFamily="34" charset="0"/>
              </a:defRPr>
            </a:lvl2pPr>
            <a:lvl3pPr marL="1143000" indent="-228600" algn="l" eaLnBrk="0" hangingPunct="0">
              <a:defRPr sz="1600" b="1">
                <a:solidFill>
                  <a:schemeClr val="tx1"/>
                </a:solidFill>
                <a:latin typeface="Arial" pitchFamily="34" charset="0"/>
              </a:defRPr>
            </a:lvl3pPr>
            <a:lvl4pPr marL="1600200" indent="-228600" algn="l" eaLnBrk="0" hangingPunct="0">
              <a:defRPr sz="1600" b="1">
                <a:solidFill>
                  <a:schemeClr val="tx1"/>
                </a:solidFill>
                <a:latin typeface="Arial" pitchFamily="34" charset="0"/>
              </a:defRPr>
            </a:lvl4pPr>
            <a:lvl5pPr marL="2057400" indent="-228600" algn="l" eaLnBrk="0" hangingPunct="0">
              <a:defRPr sz="1600" b="1">
                <a:solidFill>
                  <a:schemeClr val="tx1"/>
                </a:solidFill>
                <a:latin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defRPr>
            </a:lvl9pPr>
          </a:lstStyle>
          <a:p>
            <a:pPr eaLnBrk="1" hangingPunct="1"/>
            <a:r>
              <a:rPr lang="en-US" sz="1318" b="0">
                <a:solidFill>
                  <a:srgbClr val="808080"/>
                </a:solidFill>
              </a:rPr>
              <a:t>TRACKER</a:t>
            </a:r>
          </a:p>
        </p:txBody>
      </p:sp>
      <p:sp>
        <p:nvSpPr>
          <p:cNvPr id="7" name="McK 3. Unit of measure" hidden="1"/>
          <p:cNvSpPr txBox="1">
            <a:spLocks noChangeArrowheads="1"/>
          </p:cNvSpPr>
          <p:nvPr/>
        </p:nvSpPr>
        <p:spPr bwMode="auto">
          <a:xfrm>
            <a:off x="121489" y="542615"/>
            <a:ext cx="3730492" cy="202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pitchFamily="34" charset="0"/>
              </a:defRPr>
            </a:lvl1pPr>
            <a:lvl2pPr marL="447675" defTabSz="895350">
              <a:defRPr sz="2400">
                <a:solidFill>
                  <a:schemeClr val="tx1"/>
                </a:solidFill>
                <a:latin typeface="Arial" pitchFamily="34" charset="0"/>
              </a:defRPr>
            </a:lvl2pPr>
            <a:lvl3pPr marL="895350" defTabSz="895350">
              <a:defRPr sz="2400">
                <a:solidFill>
                  <a:schemeClr val="tx1"/>
                </a:solidFill>
                <a:latin typeface="Arial" pitchFamily="34" charset="0"/>
              </a:defRPr>
            </a:lvl3pPr>
            <a:lvl4pPr marL="1344613" defTabSz="895350">
              <a:defRPr sz="2400">
                <a:solidFill>
                  <a:schemeClr val="tx1"/>
                </a:solidFill>
                <a:latin typeface="Arial" pitchFamily="34" charset="0"/>
              </a:defRPr>
            </a:lvl4pPr>
            <a:lvl5pPr marL="1792288"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pPr algn="l">
              <a:defRPr/>
            </a:pPr>
            <a:r>
              <a:rPr lang="en-US" sz="1318">
                <a:solidFill>
                  <a:srgbClr val="808080"/>
                </a:solidFill>
                <a:cs typeface="+mn-cs"/>
              </a:rPr>
              <a:t>Unit of measure</a:t>
            </a:r>
          </a:p>
        </p:txBody>
      </p:sp>
      <p:grpSp>
        <p:nvGrpSpPr>
          <p:cNvPr id="8" name="McK Slide Elements"/>
          <p:cNvGrpSpPr>
            <a:grpSpLocks/>
          </p:cNvGrpSpPr>
          <p:nvPr/>
        </p:nvGrpSpPr>
        <p:grpSpPr bwMode="auto">
          <a:xfrm>
            <a:off x="121489" y="6213407"/>
            <a:ext cx="8722841" cy="505361"/>
            <a:chOff x="75" y="3836"/>
            <a:chExt cx="5385" cy="312"/>
          </a:xfrm>
        </p:grpSpPr>
        <p:sp>
          <p:nvSpPr>
            <p:cNvPr id="9" name="McK 4. Footnote" hidden="1"/>
            <p:cNvSpPr txBox="1">
              <a:spLocks noChangeArrowheads="1"/>
            </p:cNvSpPr>
            <p:nvPr/>
          </p:nvSpPr>
          <p:spPr bwMode="auto">
            <a:xfrm>
              <a:off x="75" y="3836"/>
              <a:ext cx="5385" cy="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pitchFamily="34" charset="0"/>
                </a:defRPr>
              </a:lvl1pPr>
              <a:lvl2pPr marL="1031875" defTabSz="895350">
                <a:defRPr sz="2400">
                  <a:solidFill>
                    <a:schemeClr val="tx1"/>
                  </a:solidFill>
                  <a:latin typeface="Arial" pitchFamily="34" charset="0"/>
                </a:defRPr>
              </a:lvl2pPr>
              <a:lvl3pPr marL="1217613" defTabSz="895350">
                <a:defRPr sz="2400">
                  <a:solidFill>
                    <a:schemeClr val="tx1"/>
                  </a:solidFill>
                  <a:latin typeface="Arial" pitchFamily="34" charset="0"/>
                </a:defRPr>
              </a:lvl3pPr>
              <a:lvl4pPr marL="1404938" defTabSz="895350">
                <a:defRPr sz="2400">
                  <a:solidFill>
                    <a:schemeClr val="tx1"/>
                  </a:solidFill>
                  <a:latin typeface="Arial" pitchFamily="34" charset="0"/>
                </a:defRPr>
              </a:lvl4pPr>
              <a:lvl5pPr marL="1792288"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pPr algn="l">
                <a:defRPr/>
              </a:pPr>
              <a:r>
                <a:rPr lang="en-US" sz="942">
                  <a:cs typeface="+mn-cs"/>
                </a:rPr>
                <a:t>1 Footnote</a:t>
              </a:r>
            </a:p>
          </p:txBody>
        </p:sp>
        <p:sp>
          <p:nvSpPr>
            <p:cNvPr id="10" name="McK 5. Source" hidden="1"/>
            <p:cNvSpPr>
              <a:spLocks noChangeArrowheads="1"/>
            </p:cNvSpPr>
            <p:nvPr/>
          </p:nvSpPr>
          <p:spPr bwMode="auto">
            <a:xfrm>
              <a:off x="75" y="4058"/>
              <a:ext cx="4323" cy="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2400">
                  <a:solidFill>
                    <a:schemeClr val="tx1"/>
                  </a:solidFill>
                  <a:latin typeface="Arial" pitchFamily="34" charset="0"/>
                </a:defRPr>
              </a:lvl1pPr>
              <a:lvl2pPr marL="785813" indent="-142875" defTabSz="895350">
                <a:tabLst>
                  <a:tab pos="612775" algn="l"/>
                </a:tabLst>
                <a:defRPr sz="2400">
                  <a:solidFill>
                    <a:schemeClr val="tx1"/>
                  </a:solidFill>
                  <a:latin typeface="Arial" pitchFamily="34" charset="0"/>
                </a:defRPr>
              </a:lvl2pPr>
              <a:lvl3pPr marL="936625" indent="-149225" defTabSz="895350">
                <a:tabLst>
                  <a:tab pos="612775" algn="l"/>
                </a:tabLst>
                <a:defRPr sz="2400">
                  <a:solidFill>
                    <a:schemeClr val="tx1"/>
                  </a:solidFill>
                  <a:latin typeface="Arial" pitchFamily="34" charset="0"/>
                </a:defRPr>
              </a:lvl3pPr>
              <a:lvl4pPr marL="1073150" indent="-134938" defTabSz="895350">
                <a:tabLst>
                  <a:tab pos="612775" algn="l"/>
                </a:tabLst>
                <a:defRPr sz="2400">
                  <a:solidFill>
                    <a:schemeClr val="tx1"/>
                  </a:solidFill>
                  <a:latin typeface="Arial" pitchFamily="34" charset="0"/>
                </a:defRPr>
              </a:lvl4pPr>
              <a:lvl5pPr marL="1223963" indent="-149225" defTabSz="895350">
                <a:tabLst>
                  <a:tab pos="612775" algn="l"/>
                </a:tabLst>
                <a:defRPr sz="2400">
                  <a:solidFill>
                    <a:schemeClr val="tx1"/>
                  </a:solidFill>
                  <a:latin typeface="Arial" pitchFamily="34" charset="0"/>
                </a:defRPr>
              </a:lvl5pPr>
              <a:lvl6pPr marL="1681163" indent="-149225" defTabSz="895350" fontAlgn="base">
                <a:spcBef>
                  <a:spcPct val="0"/>
                </a:spcBef>
                <a:spcAft>
                  <a:spcPct val="0"/>
                </a:spcAft>
                <a:tabLst>
                  <a:tab pos="612775" algn="l"/>
                </a:tabLst>
                <a:defRPr sz="2400">
                  <a:solidFill>
                    <a:schemeClr val="tx1"/>
                  </a:solidFill>
                  <a:latin typeface="Arial" pitchFamily="34" charset="0"/>
                </a:defRPr>
              </a:lvl6pPr>
              <a:lvl7pPr marL="2138363" indent="-149225" defTabSz="895350" fontAlgn="base">
                <a:spcBef>
                  <a:spcPct val="0"/>
                </a:spcBef>
                <a:spcAft>
                  <a:spcPct val="0"/>
                </a:spcAft>
                <a:tabLst>
                  <a:tab pos="612775" algn="l"/>
                </a:tabLst>
                <a:defRPr sz="2400">
                  <a:solidFill>
                    <a:schemeClr val="tx1"/>
                  </a:solidFill>
                  <a:latin typeface="Arial" pitchFamily="34" charset="0"/>
                </a:defRPr>
              </a:lvl7pPr>
              <a:lvl8pPr marL="2595563" indent="-149225" defTabSz="895350" fontAlgn="base">
                <a:spcBef>
                  <a:spcPct val="0"/>
                </a:spcBef>
                <a:spcAft>
                  <a:spcPct val="0"/>
                </a:spcAft>
                <a:tabLst>
                  <a:tab pos="612775" algn="l"/>
                </a:tabLst>
                <a:defRPr sz="2400">
                  <a:solidFill>
                    <a:schemeClr val="tx1"/>
                  </a:solidFill>
                  <a:latin typeface="Arial" pitchFamily="34" charset="0"/>
                </a:defRPr>
              </a:lvl8pPr>
              <a:lvl9pPr marL="3052763" indent="-149225" defTabSz="895350" fontAlgn="base">
                <a:spcBef>
                  <a:spcPct val="0"/>
                </a:spcBef>
                <a:spcAft>
                  <a:spcPct val="0"/>
                </a:spcAft>
                <a:tabLst>
                  <a:tab pos="612775" algn="l"/>
                </a:tabLst>
                <a:defRPr sz="2400">
                  <a:solidFill>
                    <a:schemeClr val="tx1"/>
                  </a:solidFill>
                  <a:latin typeface="Arial" pitchFamily="34" charset="0"/>
                </a:defRPr>
              </a:lvl9pPr>
            </a:lstStyle>
            <a:p>
              <a:pPr algn="l">
                <a:defRPr/>
              </a:pPr>
              <a:r>
                <a:rPr lang="en-US" sz="942">
                  <a:solidFill>
                    <a:srgbClr val="000000"/>
                  </a:solidFill>
                  <a:cs typeface="+mn-cs"/>
                </a:rPr>
                <a:t>SOURCE: Source</a:t>
              </a:r>
            </a:p>
          </p:txBody>
        </p:sp>
      </p:grpSp>
      <p:grpSp>
        <p:nvGrpSpPr>
          <p:cNvPr id="11" name="ACET" hidden="1"/>
          <p:cNvGrpSpPr>
            <a:grpSpLocks/>
          </p:cNvGrpSpPr>
          <p:nvPr/>
        </p:nvGrpSpPr>
        <p:grpSpPr bwMode="auto">
          <a:xfrm>
            <a:off x="1482166" y="1185654"/>
            <a:ext cx="4350892" cy="482684"/>
            <a:chOff x="915" y="732"/>
            <a:chExt cx="2686" cy="298"/>
          </a:xfrm>
        </p:grpSpPr>
        <p:cxnSp>
          <p:nvCxnSpPr>
            <p:cNvPr id="12" name="AutoShape 249" hidden="1"/>
            <p:cNvCxnSpPr>
              <a:cxnSpLocks noChangeShapeType="1"/>
              <a:stCxn id="9232" idx="4"/>
              <a:endCxn id="9232"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250" hidden="1"/>
            <p:cNvSpPr>
              <a:spLocks noChangeArrowheads="1"/>
            </p:cNvSpPr>
            <p:nvPr/>
          </p:nvSpPr>
          <p:spPr bwMode="auto">
            <a:xfrm>
              <a:off x="915" y="732"/>
              <a:ext cx="2686" cy="29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lgn="l" eaLnBrk="0" hangingPunct="0">
                <a:defRPr sz="1600" b="1">
                  <a:solidFill>
                    <a:schemeClr val="tx1"/>
                  </a:solidFill>
                  <a:latin typeface="Arial" pitchFamily="34" charset="0"/>
                </a:defRPr>
              </a:lvl1pPr>
              <a:lvl2pPr marL="742950" indent="-285750" algn="l" eaLnBrk="0" hangingPunct="0">
                <a:defRPr sz="1600" b="1">
                  <a:solidFill>
                    <a:schemeClr val="tx1"/>
                  </a:solidFill>
                  <a:latin typeface="Arial" pitchFamily="34" charset="0"/>
                </a:defRPr>
              </a:lvl2pPr>
              <a:lvl3pPr marL="1143000" indent="-228600" algn="l" eaLnBrk="0" hangingPunct="0">
                <a:defRPr sz="1600" b="1">
                  <a:solidFill>
                    <a:schemeClr val="tx1"/>
                  </a:solidFill>
                  <a:latin typeface="Arial" pitchFamily="34" charset="0"/>
                </a:defRPr>
              </a:lvl3pPr>
              <a:lvl4pPr marL="1600200" indent="-228600" algn="l" eaLnBrk="0" hangingPunct="0">
                <a:defRPr sz="1600" b="1">
                  <a:solidFill>
                    <a:schemeClr val="tx1"/>
                  </a:solidFill>
                  <a:latin typeface="Arial" pitchFamily="34" charset="0"/>
                </a:defRPr>
              </a:lvl4pPr>
              <a:lvl5pPr marL="2057400" indent="-228600" algn="l" eaLnBrk="0" hangingPunct="0">
                <a:defRPr sz="1600" b="1">
                  <a:solidFill>
                    <a:schemeClr val="tx1"/>
                  </a:solidFill>
                  <a:latin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defRPr>
              </a:lvl9pPr>
            </a:lstStyle>
            <a:p>
              <a:pPr eaLnBrk="1" hangingPunct="1"/>
              <a:r>
                <a:rPr lang="en-US" sz="1506"/>
                <a:t>Title</a:t>
              </a:r>
            </a:p>
            <a:p>
              <a:pPr eaLnBrk="1" hangingPunct="1"/>
              <a:r>
                <a:rPr lang="en-US" sz="1506" b="0">
                  <a:solidFill>
                    <a:srgbClr val="808080"/>
                  </a:solidFill>
                </a:rPr>
                <a:t>Unit of measure</a:t>
              </a:r>
            </a:p>
          </p:txBody>
        </p:sp>
      </p:grpSp>
      <p:sp>
        <p:nvSpPr>
          <p:cNvPr id="14" name="Working Draft" hidden="1"/>
          <p:cNvSpPr txBox="1">
            <a:spLocks noChangeArrowheads="1"/>
          </p:cNvSpPr>
          <p:nvPr/>
        </p:nvSpPr>
        <p:spPr bwMode="auto">
          <a:xfrm rot="5400000">
            <a:off x="8205508" y="1976492"/>
            <a:ext cx="1734449" cy="869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eaLnBrk="0" hangingPunct="0">
              <a:defRPr sz="1600" b="1">
                <a:solidFill>
                  <a:schemeClr val="tx1"/>
                </a:solidFill>
                <a:latin typeface="Arial" pitchFamily="34" charset="0"/>
              </a:defRPr>
            </a:lvl1pPr>
            <a:lvl2pPr marL="742950" indent="-285750" algn="l" eaLnBrk="0" hangingPunct="0">
              <a:defRPr sz="1600" b="1">
                <a:solidFill>
                  <a:schemeClr val="tx1"/>
                </a:solidFill>
                <a:latin typeface="Arial" pitchFamily="34" charset="0"/>
              </a:defRPr>
            </a:lvl2pPr>
            <a:lvl3pPr marL="1143000" indent="-228600" algn="l" eaLnBrk="0" hangingPunct="0">
              <a:defRPr sz="1600" b="1">
                <a:solidFill>
                  <a:schemeClr val="tx1"/>
                </a:solidFill>
                <a:latin typeface="Arial" pitchFamily="34" charset="0"/>
              </a:defRPr>
            </a:lvl3pPr>
            <a:lvl4pPr marL="1600200" indent="-228600" algn="l" eaLnBrk="0" hangingPunct="0">
              <a:defRPr sz="1600" b="1">
                <a:solidFill>
                  <a:schemeClr val="tx1"/>
                </a:solidFill>
                <a:latin typeface="Arial" pitchFamily="34" charset="0"/>
              </a:defRPr>
            </a:lvl4pPr>
            <a:lvl5pPr marL="2057400" indent="-228600" algn="l" eaLnBrk="0" hangingPunct="0">
              <a:defRPr sz="1600" b="1">
                <a:solidFill>
                  <a:schemeClr val="tx1"/>
                </a:solidFill>
                <a:latin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defRPr>
            </a:lvl9pPr>
          </a:lstStyle>
          <a:p>
            <a:pPr eaLnBrk="1" hangingPunct="1"/>
            <a:r>
              <a:rPr lang="en-US" sz="565" b="0"/>
              <a:t>Last Modified 3/5/2015 9:38 AM China Standard Time</a:t>
            </a:r>
            <a:endParaRPr lang="en-US" sz="1506" b="0"/>
          </a:p>
        </p:txBody>
      </p:sp>
      <p:sp>
        <p:nvSpPr>
          <p:cNvPr id="15" name="Printed" hidden="1"/>
          <p:cNvSpPr txBox="1">
            <a:spLocks noChangeArrowheads="1"/>
          </p:cNvSpPr>
          <p:nvPr/>
        </p:nvSpPr>
        <p:spPr bwMode="auto">
          <a:xfrm rot="5400000">
            <a:off x="8590228" y="3933955"/>
            <a:ext cx="965008" cy="869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eaLnBrk="0" hangingPunct="0">
              <a:defRPr sz="1600" b="1">
                <a:solidFill>
                  <a:schemeClr val="tx1"/>
                </a:solidFill>
                <a:latin typeface="Arial" pitchFamily="34" charset="0"/>
              </a:defRPr>
            </a:lvl1pPr>
            <a:lvl2pPr marL="742950" indent="-285750" algn="l" eaLnBrk="0" hangingPunct="0">
              <a:defRPr sz="1600" b="1">
                <a:solidFill>
                  <a:schemeClr val="tx1"/>
                </a:solidFill>
                <a:latin typeface="Arial" pitchFamily="34" charset="0"/>
              </a:defRPr>
            </a:lvl2pPr>
            <a:lvl3pPr marL="1143000" indent="-228600" algn="l" eaLnBrk="0" hangingPunct="0">
              <a:defRPr sz="1600" b="1">
                <a:solidFill>
                  <a:schemeClr val="tx1"/>
                </a:solidFill>
                <a:latin typeface="Arial" pitchFamily="34" charset="0"/>
              </a:defRPr>
            </a:lvl3pPr>
            <a:lvl4pPr marL="1600200" indent="-228600" algn="l" eaLnBrk="0" hangingPunct="0">
              <a:defRPr sz="1600" b="1">
                <a:solidFill>
                  <a:schemeClr val="tx1"/>
                </a:solidFill>
                <a:latin typeface="Arial" pitchFamily="34" charset="0"/>
              </a:defRPr>
            </a:lvl4pPr>
            <a:lvl5pPr marL="2057400" indent="-228600" algn="l" eaLnBrk="0" hangingPunct="0">
              <a:defRPr sz="1600" b="1">
                <a:solidFill>
                  <a:schemeClr val="tx1"/>
                </a:solidFill>
                <a:latin typeface="Arial" pitchFamily="34" charset="0"/>
              </a:defRPr>
            </a:lvl5pPr>
            <a:lvl6pPr marL="2514600" indent="-228600" eaLnBrk="0" fontAlgn="base" hangingPunct="0">
              <a:spcBef>
                <a:spcPct val="0"/>
              </a:spcBef>
              <a:spcAft>
                <a:spcPct val="0"/>
              </a:spcAft>
              <a:defRPr sz="1600" b="1">
                <a:solidFill>
                  <a:schemeClr val="tx1"/>
                </a:solidFill>
                <a:latin typeface="Arial" pitchFamily="34" charset="0"/>
              </a:defRPr>
            </a:lvl6pPr>
            <a:lvl7pPr marL="2971800" indent="-228600" eaLnBrk="0" fontAlgn="base" hangingPunct="0">
              <a:spcBef>
                <a:spcPct val="0"/>
              </a:spcBef>
              <a:spcAft>
                <a:spcPct val="0"/>
              </a:spcAft>
              <a:defRPr sz="1600" b="1">
                <a:solidFill>
                  <a:schemeClr val="tx1"/>
                </a:solidFill>
                <a:latin typeface="Arial" pitchFamily="34" charset="0"/>
              </a:defRPr>
            </a:lvl7pPr>
            <a:lvl8pPr marL="3429000" indent="-228600" eaLnBrk="0" fontAlgn="base" hangingPunct="0">
              <a:spcBef>
                <a:spcPct val="0"/>
              </a:spcBef>
              <a:spcAft>
                <a:spcPct val="0"/>
              </a:spcAft>
              <a:defRPr sz="1600" b="1">
                <a:solidFill>
                  <a:schemeClr val="tx1"/>
                </a:solidFill>
                <a:latin typeface="Arial" pitchFamily="34" charset="0"/>
              </a:defRPr>
            </a:lvl8pPr>
            <a:lvl9pPr marL="3886200" indent="-228600" eaLnBrk="0" fontAlgn="base" hangingPunct="0">
              <a:spcBef>
                <a:spcPct val="0"/>
              </a:spcBef>
              <a:spcAft>
                <a:spcPct val="0"/>
              </a:spcAft>
              <a:defRPr sz="1600" b="1">
                <a:solidFill>
                  <a:schemeClr val="tx1"/>
                </a:solidFill>
                <a:latin typeface="Arial" pitchFamily="34" charset="0"/>
              </a:defRPr>
            </a:lvl9pPr>
          </a:lstStyle>
          <a:p>
            <a:pPr eaLnBrk="1" hangingPunct="1"/>
            <a:r>
              <a:rPr lang="en-US" sz="565" b="0"/>
              <a:t>Printed 12/5/2012 6:19:08 PM</a:t>
            </a:r>
            <a:endParaRPr lang="en-US" sz="1506" b="0"/>
          </a:p>
        </p:txBody>
      </p:sp>
      <p:sp>
        <p:nvSpPr>
          <p:cNvPr id="17" name="doc id"/>
          <p:cNvSpPr>
            <a:spLocks noChangeArrowheads="1"/>
          </p:cNvSpPr>
          <p:nvPr/>
        </p:nvSpPr>
        <p:spPr bwMode="auto">
          <a:xfrm>
            <a:off x="82466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algn="l" defTabSz="895350" eaLnBrk="0" hangingPunct="0">
              <a:defRPr sz="1600" b="1">
                <a:solidFill>
                  <a:schemeClr val="tx1"/>
                </a:solidFill>
                <a:latin typeface="Arial" pitchFamily="34" charset="0"/>
              </a:defRPr>
            </a:lvl1pPr>
            <a:lvl2pPr marL="742950" indent="-285750" algn="l" defTabSz="895350" eaLnBrk="0" hangingPunct="0">
              <a:defRPr sz="1600" b="1">
                <a:solidFill>
                  <a:schemeClr val="tx1"/>
                </a:solidFill>
                <a:latin typeface="Arial" pitchFamily="34" charset="0"/>
              </a:defRPr>
            </a:lvl2pPr>
            <a:lvl3pPr marL="1143000" indent="-228600" algn="l" defTabSz="895350" eaLnBrk="0" hangingPunct="0">
              <a:defRPr sz="1600" b="1">
                <a:solidFill>
                  <a:schemeClr val="tx1"/>
                </a:solidFill>
                <a:latin typeface="Arial" pitchFamily="34" charset="0"/>
              </a:defRPr>
            </a:lvl3pPr>
            <a:lvl4pPr marL="1600200" indent="-228600" algn="l" defTabSz="895350" eaLnBrk="0" hangingPunct="0">
              <a:defRPr sz="1600" b="1">
                <a:solidFill>
                  <a:schemeClr val="tx1"/>
                </a:solidFill>
                <a:latin typeface="Arial" pitchFamily="34" charset="0"/>
              </a:defRPr>
            </a:lvl4pPr>
            <a:lvl5pPr marL="2057400" indent="-228600" algn="l" defTabSz="895350" eaLnBrk="0" hangingPunct="0">
              <a:defRPr sz="1600" b="1">
                <a:solidFill>
                  <a:schemeClr val="tx1"/>
                </a:solidFill>
                <a:latin typeface="Arial" pitchFamily="34" charset="0"/>
              </a:defRPr>
            </a:lvl5pPr>
            <a:lvl6pPr marL="2514600" indent="-228600" defTabSz="895350" eaLnBrk="0" fontAlgn="base" hangingPunct="0">
              <a:spcBef>
                <a:spcPct val="0"/>
              </a:spcBef>
              <a:spcAft>
                <a:spcPct val="0"/>
              </a:spcAft>
              <a:defRPr sz="1600" b="1">
                <a:solidFill>
                  <a:schemeClr val="tx1"/>
                </a:solidFill>
                <a:latin typeface="Arial" pitchFamily="34" charset="0"/>
              </a:defRPr>
            </a:lvl6pPr>
            <a:lvl7pPr marL="2971800" indent="-228600" defTabSz="895350" eaLnBrk="0" fontAlgn="base" hangingPunct="0">
              <a:spcBef>
                <a:spcPct val="0"/>
              </a:spcBef>
              <a:spcAft>
                <a:spcPct val="0"/>
              </a:spcAft>
              <a:defRPr sz="1600" b="1">
                <a:solidFill>
                  <a:schemeClr val="tx1"/>
                </a:solidFill>
                <a:latin typeface="Arial" pitchFamily="34" charset="0"/>
              </a:defRPr>
            </a:lvl7pPr>
            <a:lvl8pPr marL="3429000" indent="-228600" defTabSz="895350" eaLnBrk="0" fontAlgn="base" hangingPunct="0">
              <a:spcBef>
                <a:spcPct val="0"/>
              </a:spcBef>
              <a:spcAft>
                <a:spcPct val="0"/>
              </a:spcAft>
              <a:defRPr sz="1600" b="1">
                <a:solidFill>
                  <a:schemeClr val="tx1"/>
                </a:solidFill>
                <a:latin typeface="Arial" pitchFamily="34" charset="0"/>
              </a:defRPr>
            </a:lvl8pPr>
            <a:lvl9pPr marL="3886200" indent="-228600" defTabSz="895350" eaLnBrk="0" fontAlgn="base" hangingPunct="0">
              <a:spcBef>
                <a:spcPct val="0"/>
              </a:spcBef>
              <a:spcAft>
                <a:spcPct val="0"/>
              </a:spcAft>
              <a:defRPr sz="1600" b="1">
                <a:solidFill>
                  <a:schemeClr val="tx1"/>
                </a:solidFill>
                <a:latin typeface="Arial" pitchFamily="34" charset="0"/>
              </a:defRPr>
            </a:lvl9pPr>
          </a:lstStyle>
          <a:p>
            <a:pPr algn="r" eaLnBrk="1" hangingPunct="1"/>
            <a:endParaRPr lang="en-US" sz="753" b="0">
              <a:solidFill>
                <a:srgbClr val="000000"/>
              </a:solidFill>
            </a:endParaRPr>
          </a:p>
        </p:txBody>
      </p:sp>
      <p:sp>
        <p:nvSpPr>
          <p:cNvPr id="2" name="Title 1"/>
          <p:cNvSpPr>
            <a:spLocks noGrp="1"/>
          </p:cNvSpPr>
          <p:nvPr>
            <p:ph type="title"/>
          </p:nvPr>
        </p:nvSpPr>
        <p:spPr>
          <a:xfrm>
            <a:off x="121574" y="413856"/>
            <a:ext cx="8794113" cy="286232"/>
          </a:xfrm>
        </p:spPr>
        <p:txBody>
          <a:bodyPr/>
          <a:lstStyle>
            <a:lvl1pPr>
              <a:defRPr sz="1846"/>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doc id">
            <a:extLst>
              <a:ext uri="{FF2B5EF4-FFF2-40B4-BE49-F238E27FC236}">
                <a16:creationId xmlns:a16="http://schemas.microsoft.com/office/drawing/2014/main" id="{3BB5E34C-543D-C84E-81B2-BBA25DE952C6}"/>
              </a:ext>
            </a:extLst>
          </p:cNvPr>
          <p:cNvSpPr>
            <a:spLocks noChangeArrowheads="1"/>
          </p:cNvSpPr>
          <p:nvPr userDrawn="1"/>
        </p:nvSpPr>
        <p:spPr bwMode="auto">
          <a:xfrm>
            <a:off x="8246616"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algn="l" defTabSz="895350" eaLnBrk="0" hangingPunct="0">
              <a:defRPr sz="1600" b="1">
                <a:solidFill>
                  <a:schemeClr val="tx1"/>
                </a:solidFill>
                <a:latin typeface="Arial" pitchFamily="34" charset="0"/>
              </a:defRPr>
            </a:lvl1pPr>
            <a:lvl2pPr marL="742950" indent="-285750" algn="l" defTabSz="895350" eaLnBrk="0" hangingPunct="0">
              <a:defRPr sz="1600" b="1">
                <a:solidFill>
                  <a:schemeClr val="tx1"/>
                </a:solidFill>
                <a:latin typeface="Arial" pitchFamily="34" charset="0"/>
              </a:defRPr>
            </a:lvl2pPr>
            <a:lvl3pPr marL="1143000" indent="-228600" algn="l" defTabSz="895350" eaLnBrk="0" hangingPunct="0">
              <a:defRPr sz="1600" b="1">
                <a:solidFill>
                  <a:schemeClr val="tx1"/>
                </a:solidFill>
                <a:latin typeface="Arial" pitchFamily="34" charset="0"/>
              </a:defRPr>
            </a:lvl3pPr>
            <a:lvl4pPr marL="1600200" indent="-228600" algn="l" defTabSz="895350" eaLnBrk="0" hangingPunct="0">
              <a:defRPr sz="1600" b="1">
                <a:solidFill>
                  <a:schemeClr val="tx1"/>
                </a:solidFill>
                <a:latin typeface="Arial" pitchFamily="34" charset="0"/>
              </a:defRPr>
            </a:lvl4pPr>
            <a:lvl5pPr marL="2057400" indent="-228600" algn="l" defTabSz="895350" eaLnBrk="0" hangingPunct="0">
              <a:defRPr sz="1600" b="1">
                <a:solidFill>
                  <a:schemeClr val="tx1"/>
                </a:solidFill>
                <a:latin typeface="Arial" pitchFamily="34" charset="0"/>
              </a:defRPr>
            </a:lvl5pPr>
            <a:lvl6pPr marL="2514600" indent="-228600" defTabSz="895350" eaLnBrk="0" fontAlgn="base" hangingPunct="0">
              <a:spcBef>
                <a:spcPct val="0"/>
              </a:spcBef>
              <a:spcAft>
                <a:spcPct val="0"/>
              </a:spcAft>
              <a:defRPr sz="1600" b="1">
                <a:solidFill>
                  <a:schemeClr val="tx1"/>
                </a:solidFill>
                <a:latin typeface="Arial" pitchFamily="34" charset="0"/>
              </a:defRPr>
            </a:lvl6pPr>
            <a:lvl7pPr marL="2971800" indent="-228600" defTabSz="895350" eaLnBrk="0" fontAlgn="base" hangingPunct="0">
              <a:spcBef>
                <a:spcPct val="0"/>
              </a:spcBef>
              <a:spcAft>
                <a:spcPct val="0"/>
              </a:spcAft>
              <a:defRPr sz="1600" b="1">
                <a:solidFill>
                  <a:schemeClr val="tx1"/>
                </a:solidFill>
                <a:latin typeface="Arial" pitchFamily="34" charset="0"/>
              </a:defRPr>
            </a:lvl7pPr>
            <a:lvl8pPr marL="3429000" indent="-228600" defTabSz="895350" eaLnBrk="0" fontAlgn="base" hangingPunct="0">
              <a:spcBef>
                <a:spcPct val="0"/>
              </a:spcBef>
              <a:spcAft>
                <a:spcPct val="0"/>
              </a:spcAft>
              <a:defRPr sz="1600" b="1">
                <a:solidFill>
                  <a:schemeClr val="tx1"/>
                </a:solidFill>
                <a:latin typeface="Arial" pitchFamily="34" charset="0"/>
              </a:defRPr>
            </a:lvl8pPr>
            <a:lvl9pPr marL="3886200" indent="-228600" defTabSz="895350" eaLnBrk="0" fontAlgn="base" hangingPunct="0">
              <a:spcBef>
                <a:spcPct val="0"/>
              </a:spcBef>
              <a:spcAft>
                <a:spcPct val="0"/>
              </a:spcAft>
              <a:defRPr sz="1600" b="1">
                <a:solidFill>
                  <a:schemeClr val="tx1"/>
                </a:solidFill>
                <a:latin typeface="Arial" pitchFamily="34" charset="0"/>
              </a:defRPr>
            </a:lvl9pPr>
          </a:lstStyle>
          <a:p>
            <a:pPr algn="r" eaLnBrk="1" hangingPunct="1"/>
            <a:endParaRPr lang="en-US" sz="753" b="0">
              <a:solidFill>
                <a:srgbClr val="000000"/>
              </a:solidFill>
            </a:endParaRPr>
          </a:p>
        </p:txBody>
      </p:sp>
      <p:pic>
        <p:nvPicPr>
          <p:cNvPr id="4" name="Grafik 3">
            <a:extLst>
              <a:ext uri="{FF2B5EF4-FFF2-40B4-BE49-F238E27FC236}">
                <a16:creationId xmlns:a16="http://schemas.microsoft.com/office/drawing/2014/main" id="{90446E6C-EF98-4348-A699-E3E20B1B5DA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33394" y="1"/>
            <a:ext cx="1191559" cy="1257300"/>
          </a:xfrm>
          <a:prstGeom prst="rect">
            <a:avLst/>
          </a:prstGeom>
        </p:spPr>
      </p:pic>
      <p:sp>
        <p:nvSpPr>
          <p:cNvPr id="5" name="Text Box 11">
            <a:extLst>
              <a:ext uri="{FF2B5EF4-FFF2-40B4-BE49-F238E27FC236}">
                <a16:creationId xmlns:a16="http://schemas.microsoft.com/office/drawing/2014/main" id="{5EE558A6-4575-4656-83B7-9779406C4590}"/>
              </a:ext>
            </a:extLst>
          </p:cNvPr>
          <p:cNvSpPr txBox="1">
            <a:spLocks noChangeArrowheads="1"/>
          </p:cNvSpPr>
          <p:nvPr userDrawn="1"/>
        </p:nvSpPr>
        <p:spPr bwMode="auto">
          <a:xfrm>
            <a:off x="8669338" y="6349206"/>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FCCE17A1-84E7-4884-AF57-63AAF7920995}" type="slidenum">
              <a:rPr lang="de-DE" sz="1300" smtClean="0"/>
              <a:pPr algn="ctr">
                <a:spcBef>
                  <a:spcPct val="50000"/>
                </a:spcBef>
                <a:defRPr/>
              </a:pPr>
              <a:t>‹Nr.›</a:t>
            </a:fld>
            <a:endParaRPr lang="de-DE" sz="1300" dirty="0"/>
          </a:p>
        </p:txBody>
      </p:sp>
    </p:spTree>
    <p:extLst>
      <p:ext uri="{BB962C8B-B14F-4D97-AF65-F5344CB8AC3E}">
        <p14:creationId xmlns:p14="http://schemas.microsoft.com/office/powerpoint/2010/main" val="2540485361"/>
      </p:ext>
    </p:extLst>
  </p:cSld>
  <p:clrMapOvr>
    <a:masterClrMapping/>
  </p:clrMapOvr>
  <p:extLst>
    <p:ext uri="{DCECCB84-F9BA-43D5-87BE-67443E8EF086}">
      <p15:sldGuideLst xmlns:p15="http://schemas.microsoft.com/office/powerpoint/2012/main">
        <p15:guide id="1" orient="horz" pos="432">
          <p15:clr>
            <a:srgbClr val="FBAE40"/>
          </p15:clr>
        </p15:guide>
        <p15:guide id="2" pos="72">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a:t>Titelmasterformat durch Klicken bearbeiten</a:t>
            </a:r>
          </a:p>
        </p:txBody>
      </p:sp>
      <p:sp>
        <p:nvSpPr>
          <p:cNvPr id="3" name="Untertitel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a:t>Formatvorlage des Untertitelmasters durch Klicken bearbeiten</a:t>
            </a:r>
          </a:p>
        </p:txBody>
      </p:sp>
    </p:spTree>
    <p:extLst>
      <p:ext uri="{BB962C8B-B14F-4D97-AF65-F5344CB8AC3E}">
        <p14:creationId xmlns:p14="http://schemas.microsoft.com/office/powerpoint/2010/main" val="31186691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pic>
        <p:nvPicPr>
          <p:cNvPr id="4"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9261" y="0"/>
            <a:ext cx="1191559" cy="1257300"/>
          </a:xfrm>
          <a:prstGeom prst="rect">
            <a:avLst/>
          </a:prstGeom>
        </p:spPr>
      </p:pic>
      <p:sp>
        <p:nvSpPr>
          <p:cNvPr id="5" name="Text Box 11"/>
          <p:cNvSpPr txBox="1">
            <a:spLocks noChangeArrowheads="1"/>
          </p:cNvSpPr>
          <p:nvPr userDrawn="1"/>
        </p:nvSpPr>
        <p:spPr bwMode="auto">
          <a:xfrm>
            <a:off x="8695209" y="6349205"/>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a:lstStyle>
            <a:defPPr>
              <a:defRPr lang="de-DE"/>
            </a:defPPr>
            <a:lvl1pPr algn="l" rtl="0" fontAlgn="base">
              <a:spcBef>
                <a:spcPct val="0"/>
              </a:spcBef>
              <a:spcAft>
                <a:spcPct val="0"/>
              </a:spcAft>
              <a:defRPr sz="12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algn="ctr">
              <a:spcBef>
                <a:spcPct val="50000"/>
              </a:spcBef>
              <a:defRPr/>
            </a:pPr>
            <a:fld id="{FCCE17A1-84E7-4884-AF57-63AAF7920995}" type="slidenum">
              <a:rPr lang="de-DE" sz="1300" smtClean="0">
                <a:solidFill>
                  <a:srgbClr val="000000"/>
                </a:solidFill>
                <a:latin typeface="Gill Sans MT Light"/>
              </a:rPr>
              <a:pPr algn="ctr">
                <a:spcBef>
                  <a:spcPct val="50000"/>
                </a:spcBef>
                <a:defRPr/>
              </a:pPr>
              <a:t>‹Nr.›</a:t>
            </a:fld>
            <a:endParaRPr lang="de-DE" sz="1300" dirty="0">
              <a:solidFill>
                <a:srgbClr val="000000"/>
              </a:solidFill>
              <a:latin typeface="Gill Sans MT Light"/>
            </a:endParaRPr>
          </a:p>
        </p:txBody>
      </p:sp>
    </p:spTree>
    <p:extLst>
      <p:ext uri="{BB962C8B-B14F-4D97-AF65-F5344CB8AC3E}">
        <p14:creationId xmlns:p14="http://schemas.microsoft.com/office/powerpoint/2010/main" val="14730063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Tree>
    <p:extLst>
      <p:ext uri="{BB962C8B-B14F-4D97-AF65-F5344CB8AC3E}">
        <p14:creationId xmlns:p14="http://schemas.microsoft.com/office/powerpoint/2010/main" val="307972433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368300" y="1993900"/>
            <a:ext cx="3341688" cy="4510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3862388" y="1993900"/>
            <a:ext cx="3343275" cy="4510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00313044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1580914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pic>
        <p:nvPicPr>
          <p:cNvPr id="3" name="Grafik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9261" y="0"/>
            <a:ext cx="1191559" cy="1257300"/>
          </a:xfrm>
          <a:prstGeom prst="rect">
            <a:avLst/>
          </a:prstGeom>
        </p:spPr>
      </p:pic>
      <p:sp>
        <p:nvSpPr>
          <p:cNvPr id="4" name="Text Box 11"/>
          <p:cNvSpPr txBox="1">
            <a:spLocks noChangeArrowheads="1"/>
          </p:cNvSpPr>
          <p:nvPr userDrawn="1"/>
        </p:nvSpPr>
        <p:spPr bwMode="auto">
          <a:xfrm>
            <a:off x="8695209" y="6349205"/>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a:lstStyle>
            <a:defPPr>
              <a:defRPr lang="de-DE"/>
            </a:defPPr>
            <a:lvl1pPr algn="l" rtl="0" fontAlgn="base">
              <a:spcBef>
                <a:spcPct val="0"/>
              </a:spcBef>
              <a:spcAft>
                <a:spcPct val="0"/>
              </a:spcAft>
              <a:defRPr sz="12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algn="ctr">
              <a:spcBef>
                <a:spcPct val="50000"/>
              </a:spcBef>
              <a:defRPr/>
            </a:pPr>
            <a:fld id="{FCCE17A1-84E7-4884-AF57-63AAF7920995}" type="slidenum">
              <a:rPr lang="de-DE" sz="1300" smtClean="0">
                <a:solidFill>
                  <a:srgbClr val="000000"/>
                </a:solidFill>
                <a:latin typeface="Gill Sans MT Light"/>
              </a:rPr>
              <a:pPr algn="ctr">
                <a:spcBef>
                  <a:spcPct val="50000"/>
                </a:spcBef>
                <a:defRPr/>
              </a:pPr>
              <a:t>‹Nr.›</a:t>
            </a:fld>
            <a:endParaRPr lang="de-DE" sz="1300" dirty="0">
              <a:solidFill>
                <a:srgbClr val="000000"/>
              </a:solidFill>
              <a:latin typeface="Gill Sans MT Light"/>
            </a:endParaRPr>
          </a:p>
        </p:txBody>
      </p:sp>
    </p:spTree>
    <p:extLst>
      <p:ext uri="{BB962C8B-B14F-4D97-AF65-F5344CB8AC3E}">
        <p14:creationId xmlns:p14="http://schemas.microsoft.com/office/powerpoint/2010/main" val="221571693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9261" y="0"/>
            <a:ext cx="1191559" cy="1257300"/>
          </a:xfrm>
          <a:prstGeom prst="rect">
            <a:avLst/>
          </a:prstGeom>
        </p:spPr>
      </p:pic>
      <p:sp>
        <p:nvSpPr>
          <p:cNvPr id="3" name="Text Box 11"/>
          <p:cNvSpPr txBox="1">
            <a:spLocks noChangeArrowheads="1"/>
          </p:cNvSpPr>
          <p:nvPr userDrawn="1"/>
        </p:nvSpPr>
        <p:spPr bwMode="auto">
          <a:xfrm>
            <a:off x="8695209" y="6349205"/>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a:lstStyle>
            <a:defPPr>
              <a:defRPr lang="de-DE"/>
            </a:defPPr>
            <a:lvl1pPr algn="l" rtl="0" fontAlgn="base">
              <a:spcBef>
                <a:spcPct val="0"/>
              </a:spcBef>
              <a:spcAft>
                <a:spcPct val="0"/>
              </a:spcAft>
              <a:defRPr sz="12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algn="ctr">
              <a:spcBef>
                <a:spcPct val="50000"/>
              </a:spcBef>
              <a:defRPr/>
            </a:pPr>
            <a:fld id="{FCCE17A1-84E7-4884-AF57-63AAF7920995}" type="slidenum">
              <a:rPr lang="de-DE" sz="1300" smtClean="0">
                <a:solidFill>
                  <a:srgbClr val="000000"/>
                </a:solidFill>
                <a:latin typeface="Gill Sans MT Light"/>
              </a:rPr>
              <a:pPr algn="ctr">
                <a:spcBef>
                  <a:spcPct val="50000"/>
                </a:spcBef>
                <a:defRPr/>
              </a:pPr>
              <a:t>‹Nr.›</a:t>
            </a:fld>
            <a:endParaRPr lang="de-DE" sz="1300" dirty="0">
              <a:solidFill>
                <a:srgbClr val="000000"/>
              </a:solidFill>
              <a:latin typeface="Gill Sans MT Light"/>
            </a:endParaRPr>
          </a:p>
        </p:txBody>
      </p:sp>
    </p:spTree>
    <p:extLst>
      <p:ext uri="{BB962C8B-B14F-4D97-AF65-F5344CB8AC3E}">
        <p14:creationId xmlns:p14="http://schemas.microsoft.com/office/powerpoint/2010/main" val="235359963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Tree>
    <p:extLst>
      <p:ext uri="{BB962C8B-B14F-4D97-AF65-F5344CB8AC3E}">
        <p14:creationId xmlns:p14="http://schemas.microsoft.com/office/powerpoint/2010/main" val="23584908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Tree>
    <p:extLst>
      <p:ext uri="{BB962C8B-B14F-4D97-AF65-F5344CB8AC3E}">
        <p14:creationId xmlns:p14="http://schemas.microsoft.com/office/powerpoint/2010/main" val="24600472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5861314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3" y="2130429"/>
            <a:ext cx="7772400" cy="1470025"/>
          </a:xfrm>
        </p:spPr>
        <p:txBody>
          <a:bodyPr/>
          <a:lstStyle/>
          <a:p>
            <a:r>
              <a:rPr lang="de-DE"/>
              <a:t>Titelmasterformat durch Klicken bearbeiten</a:t>
            </a:r>
          </a:p>
        </p:txBody>
      </p:sp>
      <p:sp>
        <p:nvSpPr>
          <p:cNvPr id="3" name="Untertitel 2"/>
          <p:cNvSpPr>
            <a:spLocks noGrp="1"/>
          </p:cNvSpPr>
          <p:nvPr>
            <p:ph type="subTitle" idx="1"/>
          </p:nvPr>
        </p:nvSpPr>
        <p:spPr>
          <a:xfrm>
            <a:off x="1371602" y="3886202"/>
            <a:ext cx="6400801" cy="1752601"/>
          </a:xfrm>
        </p:spPr>
        <p:txBody>
          <a:bodyPr/>
          <a:lstStyle>
            <a:lvl1pPr marL="0" indent="0" algn="ctr">
              <a:buNone/>
              <a:defRPr/>
            </a:lvl1pPr>
            <a:lvl2pPr marL="457115" indent="0" algn="ctr">
              <a:buNone/>
              <a:defRPr/>
            </a:lvl2pPr>
            <a:lvl3pPr marL="914226" indent="0" algn="ctr">
              <a:buNone/>
              <a:defRPr/>
            </a:lvl3pPr>
            <a:lvl4pPr marL="1371341" indent="0" algn="ctr">
              <a:buNone/>
              <a:defRPr/>
            </a:lvl4pPr>
            <a:lvl5pPr marL="1828454" indent="0" algn="ctr">
              <a:buNone/>
              <a:defRPr/>
            </a:lvl5pPr>
            <a:lvl6pPr marL="2285566" indent="0" algn="ctr">
              <a:buNone/>
              <a:defRPr/>
            </a:lvl6pPr>
            <a:lvl7pPr marL="2742681" indent="0" algn="ctr">
              <a:buNone/>
              <a:defRPr/>
            </a:lvl7pPr>
            <a:lvl8pPr marL="3199795" indent="0" algn="ctr">
              <a:buNone/>
              <a:defRPr/>
            </a:lvl8pPr>
            <a:lvl9pPr marL="3656908" indent="0" algn="ctr">
              <a:buNone/>
              <a:defRPr/>
            </a:lvl9pPr>
          </a:lstStyle>
          <a:p>
            <a:r>
              <a:rPr lang="de-DE"/>
              <a:t>Formatvorlage des Untertitelmasters durch Klicken bearbeiten</a:t>
            </a:r>
          </a:p>
        </p:txBody>
      </p:sp>
    </p:spTree>
    <p:extLst>
      <p:ext uri="{BB962C8B-B14F-4D97-AF65-F5344CB8AC3E}">
        <p14:creationId xmlns:p14="http://schemas.microsoft.com/office/powerpoint/2010/main" val="412127008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5494338" y="654050"/>
            <a:ext cx="1711325" cy="5849938"/>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355600" y="654050"/>
            <a:ext cx="4986338" cy="584993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2673511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dgm" preserve="1">
  <p:cSld name="Titel und Diagramm oder Organigramm">
    <p:spTree>
      <p:nvGrpSpPr>
        <p:cNvPr id="1" name=""/>
        <p:cNvGrpSpPr/>
        <p:nvPr/>
      </p:nvGrpSpPr>
      <p:grpSpPr>
        <a:xfrm>
          <a:off x="0" y="0"/>
          <a:ext cx="0" cy="0"/>
          <a:chOff x="0" y="0"/>
          <a:chExt cx="0" cy="0"/>
        </a:xfrm>
      </p:grpSpPr>
      <p:sp>
        <p:nvSpPr>
          <p:cNvPr id="2" name="Titel 1"/>
          <p:cNvSpPr>
            <a:spLocks noGrp="1"/>
          </p:cNvSpPr>
          <p:nvPr>
            <p:ph type="title"/>
          </p:nvPr>
        </p:nvSpPr>
        <p:spPr>
          <a:xfrm>
            <a:off x="355600" y="654050"/>
            <a:ext cx="6837363" cy="993775"/>
          </a:xfrm>
        </p:spPr>
        <p:txBody>
          <a:bodyPr/>
          <a:lstStyle/>
          <a:p>
            <a:r>
              <a:rPr lang="de-DE"/>
              <a:t>Titelmasterformat durch Klicken bearbeiten</a:t>
            </a:r>
          </a:p>
        </p:txBody>
      </p:sp>
      <p:sp>
        <p:nvSpPr>
          <p:cNvPr id="3" name="SmartArt-Platzhalter 2"/>
          <p:cNvSpPr>
            <a:spLocks noGrp="1"/>
          </p:cNvSpPr>
          <p:nvPr>
            <p:ph type="dgm" idx="1"/>
          </p:nvPr>
        </p:nvSpPr>
        <p:spPr>
          <a:xfrm>
            <a:off x="368300" y="1993900"/>
            <a:ext cx="6837363" cy="4510088"/>
          </a:xfrm>
        </p:spPr>
        <p:txBody>
          <a:bodyPr/>
          <a:lstStyle/>
          <a:p>
            <a:pPr lvl="0"/>
            <a:endParaRPr lang="de-DE" noProof="0" dirty="0"/>
          </a:p>
        </p:txBody>
      </p:sp>
      <p:pic>
        <p:nvPicPr>
          <p:cNvPr id="4"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9261" y="0"/>
            <a:ext cx="1191559" cy="1257300"/>
          </a:xfrm>
          <a:prstGeom prst="rect">
            <a:avLst/>
          </a:prstGeom>
        </p:spPr>
      </p:pic>
      <p:sp>
        <p:nvSpPr>
          <p:cNvPr id="5" name="Text Box 11"/>
          <p:cNvSpPr txBox="1">
            <a:spLocks noChangeArrowheads="1"/>
          </p:cNvSpPr>
          <p:nvPr userDrawn="1"/>
        </p:nvSpPr>
        <p:spPr bwMode="auto">
          <a:xfrm>
            <a:off x="8695209" y="6349205"/>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a:lstStyle>
            <a:defPPr>
              <a:defRPr lang="de-DE"/>
            </a:defPPr>
            <a:lvl1pPr algn="l" rtl="0" fontAlgn="base">
              <a:spcBef>
                <a:spcPct val="0"/>
              </a:spcBef>
              <a:spcAft>
                <a:spcPct val="0"/>
              </a:spcAft>
              <a:defRPr sz="12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algn="ctr">
              <a:spcBef>
                <a:spcPct val="50000"/>
              </a:spcBef>
              <a:defRPr/>
            </a:pPr>
            <a:fld id="{FCCE17A1-84E7-4884-AF57-63AAF7920995}" type="slidenum">
              <a:rPr lang="de-DE" sz="1300" smtClean="0">
                <a:solidFill>
                  <a:srgbClr val="000000"/>
                </a:solidFill>
                <a:latin typeface="Gill Sans MT Light"/>
              </a:rPr>
              <a:pPr algn="ctr">
                <a:spcBef>
                  <a:spcPct val="50000"/>
                </a:spcBef>
                <a:defRPr/>
              </a:pPr>
              <a:t>‹Nr.›</a:t>
            </a:fld>
            <a:endParaRPr lang="de-DE" sz="1300" dirty="0">
              <a:solidFill>
                <a:srgbClr val="000000"/>
              </a:solidFill>
              <a:latin typeface="Gill Sans MT Light"/>
            </a:endParaRPr>
          </a:p>
        </p:txBody>
      </p:sp>
    </p:spTree>
    <p:extLst>
      <p:ext uri="{BB962C8B-B14F-4D97-AF65-F5344CB8AC3E}">
        <p14:creationId xmlns:p14="http://schemas.microsoft.com/office/powerpoint/2010/main" val="66275980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a:t>Titelmasterformat durch Klicken bearbeiten</a:t>
            </a:r>
          </a:p>
        </p:txBody>
      </p:sp>
      <p:sp>
        <p:nvSpPr>
          <p:cNvPr id="3" name="Untertitel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a:t>Formatvorlage des Untertitelmasters durch Klicken bearbeiten</a:t>
            </a:r>
          </a:p>
        </p:txBody>
      </p:sp>
    </p:spTree>
    <p:extLst>
      <p:ext uri="{BB962C8B-B14F-4D97-AF65-F5344CB8AC3E}">
        <p14:creationId xmlns:p14="http://schemas.microsoft.com/office/powerpoint/2010/main" val="109488656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pic>
        <p:nvPicPr>
          <p:cNvPr id="6" name="Grafik 5">
            <a:extLst>
              <a:ext uri="{FF2B5EF4-FFF2-40B4-BE49-F238E27FC236}">
                <a16:creationId xmlns:a16="http://schemas.microsoft.com/office/drawing/2014/main" id="{FC88CA49-878D-4110-ACFD-61C0F6CECB6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33394" y="1"/>
            <a:ext cx="1191559" cy="1257300"/>
          </a:xfrm>
          <a:prstGeom prst="rect">
            <a:avLst/>
          </a:prstGeom>
        </p:spPr>
      </p:pic>
      <p:sp>
        <p:nvSpPr>
          <p:cNvPr id="7" name="Text Box 11">
            <a:extLst>
              <a:ext uri="{FF2B5EF4-FFF2-40B4-BE49-F238E27FC236}">
                <a16:creationId xmlns:a16="http://schemas.microsoft.com/office/drawing/2014/main" id="{91A2349E-5F2A-4BDD-B277-59F303D8AD3F}"/>
              </a:ext>
            </a:extLst>
          </p:cNvPr>
          <p:cNvSpPr txBox="1">
            <a:spLocks noChangeArrowheads="1"/>
          </p:cNvSpPr>
          <p:nvPr userDrawn="1"/>
        </p:nvSpPr>
        <p:spPr bwMode="auto">
          <a:xfrm>
            <a:off x="8669338" y="6349206"/>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FCCE17A1-84E7-4884-AF57-63AAF7920995}" type="slidenum">
              <a:rPr lang="de-DE" sz="1300" smtClean="0"/>
              <a:pPr algn="ctr">
                <a:spcBef>
                  <a:spcPct val="50000"/>
                </a:spcBef>
                <a:defRPr/>
              </a:pPr>
              <a:t>‹Nr.›</a:t>
            </a:fld>
            <a:endParaRPr lang="de-DE" sz="1300" dirty="0"/>
          </a:p>
        </p:txBody>
      </p:sp>
    </p:spTree>
    <p:extLst>
      <p:ext uri="{BB962C8B-B14F-4D97-AF65-F5344CB8AC3E}">
        <p14:creationId xmlns:p14="http://schemas.microsoft.com/office/powerpoint/2010/main" val="41134069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Tree>
    <p:extLst>
      <p:ext uri="{BB962C8B-B14F-4D97-AF65-F5344CB8AC3E}">
        <p14:creationId xmlns:p14="http://schemas.microsoft.com/office/powerpoint/2010/main" val="16817451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368300" y="1993900"/>
            <a:ext cx="3341688" cy="4510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3862388" y="1993900"/>
            <a:ext cx="3343275" cy="4510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16902716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56165645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pic>
        <p:nvPicPr>
          <p:cNvPr id="3" name="Grafik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9261" y="0"/>
            <a:ext cx="1191559" cy="1257300"/>
          </a:xfrm>
          <a:prstGeom prst="rect">
            <a:avLst/>
          </a:prstGeom>
        </p:spPr>
      </p:pic>
      <p:sp>
        <p:nvSpPr>
          <p:cNvPr id="4" name="Text Box 11"/>
          <p:cNvSpPr txBox="1">
            <a:spLocks noChangeArrowheads="1"/>
          </p:cNvSpPr>
          <p:nvPr userDrawn="1"/>
        </p:nvSpPr>
        <p:spPr bwMode="auto">
          <a:xfrm>
            <a:off x="8695209" y="6349205"/>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a:lstStyle>
            <a:defPPr>
              <a:defRPr lang="de-DE"/>
            </a:defPPr>
            <a:lvl1pPr algn="l" rtl="0" fontAlgn="base">
              <a:spcBef>
                <a:spcPct val="0"/>
              </a:spcBef>
              <a:spcAft>
                <a:spcPct val="0"/>
              </a:spcAft>
              <a:defRPr sz="12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algn="ctr">
              <a:spcBef>
                <a:spcPct val="50000"/>
              </a:spcBef>
              <a:defRPr/>
            </a:pPr>
            <a:fld id="{FCCE17A1-84E7-4884-AF57-63AAF7920995}" type="slidenum">
              <a:rPr lang="de-DE" sz="1300" smtClean="0">
                <a:latin typeface="+mj-lt"/>
              </a:rPr>
              <a:pPr algn="ctr">
                <a:spcBef>
                  <a:spcPct val="50000"/>
                </a:spcBef>
                <a:defRPr/>
              </a:pPr>
              <a:t>‹Nr.›</a:t>
            </a:fld>
            <a:endParaRPr lang="de-DE" sz="1300" dirty="0">
              <a:latin typeface="+mj-lt"/>
            </a:endParaRPr>
          </a:p>
        </p:txBody>
      </p:sp>
    </p:spTree>
    <p:extLst>
      <p:ext uri="{BB962C8B-B14F-4D97-AF65-F5344CB8AC3E}">
        <p14:creationId xmlns:p14="http://schemas.microsoft.com/office/powerpoint/2010/main" val="328063927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9261" y="0"/>
            <a:ext cx="1191559" cy="1257300"/>
          </a:xfrm>
          <a:prstGeom prst="rect">
            <a:avLst/>
          </a:prstGeom>
        </p:spPr>
      </p:pic>
      <p:sp>
        <p:nvSpPr>
          <p:cNvPr id="3" name="Text Box 11"/>
          <p:cNvSpPr txBox="1">
            <a:spLocks noChangeArrowheads="1"/>
          </p:cNvSpPr>
          <p:nvPr userDrawn="1"/>
        </p:nvSpPr>
        <p:spPr bwMode="auto">
          <a:xfrm>
            <a:off x="8695209" y="6349205"/>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a:lstStyle>
            <a:defPPr>
              <a:defRPr lang="de-DE"/>
            </a:defPPr>
            <a:lvl1pPr algn="l" rtl="0" fontAlgn="base">
              <a:spcBef>
                <a:spcPct val="0"/>
              </a:spcBef>
              <a:spcAft>
                <a:spcPct val="0"/>
              </a:spcAft>
              <a:defRPr sz="12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algn="ctr">
              <a:spcBef>
                <a:spcPct val="50000"/>
              </a:spcBef>
              <a:defRPr/>
            </a:pPr>
            <a:fld id="{FCCE17A1-84E7-4884-AF57-63AAF7920995}" type="slidenum">
              <a:rPr lang="de-DE" sz="1300" smtClean="0">
                <a:latin typeface="+mj-lt"/>
              </a:rPr>
              <a:pPr algn="ctr">
                <a:spcBef>
                  <a:spcPct val="50000"/>
                </a:spcBef>
                <a:defRPr/>
              </a:pPr>
              <a:t>‹Nr.›</a:t>
            </a:fld>
            <a:endParaRPr lang="de-DE" sz="1300" dirty="0">
              <a:latin typeface="+mj-lt"/>
            </a:endParaRPr>
          </a:p>
        </p:txBody>
      </p:sp>
    </p:spTree>
    <p:extLst>
      <p:ext uri="{BB962C8B-B14F-4D97-AF65-F5344CB8AC3E}">
        <p14:creationId xmlns:p14="http://schemas.microsoft.com/office/powerpoint/2010/main" val="12398641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Tree>
    <p:extLst>
      <p:ext uri="{BB962C8B-B14F-4D97-AF65-F5344CB8AC3E}">
        <p14:creationId xmlns:p14="http://schemas.microsoft.com/office/powerpoint/2010/main" val="10321713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pic>
        <p:nvPicPr>
          <p:cNvPr id="6" name="Grafik 5">
            <a:extLst>
              <a:ext uri="{FF2B5EF4-FFF2-40B4-BE49-F238E27FC236}">
                <a16:creationId xmlns:a16="http://schemas.microsoft.com/office/drawing/2014/main" id="{34C78A94-C273-4C84-A678-A4F821B8E03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33394" y="1"/>
            <a:ext cx="1191559" cy="1257300"/>
          </a:xfrm>
          <a:prstGeom prst="rect">
            <a:avLst/>
          </a:prstGeom>
        </p:spPr>
      </p:pic>
      <p:sp>
        <p:nvSpPr>
          <p:cNvPr id="7" name="Text Box 11">
            <a:extLst>
              <a:ext uri="{FF2B5EF4-FFF2-40B4-BE49-F238E27FC236}">
                <a16:creationId xmlns:a16="http://schemas.microsoft.com/office/drawing/2014/main" id="{A445FFB1-3BF7-4B2E-95DC-AED88DC855B7}"/>
              </a:ext>
            </a:extLst>
          </p:cNvPr>
          <p:cNvSpPr txBox="1">
            <a:spLocks noChangeArrowheads="1"/>
          </p:cNvSpPr>
          <p:nvPr userDrawn="1"/>
        </p:nvSpPr>
        <p:spPr bwMode="auto">
          <a:xfrm>
            <a:off x="8669338" y="6349206"/>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FCCE17A1-84E7-4884-AF57-63AAF7920995}" type="slidenum">
              <a:rPr lang="de-DE" sz="1300" smtClean="0"/>
              <a:pPr algn="ctr">
                <a:spcBef>
                  <a:spcPct val="50000"/>
                </a:spcBef>
                <a:defRPr/>
              </a:pPr>
              <a:t>‹Nr.›</a:t>
            </a:fld>
            <a:endParaRPr lang="de-DE" sz="1300" dirty="0"/>
          </a:p>
        </p:txBody>
      </p:sp>
    </p:spTree>
    <p:extLst>
      <p:ext uri="{BB962C8B-B14F-4D97-AF65-F5344CB8AC3E}">
        <p14:creationId xmlns:p14="http://schemas.microsoft.com/office/powerpoint/2010/main" val="141488239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Tree>
    <p:extLst>
      <p:ext uri="{BB962C8B-B14F-4D97-AF65-F5344CB8AC3E}">
        <p14:creationId xmlns:p14="http://schemas.microsoft.com/office/powerpoint/2010/main" val="307456061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74599086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5494338" y="654050"/>
            <a:ext cx="1711325" cy="5849938"/>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355600" y="654050"/>
            <a:ext cx="4986338" cy="584993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44243038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dgm" preserve="1">
  <p:cSld name="Titel und Diagramm oder Organigramm">
    <p:spTree>
      <p:nvGrpSpPr>
        <p:cNvPr id="1" name=""/>
        <p:cNvGrpSpPr/>
        <p:nvPr/>
      </p:nvGrpSpPr>
      <p:grpSpPr>
        <a:xfrm>
          <a:off x="0" y="0"/>
          <a:ext cx="0" cy="0"/>
          <a:chOff x="0" y="0"/>
          <a:chExt cx="0" cy="0"/>
        </a:xfrm>
      </p:grpSpPr>
      <p:sp>
        <p:nvSpPr>
          <p:cNvPr id="2" name="Titel 1"/>
          <p:cNvSpPr>
            <a:spLocks noGrp="1"/>
          </p:cNvSpPr>
          <p:nvPr>
            <p:ph type="title"/>
          </p:nvPr>
        </p:nvSpPr>
        <p:spPr>
          <a:xfrm>
            <a:off x="355600" y="654050"/>
            <a:ext cx="6837363" cy="993775"/>
          </a:xfrm>
        </p:spPr>
        <p:txBody>
          <a:bodyPr/>
          <a:lstStyle/>
          <a:p>
            <a:r>
              <a:rPr lang="de-DE"/>
              <a:t>Titelmasterformat durch Klicken bearbeiten</a:t>
            </a:r>
          </a:p>
        </p:txBody>
      </p:sp>
      <p:sp>
        <p:nvSpPr>
          <p:cNvPr id="3" name="SmartArt-Platzhalter 2"/>
          <p:cNvSpPr>
            <a:spLocks noGrp="1"/>
          </p:cNvSpPr>
          <p:nvPr>
            <p:ph type="dgm" idx="1"/>
          </p:nvPr>
        </p:nvSpPr>
        <p:spPr>
          <a:xfrm>
            <a:off x="368300" y="1993900"/>
            <a:ext cx="6837363" cy="4510088"/>
          </a:xfrm>
        </p:spPr>
        <p:txBody>
          <a:bodyPr/>
          <a:lstStyle/>
          <a:p>
            <a:pPr lvl="0"/>
            <a:endParaRPr lang="de-DE" noProof="0" dirty="0"/>
          </a:p>
        </p:txBody>
      </p:sp>
      <p:pic>
        <p:nvPicPr>
          <p:cNvPr id="4"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9261" y="0"/>
            <a:ext cx="1191559" cy="1257300"/>
          </a:xfrm>
          <a:prstGeom prst="rect">
            <a:avLst/>
          </a:prstGeom>
        </p:spPr>
      </p:pic>
      <p:sp>
        <p:nvSpPr>
          <p:cNvPr id="5" name="Text Box 11"/>
          <p:cNvSpPr txBox="1">
            <a:spLocks noChangeArrowheads="1"/>
          </p:cNvSpPr>
          <p:nvPr userDrawn="1"/>
        </p:nvSpPr>
        <p:spPr bwMode="auto">
          <a:xfrm>
            <a:off x="8695209" y="6349205"/>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a:lstStyle>
            <a:defPPr>
              <a:defRPr lang="de-DE"/>
            </a:defPPr>
            <a:lvl1pPr algn="l" rtl="0" fontAlgn="base">
              <a:spcBef>
                <a:spcPct val="0"/>
              </a:spcBef>
              <a:spcAft>
                <a:spcPct val="0"/>
              </a:spcAft>
              <a:defRPr sz="12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algn="ctr">
              <a:spcBef>
                <a:spcPct val="50000"/>
              </a:spcBef>
              <a:defRPr/>
            </a:pPr>
            <a:fld id="{FCCE17A1-84E7-4884-AF57-63AAF7920995}" type="slidenum">
              <a:rPr lang="de-DE" sz="1300" smtClean="0">
                <a:latin typeface="+mj-lt"/>
              </a:rPr>
              <a:pPr algn="ctr">
                <a:spcBef>
                  <a:spcPct val="50000"/>
                </a:spcBef>
                <a:defRPr/>
              </a:pPr>
              <a:t>‹Nr.›</a:t>
            </a:fld>
            <a:endParaRPr lang="de-DE" sz="1300" dirty="0">
              <a:latin typeface="+mj-lt"/>
            </a:endParaRPr>
          </a:p>
        </p:txBody>
      </p:sp>
    </p:spTree>
    <p:extLst>
      <p:ext uri="{BB962C8B-B14F-4D97-AF65-F5344CB8AC3E}">
        <p14:creationId xmlns:p14="http://schemas.microsoft.com/office/powerpoint/2010/main" val="359218682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a:t>Titelmasterformat durch Klicken bearbeiten</a:t>
            </a:r>
          </a:p>
        </p:txBody>
      </p:sp>
      <p:sp>
        <p:nvSpPr>
          <p:cNvPr id="3" name="Untertitel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a:t>Formatvorlage des Untertitelmasters durch Klicken bearbeiten</a:t>
            </a:r>
          </a:p>
        </p:txBody>
      </p:sp>
    </p:spTree>
    <p:extLst>
      <p:ext uri="{BB962C8B-B14F-4D97-AF65-F5344CB8AC3E}">
        <p14:creationId xmlns:p14="http://schemas.microsoft.com/office/powerpoint/2010/main" val="289551760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pic>
        <p:nvPicPr>
          <p:cNvPr id="4"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9261" y="0"/>
            <a:ext cx="1191559" cy="1257300"/>
          </a:xfrm>
          <a:prstGeom prst="rect">
            <a:avLst/>
          </a:prstGeom>
        </p:spPr>
      </p:pic>
      <p:sp>
        <p:nvSpPr>
          <p:cNvPr id="5" name="Text Box 11"/>
          <p:cNvSpPr txBox="1">
            <a:spLocks noChangeArrowheads="1"/>
          </p:cNvSpPr>
          <p:nvPr userDrawn="1"/>
        </p:nvSpPr>
        <p:spPr bwMode="auto">
          <a:xfrm>
            <a:off x="8695209" y="6349205"/>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a:lstStyle>
            <a:defPPr>
              <a:defRPr lang="de-DE"/>
            </a:defPPr>
            <a:lvl1pPr algn="l" rtl="0" fontAlgn="base">
              <a:spcBef>
                <a:spcPct val="0"/>
              </a:spcBef>
              <a:spcAft>
                <a:spcPct val="0"/>
              </a:spcAft>
              <a:defRPr sz="12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algn="ctr" eaLnBrk="0" hangingPunct="0">
              <a:spcBef>
                <a:spcPct val="50000"/>
              </a:spcBef>
              <a:defRPr/>
            </a:pPr>
            <a:fld id="{FCCE17A1-84E7-4884-AF57-63AAF7920995}" type="slidenum">
              <a:rPr lang="de-DE" sz="1300" smtClean="0">
                <a:solidFill>
                  <a:srgbClr val="000000"/>
                </a:solidFill>
                <a:latin typeface="Gill Sans MT Light"/>
              </a:rPr>
              <a:pPr algn="ctr" eaLnBrk="0" hangingPunct="0">
                <a:spcBef>
                  <a:spcPct val="50000"/>
                </a:spcBef>
                <a:defRPr/>
              </a:pPr>
              <a:t>‹Nr.›</a:t>
            </a:fld>
            <a:endParaRPr lang="de-DE" sz="1300" dirty="0">
              <a:solidFill>
                <a:srgbClr val="000000"/>
              </a:solidFill>
              <a:latin typeface="Gill Sans MT Light"/>
            </a:endParaRPr>
          </a:p>
        </p:txBody>
      </p:sp>
    </p:spTree>
    <p:extLst>
      <p:ext uri="{BB962C8B-B14F-4D97-AF65-F5344CB8AC3E}">
        <p14:creationId xmlns:p14="http://schemas.microsoft.com/office/powerpoint/2010/main" val="408445192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 bearbeiten</a:t>
            </a:r>
          </a:p>
        </p:txBody>
      </p:sp>
    </p:spTree>
    <p:extLst>
      <p:ext uri="{BB962C8B-B14F-4D97-AF65-F5344CB8AC3E}">
        <p14:creationId xmlns:p14="http://schemas.microsoft.com/office/powerpoint/2010/main" val="28593424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368300" y="1993900"/>
            <a:ext cx="3341688" cy="4510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3862388" y="1993900"/>
            <a:ext cx="3343275" cy="4510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25988799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13595859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pic>
        <p:nvPicPr>
          <p:cNvPr id="3" name="Grafik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9261" y="0"/>
            <a:ext cx="1191559" cy="1257300"/>
          </a:xfrm>
          <a:prstGeom prst="rect">
            <a:avLst/>
          </a:prstGeom>
        </p:spPr>
      </p:pic>
      <p:sp>
        <p:nvSpPr>
          <p:cNvPr id="4" name="Text Box 11"/>
          <p:cNvSpPr txBox="1">
            <a:spLocks noChangeArrowheads="1"/>
          </p:cNvSpPr>
          <p:nvPr userDrawn="1"/>
        </p:nvSpPr>
        <p:spPr bwMode="auto">
          <a:xfrm>
            <a:off x="8695209" y="6349205"/>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a:lstStyle>
            <a:defPPr>
              <a:defRPr lang="de-DE"/>
            </a:defPPr>
            <a:lvl1pPr algn="l" rtl="0" fontAlgn="base">
              <a:spcBef>
                <a:spcPct val="0"/>
              </a:spcBef>
              <a:spcAft>
                <a:spcPct val="0"/>
              </a:spcAft>
              <a:defRPr sz="12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algn="ctr" eaLnBrk="0" hangingPunct="0">
              <a:spcBef>
                <a:spcPct val="50000"/>
              </a:spcBef>
              <a:defRPr/>
            </a:pPr>
            <a:fld id="{FCCE17A1-84E7-4884-AF57-63AAF7920995}" type="slidenum">
              <a:rPr lang="de-DE" sz="1300" smtClean="0">
                <a:solidFill>
                  <a:srgbClr val="000000"/>
                </a:solidFill>
                <a:latin typeface="Gill Sans MT Light"/>
              </a:rPr>
              <a:pPr algn="ctr" eaLnBrk="0" hangingPunct="0">
                <a:spcBef>
                  <a:spcPct val="50000"/>
                </a:spcBef>
                <a:defRPr/>
              </a:pPr>
              <a:t>‹Nr.›</a:t>
            </a:fld>
            <a:endParaRPr lang="de-DE" sz="1300" dirty="0">
              <a:solidFill>
                <a:srgbClr val="000000"/>
              </a:solidFill>
              <a:latin typeface="Gill Sans MT Light"/>
            </a:endParaRPr>
          </a:p>
        </p:txBody>
      </p:sp>
    </p:spTree>
    <p:extLst>
      <p:ext uri="{BB962C8B-B14F-4D97-AF65-F5344CB8AC3E}">
        <p14:creationId xmlns:p14="http://schemas.microsoft.com/office/powerpoint/2010/main" val="28691117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5" y="4406900"/>
            <a:ext cx="7772400" cy="1362075"/>
          </a:xfrm>
        </p:spPr>
        <p:txBody>
          <a:bodyPr anchor="t"/>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722315" y="2906717"/>
            <a:ext cx="7772400" cy="1500187"/>
          </a:xfrm>
        </p:spPr>
        <p:txBody>
          <a:bodyPr anchor="b"/>
          <a:lstStyle>
            <a:lvl1pPr marL="0" indent="0">
              <a:buNone/>
              <a:defRPr sz="1900"/>
            </a:lvl1pPr>
            <a:lvl2pPr marL="457115" indent="0">
              <a:buNone/>
              <a:defRPr sz="1800"/>
            </a:lvl2pPr>
            <a:lvl3pPr marL="914226" indent="0">
              <a:buNone/>
              <a:defRPr sz="1600"/>
            </a:lvl3pPr>
            <a:lvl4pPr marL="1371341" indent="0">
              <a:buNone/>
              <a:defRPr sz="1500"/>
            </a:lvl4pPr>
            <a:lvl5pPr marL="1828454" indent="0">
              <a:buNone/>
              <a:defRPr sz="1500"/>
            </a:lvl5pPr>
            <a:lvl6pPr marL="2285566" indent="0">
              <a:buNone/>
              <a:defRPr sz="1500"/>
            </a:lvl6pPr>
            <a:lvl7pPr marL="2742681" indent="0">
              <a:buNone/>
              <a:defRPr sz="1500"/>
            </a:lvl7pPr>
            <a:lvl8pPr marL="3199795" indent="0">
              <a:buNone/>
              <a:defRPr sz="1500"/>
            </a:lvl8pPr>
            <a:lvl9pPr marL="3656908" indent="0">
              <a:buNone/>
              <a:defRPr sz="1500"/>
            </a:lvl9pPr>
          </a:lstStyle>
          <a:p>
            <a:pPr lvl="0"/>
            <a:r>
              <a:rPr lang="de-DE"/>
              <a:t>Textmasterformat bearbeiten</a:t>
            </a:r>
          </a:p>
        </p:txBody>
      </p:sp>
    </p:spTree>
    <p:extLst>
      <p:ext uri="{BB962C8B-B14F-4D97-AF65-F5344CB8AC3E}">
        <p14:creationId xmlns:p14="http://schemas.microsoft.com/office/powerpoint/2010/main" val="29478357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9261" y="0"/>
            <a:ext cx="1191559" cy="1257300"/>
          </a:xfrm>
          <a:prstGeom prst="rect">
            <a:avLst/>
          </a:prstGeom>
        </p:spPr>
      </p:pic>
      <p:sp>
        <p:nvSpPr>
          <p:cNvPr id="3" name="Text Box 11"/>
          <p:cNvSpPr txBox="1">
            <a:spLocks noChangeArrowheads="1"/>
          </p:cNvSpPr>
          <p:nvPr userDrawn="1"/>
        </p:nvSpPr>
        <p:spPr bwMode="auto">
          <a:xfrm>
            <a:off x="8695209" y="6349205"/>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a:lstStyle>
            <a:defPPr>
              <a:defRPr lang="de-DE"/>
            </a:defPPr>
            <a:lvl1pPr algn="l" rtl="0" fontAlgn="base">
              <a:spcBef>
                <a:spcPct val="0"/>
              </a:spcBef>
              <a:spcAft>
                <a:spcPct val="0"/>
              </a:spcAft>
              <a:defRPr sz="12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algn="ctr" eaLnBrk="0" hangingPunct="0">
              <a:spcBef>
                <a:spcPct val="50000"/>
              </a:spcBef>
              <a:defRPr/>
            </a:pPr>
            <a:fld id="{FCCE17A1-84E7-4884-AF57-63AAF7920995}" type="slidenum">
              <a:rPr lang="de-DE" sz="1300" smtClean="0">
                <a:solidFill>
                  <a:srgbClr val="000000"/>
                </a:solidFill>
                <a:latin typeface="Gill Sans MT Light"/>
              </a:rPr>
              <a:pPr algn="ctr" eaLnBrk="0" hangingPunct="0">
                <a:spcBef>
                  <a:spcPct val="50000"/>
                </a:spcBef>
                <a:defRPr/>
              </a:pPr>
              <a:t>‹Nr.›</a:t>
            </a:fld>
            <a:endParaRPr lang="de-DE" sz="1300" dirty="0">
              <a:solidFill>
                <a:srgbClr val="000000"/>
              </a:solidFill>
              <a:latin typeface="Gill Sans MT Light"/>
            </a:endParaRPr>
          </a:p>
        </p:txBody>
      </p:sp>
    </p:spTree>
    <p:extLst>
      <p:ext uri="{BB962C8B-B14F-4D97-AF65-F5344CB8AC3E}">
        <p14:creationId xmlns:p14="http://schemas.microsoft.com/office/powerpoint/2010/main" val="302661693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Tree>
    <p:extLst>
      <p:ext uri="{BB962C8B-B14F-4D97-AF65-F5344CB8AC3E}">
        <p14:creationId xmlns:p14="http://schemas.microsoft.com/office/powerpoint/2010/main" val="335799082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Tree>
    <p:extLst>
      <p:ext uri="{BB962C8B-B14F-4D97-AF65-F5344CB8AC3E}">
        <p14:creationId xmlns:p14="http://schemas.microsoft.com/office/powerpoint/2010/main" val="251808786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12898736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5494338" y="654050"/>
            <a:ext cx="1711325" cy="5849938"/>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355600" y="654050"/>
            <a:ext cx="4986338" cy="584993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4539701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dgm" preserve="1">
  <p:cSld name="Titel und Diagramm oder Organigramm">
    <p:spTree>
      <p:nvGrpSpPr>
        <p:cNvPr id="1" name=""/>
        <p:cNvGrpSpPr/>
        <p:nvPr/>
      </p:nvGrpSpPr>
      <p:grpSpPr>
        <a:xfrm>
          <a:off x="0" y="0"/>
          <a:ext cx="0" cy="0"/>
          <a:chOff x="0" y="0"/>
          <a:chExt cx="0" cy="0"/>
        </a:xfrm>
      </p:grpSpPr>
      <p:sp>
        <p:nvSpPr>
          <p:cNvPr id="2" name="Titel 1"/>
          <p:cNvSpPr>
            <a:spLocks noGrp="1"/>
          </p:cNvSpPr>
          <p:nvPr>
            <p:ph type="title"/>
          </p:nvPr>
        </p:nvSpPr>
        <p:spPr>
          <a:xfrm>
            <a:off x="355600" y="654050"/>
            <a:ext cx="6837363" cy="993775"/>
          </a:xfrm>
        </p:spPr>
        <p:txBody>
          <a:bodyPr/>
          <a:lstStyle/>
          <a:p>
            <a:r>
              <a:rPr lang="de-DE"/>
              <a:t>Titelmasterformat durch Klicken bearbeiten</a:t>
            </a:r>
          </a:p>
        </p:txBody>
      </p:sp>
      <p:sp>
        <p:nvSpPr>
          <p:cNvPr id="3" name="SmartArt-Platzhalter 2"/>
          <p:cNvSpPr>
            <a:spLocks noGrp="1"/>
          </p:cNvSpPr>
          <p:nvPr>
            <p:ph type="dgm" idx="1"/>
          </p:nvPr>
        </p:nvSpPr>
        <p:spPr>
          <a:xfrm>
            <a:off x="368300" y="1993900"/>
            <a:ext cx="6837363" cy="4510088"/>
          </a:xfrm>
        </p:spPr>
        <p:txBody>
          <a:bodyPr/>
          <a:lstStyle/>
          <a:p>
            <a:pPr lvl="0"/>
            <a:endParaRPr lang="de-DE" noProof="0"/>
          </a:p>
        </p:txBody>
      </p:sp>
      <p:pic>
        <p:nvPicPr>
          <p:cNvPr id="4" name="Grafi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9261" y="0"/>
            <a:ext cx="1191559" cy="1257300"/>
          </a:xfrm>
          <a:prstGeom prst="rect">
            <a:avLst/>
          </a:prstGeom>
        </p:spPr>
      </p:pic>
      <p:sp>
        <p:nvSpPr>
          <p:cNvPr id="5" name="Text Box 11"/>
          <p:cNvSpPr txBox="1">
            <a:spLocks noChangeArrowheads="1"/>
          </p:cNvSpPr>
          <p:nvPr userDrawn="1"/>
        </p:nvSpPr>
        <p:spPr bwMode="auto">
          <a:xfrm>
            <a:off x="8695209" y="6349205"/>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a:lstStyle>
            <a:defPPr>
              <a:defRPr lang="de-DE"/>
            </a:defPPr>
            <a:lvl1pPr algn="l" rtl="0" fontAlgn="base">
              <a:spcBef>
                <a:spcPct val="0"/>
              </a:spcBef>
              <a:spcAft>
                <a:spcPct val="0"/>
              </a:spcAft>
              <a:defRPr sz="12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a:lstStyle>
          <a:p>
            <a:pPr algn="ctr" eaLnBrk="0" hangingPunct="0">
              <a:spcBef>
                <a:spcPct val="50000"/>
              </a:spcBef>
              <a:defRPr/>
            </a:pPr>
            <a:fld id="{FCCE17A1-84E7-4884-AF57-63AAF7920995}" type="slidenum">
              <a:rPr lang="de-DE" sz="1300" smtClean="0">
                <a:solidFill>
                  <a:srgbClr val="000000"/>
                </a:solidFill>
                <a:latin typeface="Gill Sans MT Light"/>
              </a:rPr>
              <a:pPr algn="ctr" eaLnBrk="0" hangingPunct="0">
                <a:spcBef>
                  <a:spcPct val="50000"/>
                </a:spcBef>
                <a:defRPr/>
              </a:pPr>
              <a:t>‹Nr.›</a:t>
            </a:fld>
            <a:endParaRPr lang="de-DE" sz="1300" dirty="0">
              <a:solidFill>
                <a:srgbClr val="000000"/>
              </a:solidFill>
              <a:latin typeface="Gill Sans MT Light"/>
            </a:endParaRPr>
          </a:p>
        </p:txBody>
      </p:sp>
    </p:spTree>
    <p:extLst>
      <p:ext uri="{BB962C8B-B14F-4D97-AF65-F5344CB8AC3E}">
        <p14:creationId xmlns:p14="http://schemas.microsoft.com/office/powerpoint/2010/main" val="20075531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wmf"/><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theme" Target="../theme/theme10.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image" Target="../media/image1.w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3.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1.wmf"/></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1.wmf"/><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heme" Target="../theme/theme4.xml"/><Relationship Id="rId5" Type="http://schemas.openxmlformats.org/officeDocument/2006/relationships/slideLayout" Target="../slideLayouts/slideLayout30.xml"/><Relationship Id="rId4" Type="http://schemas.openxmlformats.org/officeDocument/2006/relationships/slideLayout" Target="../slideLayouts/slideLayout2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1.wmf"/><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theme" Target="../theme/theme5.xml"/><Relationship Id="rId5" Type="http://schemas.openxmlformats.org/officeDocument/2006/relationships/slideLayout" Target="../slideLayouts/slideLayout35.xml"/><Relationship Id="rId4" Type="http://schemas.openxmlformats.org/officeDocument/2006/relationships/slideLayout" Target="../slideLayouts/slideLayout3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1.w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7.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8.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image" Target="../media/image1.w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theme" Target="../theme/theme9.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image" Target="../media/image1.w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5604" y="654054"/>
            <a:ext cx="6837363" cy="1034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0" rIns="91424" bIns="0" numCol="1" anchor="t" anchorCtr="0" compatLnSpc="1">
            <a:prstTxWarp prst="textNoShape">
              <a:avLst/>
            </a:prstTxWarp>
            <a:spAutoFit/>
          </a:bodyPr>
          <a:lstStyle/>
          <a:p>
            <a:pPr lvl="0"/>
            <a:r>
              <a:rPr lang="de-DE"/>
              <a:t>Titelmasterformat durch Klicken bearbeiten</a:t>
            </a:r>
          </a:p>
        </p:txBody>
      </p:sp>
      <p:sp>
        <p:nvSpPr>
          <p:cNvPr id="1027" name="Rectangle 3"/>
          <p:cNvSpPr>
            <a:spLocks noGrp="1" noChangeArrowheads="1"/>
          </p:cNvSpPr>
          <p:nvPr>
            <p:ph type="body" idx="1"/>
          </p:nvPr>
        </p:nvSpPr>
        <p:spPr bwMode="auto">
          <a:xfrm>
            <a:off x="368303" y="1993899"/>
            <a:ext cx="6837363" cy="4510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1028" name="Text Box 11"/>
          <p:cNvSpPr txBox="1">
            <a:spLocks noChangeArrowheads="1"/>
          </p:cNvSpPr>
          <p:nvPr/>
        </p:nvSpPr>
        <p:spPr bwMode="auto">
          <a:xfrm>
            <a:off x="8459788" y="6165850"/>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FCCE17A1-84E7-4884-AF57-63AAF7920995}" type="slidenum">
              <a:rPr lang="de-DE" sz="1300" smtClean="0"/>
              <a:pPr algn="ctr">
                <a:spcBef>
                  <a:spcPct val="50000"/>
                </a:spcBef>
                <a:defRPr/>
              </a:pPr>
              <a:t>‹Nr.›</a:t>
            </a:fld>
            <a:endParaRPr lang="de-DE" sz="1300" dirty="0"/>
          </a:p>
        </p:txBody>
      </p:sp>
      <p:pic>
        <p:nvPicPr>
          <p:cNvPr id="1029" name="Picture 16" descr="versuch_4C_AI3"/>
          <p:cNvPicPr>
            <a:picLocks noChangeAspect="1" noChangeArrowheads="1"/>
          </p:cNvPicPr>
          <p:nvPr/>
        </p:nvPicPr>
        <p:blipFill>
          <a:blip r:embed="rId8" cstate="print">
            <a:extLst>
              <a:ext uri="{28A0092B-C50C-407E-A947-70E740481C1C}">
                <a14:useLocalDpi xmlns:a14="http://schemas.microsoft.com/office/drawing/2010/main" val="0"/>
              </a:ext>
            </a:extLst>
          </a:blip>
          <a:srcRect r="32396"/>
          <a:stretch>
            <a:fillRect/>
          </a:stretch>
        </p:blipFill>
        <p:spPr bwMode="auto">
          <a:xfrm>
            <a:off x="7902577" y="209553"/>
            <a:ext cx="1181100" cy="1147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790" r:id="rId6"/>
  </p:sldLayoutIdLst>
  <p:hf hdr="0" ftr="0" dt="0"/>
  <p:txStyles>
    <p:titleStyle>
      <a:lvl1pPr algn="l" rtl="0" eaLnBrk="1" fontAlgn="base" hangingPunct="1">
        <a:lnSpc>
          <a:spcPct val="105000"/>
        </a:lnSpc>
        <a:spcBef>
          <a:spcPct val="0"/>
        </a:spcBef>
        <a:spcAft>
          <a:spcPct val="0"/>
        </a:spcAft>
        <a:defRPr sz="3200">
          <a:solidFill>
            <a:srgbClr val="2A547E"/>
          </a:solidFill>
          <a:latin typeface="+mj-lt"/>
          <a:ea typeface="+mj-ea"/>
          <a:cs typeface="+mj-cs"/>
        </a:defRPr>
      </a:lvl1pPr>
      <a:lvl2pPr algn="l" rtl="0" eaLnBrk="1" fontAlgn="base" hangingPunct="1">
        <a:lnSpc>
          <a:spcPct val="105000"/>
        </a:lnSpc>
        <a:spcBef>
          <a:spcPct val="0"/>
        </a:spcBef>
        <a:spcAft>
          <a:spcPct val="0"/>
        </a:spcAft>
        <a:defRPr sz="3200">
          <a:solidFill>
            <a:srgbClr val="2A547E"/>
          </a:solidFill>
          <a:latin typeface="Gill Sans MT Light" pitchFamily="34" charset="0"/>
        </a:defRPr>
      </a:lvl2pPr>
      <a:lvl3pPr algn="l" rtl="0" eaLnBrk="1" fontAlgn="base" hangingPunct="1">
        <a:lnSpc>
          <a:spcPct val="105000"/>
        </a:lnSpc>
        <a:spcBef>
          <a:spcPct val="0"/>
        </a:spcBef>
        <a:spcAft>
          <a:spcPct val="0"/>
        </a:spcAft>
        <a:defRPr sz="3200">
          <a:solidFill>
            <a:srgbClr val="2A547E"/>
          </a:solidFill>
          <a:latin typeface="Gill Sans MT Light" pitchFamily="34" charset="0"/>
        </a:defRPr>
      </a:lvl3pPr>
      <a:lvl4pPr algn="l" rtl="0" eaLnBrk="1" fontAlgn="base" hangingPunct="1">
        <a:lnSpc>
          <a:spcPct val="105000"/>
        </a:lnSpc>
        <a:spcBef>
          <a:spcPct val="0"/>
        </a:spcBef>
        <a:spcAft>
          <a:spcPct val="0"/>
        </a:spcAft>
        <a:defRPr sz="3200">
          <a:solidFill>
            <a:srgbClr val="2A547E"/>
          </a:solidFill>
          <a:latin typeface="Gill Sans MT Light" pitchFamily="34" charset="0"/>
        </a:defRPr>
      </a:lvl4pPr>
      <a:lvl5pPr algn="l" rtl="0" eaLnBrk="1" fontAlgn="base" hangingPunct="1">
        <a:lnSpc>
          <a:spcPct val="105000"/>
        </a:lnSpc>
        <a:spcBef>
          <a:spcPct val="0"/>
        </a:spcBef>
        <a:spcAft>
          <a:spcPct val="0"/>
        </a:spcAft>
        <a:defRPr sz="3200">
          <a:solidFill>
            <a:srgbClr val="2A547E"/>
          </a:solidFill>
          <a:latin typeface="Gill Sans MT Light" pitchFamily="34" charset="0"/>
        </a:defRPr>
      </a:lvl5pPr>
      <a:lvl6pPr marL="457115" algn="l" rtl="0" eaLnBrk="1" fontAlgn="base" hangingPunct="1">
        <a:lnSpc>
          <a:spcPct val="105000"/>
        </a:lnSpc>
        <a:spcBef>
          <a:spcPct val="0"/>
        </a:spcBef>
        <a:spcAft>
          <a:spcPct val="0"/>
        </a:spcAft>
        <a:defRPr sz="3200">
          <a:solidFill>
            <a:srgbClr val="2A547E"/>
          </a:solidFill>
          <a:latin typeface="Gill Sans MT Light" pitchFamily="34" charset="0"/>
        </a:defRPr>
      </a:lvl6pPr>
      <a:lvl7pPr marL="914226" algn="l" rtl="0" eaLnBrk="1" fontAlgn="base" hangingPunct="1">
        <a:lnSpc>
          <a:spcPct val="105000"/>
        </a:lnSpc>
        <a:spcBef>
          <a:spcPct val="0"/>
        </a:spcBef>
        <a:spcAft>
          <a:spcPct val="0"/>
        </a:spcAft>
        <a:defRPr sz="3200">
          <a:solidFill>
            <a:srgbClr val="2A547E"/>
          </a:solidFill>
          <a:latin typeface="Gill Sans MT Light" pitchFamily="34" charset="0"/>
        </a:defRPr>
      </a:lvl7pPr>
      <a:lvl8pPr marL="1371341" algn="l" rtl="0" eaLnBrk="1" fontAlgn="base" hangingPunct="1">
        <a:lnSpc>
          <a:spcPct val="105000"/>
        </a:lnSpc>
        <a:spcBef>
          <a:spcPct val="0"/>
        </a:spcBef>
        <a:spcAft>
          <a:spcPct val="0"/>
        </a:spcAft>
        <a:defRPr sz="3200">
          <a:solidFill>
            <a:srgbClr val="2A547E"/>
          </a:solidFill>
          <a:latin typeface="Gill Sans MT Light" pitchFamily="34" charset="0"/>
        </a:defRPr>
      </a:lvl8pPr>
      <a:lvl9pPr marL="1828454" algn="l" rtl="0" eaLnBrk="1" fontAlgn="base" hangingPunct="1">
        <a:lnSpc>
          <a:spcPct val="105000"/>
        </a:lnSpc>
        <a:spcBef>
          <a:spcPct val="0"/>
        </a:spcBef>
        <a:spcAft>
          <a:spcPct val="0"/>
        </a:spcAft>
        <a:defRPr sz="3200">
          <a:solidFill>
            <a:srgbClr val="2A547E"/>
          </a:solidFill>
          <a:latin typeface="Gill Sans MT Light" pitchFamily="34" charset="0"/>
        </a:defRPr>
      </a:lvl9pPr>
    </p:titleStyle>
    <p:bodyStyle>
      <a:lvl1pPr marL="261889" indent="-261889" algn="l" rtl="0" eaLnBrk="1" fontAlgn="base" hangingPunct="1">
        <a:lnSpc>
          <a:spcPct val="140000"/>
        </a:lnSpc>
        <a:spcBef>
          <a:spcPct val="0"/>
        </a:spcBef>
        <a:spcAft>
          <a:spcPct val="0"/>
        </a:spcAft>
        <a:buClr>
          <a:srgbClr val="7A929D"/>
        </a:buClr>
        <a:buFont typeface="Gill Sans MT Light" pitchFamily="34" charset="0"/>
        <a:buChar char="■"/>
        <a:defRPr sz="2100">
          <a:solidFill>
            <a:schemeClr val="tx1"/>
          </a:solidFill>
          <a:latin typeface="+mn-lt"/>
          <a:ea typeface="+mn-ea"/>
          <a:cs typeface="+mn-cs"/>
        </a:defRPr>
      </a:lvl1pPr>
      <a:lvl2pPr marL="623769" indent="-182528" algn="l" rtl="0" eaLnBrk="1" fontAlgn="base" hangingPunct="1">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2pPr>
      <a:lvl3pPr marL="1074534" indent="-160308" algn="l" rtl="0" eaLnBrk="1" fontAlgn="base" hangingPunct="1">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3pPr>
      <a:lvl4pPr marL="1599898" indent="-228556" algn="l" rtl="0" eaLnBrk="1" fontAlgn="base" hangingPunct="1">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4pPr>
      <a:lvl5pPr marL="2057010" indent="-228556" algn="l" rtl="0" eaLnBrk="1" fontAlgn="base" hangingPunct="1">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5pPr>
      <a:lvl6pPr marL="2514125" indent="-228556" algn="l" rtl="0" eaLnBrk="1" fontAlgn="base" hangingPunct="1">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6pPr>
      <a:lvl7pPr marL="2971237" indent="-228556" algn="l" rtl="0" eaLnBrk="1" fontAlgn="base" hangingPunct="1">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7pPr>
      <a:lvl8pPr marL="3428352" indent="-228556" algn="l" rtl="0" eaLnBrk="1" fontAlgn="base" hangingPunct="1">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8pPr>
      <a:lvl9pPr marL="3885466" indent="-228556" algn="l" rtl="0" eaLnBrk="1" fontAlgn="base" hangingPunct="1">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9pPr>
    </p:bodyStyle>
    <p:otherStyle>
      <a:defPPr>
        <a:defRPr lang="de-DE"/>
      </a:defPPr>
      <a:lvl1pPr marL="0" algn="l" defTabSz="914226" rtl="0" eaLnBrk="1" latinLnBrk="0" hangingPunct="1">
        <a:defRPr sz="1800" kern="1200">
          <a:solidFill>
            <a:schemeClr val="tx1"/>
          </a:solidFill>
          <a:latin typeface="+mn-lt"/>
          <a:ea typeface="+mn-ea"/>
          <a:cs typeface="+mn-cs"/>
        </a:defRPr>
      </a:lvl1pPr>
      <a:lvl2pPr marL="457115" algn="l" defTabSz="914226" rtl="0" eaLnBrk="1" latinLnBrk="0" hangingPunct="1">
        <a:defRPr sz="1800" kern="1200">
          <a:solidFill>
            <a:schemeClr val="tx1"/>
          </a:solidFill>
          <a:latin typeface="+mn-lt"/>
          <a:ea typeface="+mn-ea"/>
          <a:cs typeface="+mn-cs"/>
        </a:defRPr>
      </a:lvl2pPr>
      <a:lvl3pPr marL="914226" algn="l" defTabSz="914226" rtl="0" eaLnBrk="1" latinLnBrk="0" hangingPunct="1">
        <a:defRPr sz="1800" kern="1200">
          <a:solidFill>
            <a:schemeClr val="tx1"/>
          </a:solidFill>
          <a:latin typeface="+mn-lt"/>
          <a:ea typeface="+mn-ea"/>
          <a:cs typeface="+mn-cs"/>
        </a:defRPr>
      </a:lvl3pPr>
      <a:lvl4pPr marL="1371341" algn="l" defTabSz="914226" rtl="0" eaLnBrk="1" latinLnBrk="0" hangingPunct="1">
        <a:defRPr sz="1800" kern="1200">
          <a:solidFill>
            <a:schemeClr val="tx1"/>
          </a:solidFill>
          <a:latin typeface="+mn-lt"/>
          <a:ea typeface="+mn-ea"/>
          <a:cs typeface="+mn-cs"/>
        </a:defRPr>
      </a:lvl4pPr>
      <a:lvl5pPr marL="1828454" algn="l" defTabSz="914226" rtl="0" eaLnBrk="1" latinLnBrk="0" hangingPunct="1">
        <a:defRPr sz="1800" kern="1200">
          <a:solidFill>
            <a:schemeClr val="tx1"/>
          </a:solidFill>
          <a:latin typeface="+mn-lt"/>
          <a:ea typeface="+mn-ea"/>
          <a:cs typeface="+mn-cs"/>
        </a:defRPr>
      </a:lvl5pPr>
      <a:lvl6pPr marL="2285566" algn="l" defTabSz="914226" rtl="0" eaLnBrk="1" latinLnBrk="0" hangingPunct="1">
        <a:defRPr sz="1800" kern="1200">
          <a:solidFill>
            <a:schemeClr val="tx1"/>
          </a:solidFill>
          <a:latin typeface="+mn-lt"/>
          <a:ea typeface="+mn-ea"/>
          <a:cs typeface="+mn-cs"/>
        </a:defRPr>
      </a:lvl6pPr>
      <a:lvl7pPr marL="2742681" algn="l" defTabSz="914226" rtl="0" eaLnBrk="1" latinLnBrk="0" hangingPunct="1">
        <a:defRPr sz="1800" kern="1200">
          <a:solidFill>
            <a:schemeClr val="tx1"/>
          </a:solidFill>
          <a:latin typeface="+mn-lt"/>
          <a:ea typeface="+mn-ea"/>
          <a:cs typeface="+mn-cs"/>
        </a:defRPr>
      </a:lvl7pPr>
      <a:lvl8pPr marL="3199795" algn="l" defTabSz="914226" rtl="0" eaLnBrk="1" latinLnBrk="0" hangingPunct="1">
        <a:defRPr sz="1800" kern="1200">
          <a:solidFill>
            <a:schemeClr val="tx1"/>
          </a:solidFill>
          <a:latin typeface="+mn-lt"/>
          <a:ea typeface="+mn-ea"/>
          <a:cs typeface="+mn-cs"/>
        </a:defRPr>
      </a:lvl8pPr>
      <a:lvl9pPr marL="3656908" algn="l" defTabSz="914226"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5600" y="654050"/>
            <a:ext cx="6837363" cy="993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t" anchorCtr="0" compatLnSpc="1">
            <a:prstTxWarp prst="textNoShape">
              <a:avLst/>
            </a:prstTxWarp>
            <a:spAutoFit/>
          </a:bodyPr>
          <a:lstStyle/>
          <a:p>
            <a:pPr lvl="0"/>
            <a:r>
              <a:rPr lang="de-DE"/>
              <a:t>Titelmasterformat durch Klicken bearbeiten</a:t>
            </a:r>
          </a:p>
        </p:txBody>
      </p:sp>
      <p:sp>
        <p:nvSpPr>
          <p:cNvPr id="1027" name="Rectangle 3"/>
          <p:cNvSpPr>
            <a:spLocks noGrp="1" noChangeArrowheads="1"/>
          </p:cNvSpPr>
          <p:nvPr>
            <p:ph type="body" idx="1"/>
          </p:nvPr>
        </p:nvSpPr>
        <p:spPr bwMode="auto">
          <a:xfrm>
            <a:off x="368300" y="1993900"/>
            <a:ext cx="6837363" cy="4510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1028" name="Text Box 11"/>
          <p:cNvSpPr txBox="1">
            <a:spLocks noChangeArrowheads="1"/>
          </p:cNvSpPr>
          <p:nvPr/>
        </p:nvSpPr>
        <p:spPr bwMode="auto">
          <a:xfrm>
            <a:off x="8459788" y="6165850"/>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eaLnBrk="0" fontAlgn="base" hangingPunct="0">
              <a:spcBef>
                <a:spcPct val="50000"/>
              </a:spcBef>
              <a:spcAft>
                <a:spcPct val="0"/>
              </a:spcAft>
              <a:defRPr/>
            </a:pPr>
            <a:fld id="{531D17FD-01BB-4DB3-B3D1-3D964115E755}" type="slidenum">
              <a:rPr lang="de-DE" sz="1300" smtClean="0">
                <a:solidFill>
                  <a:srgbClr val="000000"/>
                </a:solidFill>
              </a:rPr>
              <a:pPr algn="ctr" eaLnBrk="0" fontAlgn="base" hangingPunct="0">
                <a:spcBef>
                  <a:spcPct val="50000"/>
                </a:spcBef>
                <a:spcAft>
                  <a:spcPct val="0"/>
                </a:spcAft>
                <a:defRPr/>
              </a:pPr>
              <a:t>‹Nr.›</a:t>
            </a:fld>
            <a:endParaRPr lang="de-DE" sz="1300">
              <a:solidFill>
                <a:srgbClr val="000000"/>
              </a:solidFill>
            </a:endParaRPr>
          </a:p>
        </p:txBody>
      </p:sp>
      <p:pic>
        <p:nvPicPr>
          <p:cNvPr id="1029" name="Picture 16" descr="versuch_4C_AI3"/>
          <p:cNvPicPr>
            <a:picLocks noChangeAspect="1" noChangeArrowheads="1"/>
          </p:cNvPicPr>
          <p:nvPr/>
        </p:nvPicPr>
        <p:blipFill>
          <a:blip r:embed="rId14">
            <a:extLst>
              <a:ext uri="{28A0092B-C50C-407E-A947-70E740481C1C}">
                <a14:useLocalDpi xmlns:a14="http://schemas.microsoft.com/office/drawing/2010/main" val="0"/>
              </a:ext>
            </a:extLst>
          </a:blip>
          <a:srcRect r="32396"/>
          <a:stretch>
            <a:fillRect/>
          </a:stretch>
        </p:blipFill>
        <p:spPr bwMode="auto">
          <a:xfrm>
            <a:off x="7902575" y="209550"/>
            <a:ext cx="1181100" cy="1147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13497370"/>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Lst>
  <p:txStyles>
    <p:titleStyle>
      <a:lvl1pPr algn="l" rtl="0" eaLnBrk="0" fontAlgn="base" hangingPunct="0">
        <a:lnSpc>
          <a:spcPct val="105000"/>
        </a:lnSpc>
        <a:spcBef>
          <a:spcPct val="0"/>
        </a:spcBef>
        <a:spcAft>
          <a:spcPct val="0"/>
        </a:spcAft>
        <a:defRPr sz="3100">
          <a:solidFill>
            <a:srgbClr val="2A547E"/>
          </a:solidFill>
          <a:latin typeface="+mj-lt"/>
          <a:ea typeface="+mj-ea"/>
          <a:cs typeface="+mj-cs"/>
        </a:defRPr>
      </a:lvl1pPr>
      <a:lvl2pPr algn="l" rtl="0" eaLnBrk="0" fontAlgn="base" hangingPunct="0">
        <a:lnSpc>
          <a:spcPct val="105000"/>
        </a:lnSpc>
        <a:spcBef>
          <a:spcPct val="0"/>
        </a:spcBef>
        <a:spcAft>
          <a:spcPct val="0"/>
        </a:spcAft>
        <a:defRPr sz="3100">
          <a:solidFill>
            <a:srgbClr val="2A547E"/>
          </a:solidFill>
          <a:latin typeface="Gill Sans MT Light" pitchFamily="34" charset="0"/>
        </a:defRPr>
      </a:lvl2pPr>
      <a:lvl3pPr algn="l" rtl="0" eaLnBrk="0" fontAlgn="base" hangingPunct="0">
        <a:lnSpc>
          <a:spcPct val="105000"/>
        </a:lnSpc>
        <a:spcBef>
          <a:spcPct val="0"/>
        </a:spcBef>
        <a:spcAft>
          <a:spcPct val="0"/>
        </a:spcAft>
        <a:defRPr sz="3100">
          <a:solidFill>
            <a:srgbClr val="2A547E"/>
          </a:solidFill>
          <a:latin typeface="Gill Sans MT Light" pitchFamily="34" charset="0"/>
        </a:defRPr>
      </a:lvl3pPr>
      <a:lvl4pPr algn="l" rtl="0" eaLnBrk="0" fontAlgn="base" hangingPunct="0">
        <a:lnSpc>
          <a:spcPct val="105000"/>
        </a:lnSpc>
        <a:spcBef>
          <a:spcPct val="0"/>
        </a:spcBef>
        <a:spcAft>
          <a:spcPct val="0"/>
        </a:spcAft>
        <a:defRPr sz="3100">
          <a:solidFill>
            <a:srgbClr val="2A547E"/>
          </a:solidFill>
          <a:latin typeface="Gill Sans MT Light" pitchFamily="34" charset="0"/>
        </a:defRPr>
      </a:lvl4pPr>
      <a:lvl5pPr algn="l" rtl="0" eaLnBrk="0" fontAlgn="base" hangingPunct="0">
        <a:lnSpc>
          <a:spcPct val="105000"/>
        </a:lnSpc>
        <a:spcBef>
          <a:spcPct val="0"/>
        </a:spcBef>
        <a:spcAft>
          <a:spcPct val="0"/>
        </a:spcAft>
        <a:defRPr sz="3100">
          <a:solidFill>
            <a:srgbClr val="2A547E"/>
          </a:solidFill>
          <a:latin typeface="Gill Sans MT Light" pitchFamily="34" charset="0"/>
        </a:defRPr>
      </a:lvl5pPr>
      <a:lvl6pPr marL="457200" algn="l" rtl="0" fontAlgn="base">
        <a:lnSpc>
          <a:spcPct val="105000"/>
        </a:lnSpc>
        <a:spcBef>
          <a:spcPct val="0"/>
        </a:spcBef>
        <a:spcAft>
          <a:spcPct val="0"/>
        </a:spcAft>
        <a:defRPr sz="3100">
          <a:solidFill>
            <a:srgbClr val="2A547E"/>
          </a:solidFill>
          <a:latin typeface="Gill Sans MT Light" pitchFamily="34" charset="0"/>
        </a:defRPr>
      </a:lvl6pPr>
      <a:lvl7pPr marL="914400" algn="l" rtl="0" fontAlgn="base">
        <a:lnSpc>
          <a:spcPct val="105000"/>
        </a:lnSpc>
        <a:spcBef>
          <a:spcPct val="0"/>
        </a:spcBef>
        <a:spcAft>
          <a:spcPct val="0"/>
        </a:spcAft>
        <a:defRPr sz="3100">
          <a:solidFill>
            <a:srgbClr val="2A547E"/>
          </a:solidFill>
          <a:latin typeface="Gill Sans MT Light" pitchFamily="34" charset="0"/>
        </a:defRPr>
      </a:lvl7pPr>
      <a:lvl8pPr marL="1371600" algn="l" rtl="0" fontAlgn="base">
        <a:lnSpc>
          <a:spcPct val="105000"/>
        </a:lnSpc>
        <a:spcBef>
          <a:spcPct val="0"/>
        </a:spcBef>
        <a:spcAft>
          <a:spcPct val="0"/>
        </a:spcAft>
        <a:defRPr sz="3100">
          <a:solidFill>
            <a:srgbClr val="2A547E"/>
          </a:solidFill>
          <a:latin typeface="Gill Sans MT Light" pitchFamily="34" charset="0"/>
        </a:defRPr>
      </a:lvl8pPr>
      <a:lvl9pPr marL="1828800" algn="l" rtl="0" fontAlgn="base">
        <a:lnSpc>
          <a:spcPct val="105000"/>
        </a:lnSpc>
        <a:spcBef>
          <a:spcPct val="0"/>
        </a:spcBef>
        <a:spcAft>
          <a:spcPct val="0"/>
        </a:spcAft>
        <a:defRPr sz="3100">
          <a:solidFill>
            <a:srgbClr val="2A547E"/>
          </a:solidFill>
          <a:latin typeface="Gill Sans MT Light" pitchFamily="34" charset="0"/>
        </a:defRPr>
      </a:lvl9pPr>
    </p:titleStyle>
    <p:bodyStyle>
      <a:lvl1pPr marL="261938" indent="-261938" algn="l" rtl="0" eaLnBrk="0" fontAlgn="base" hangingPunct="0">
        <a:lnSpc>
          <a:spcPct val="140000"/>
        </a:lnSpc>
        <a:spcBef>
          <a:spcPct val="0"/>
        </a:spcBef>
        <a:spcAft>
          <a:spcPct val="0"/>
        </a:spcAft>
        <a:buClr>
          <a:srgbClr val="7A929D"/>
        </a:buClr>
        <a:buFont typeface="Arial" charset="0"/>
        <a:buChar char="■"/>
        <a:defRPr sz="2100">
          <a:solidFill>
            <a:schemeClr val="tx1"/>
          </a:solidFill>
          <a:latin typeface="+mn-lt"/>
          <a:ea typeface="+mn-ea"/>
          <a:cs typeface="+mn-cs"/>
        </a:defRPr>
      </a:lvl1pPr>
      <a:lvl2pPr marL="623888" indent="-182563" algn="l" rtl="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mn-lt"/>
        </a:defRPr>
      </a:lvl2pPr>
      <a:lvl3pPr marL="1074738" indent="-160338" algn="l" rtl="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mn-lt"/>
        </a:defRPr>
      </a:lvl3pPr>
      <a:lvl4pPr marL="1600200" indent="-228600" algn="l" rtl="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mn-lt"/>
        </a:defRPr>
      </a:lvl4pPr>
      <a:lvl5pPr marL="2057400" indent="-228600" algn="l" rtl="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mn-lt"/>
        </a:defRPr>
      </a:lvl5pPr>
      <a:lvl6pPr marL="2514600" indent="-228600" algn="l" rtl="0" fontAlgn="base">
        <a:lnSpc>
          <a:spcPct val="140000"/>
        </a:lnSpc>
        <a:spcBef>
          <a:spcPct val="0"/>
        </a:spcBef>
        <a:spcAft>
          <a:spcPct val="0"/>
        </a:spcAft>
        <a:buClr>
          <a:srgbClr val="7A929D"/>
        </a:buClr>
        <a:buSzPct val="70000"/>
        <a:buFont typeface="Arial" charset="0"/>
        <a:buChar char="■"/>
        <a:defRPr sz="2100">
          <a:solidFill>
            <a:schemeClr val="tx1"/>
          </a:solidFill>
          <a:latin typeface="+mn-lt"/>
        </a:defRPr>
      </a:lvl6pPr>
      <a:lvl7pPr marL="2971800" indent="-228600" algn="l" rtl="0" fontAlgn="base">
        <a:lnSpc>
          <a:spcPct val="140000"/>
        </a:lnSpc>
        <a:spcBef>
          <a:spcPct val="0"/>
        </a:spcBef>
        <a:spcAft>
          <a:spcPct val="0"/>
        </a:spcAft>
        <a:buClr>
          <a:srgbClr val="7A929D"/>
        </a:buClr>
        <a:buSzPct val="70000"/>
        <a:buFont typeface="Arial" charset="0"/>
        <a:buChar char="■"/>
        <a:defRPr sz="2100">
          <a:solidFill>
            <a:schemeClr val="tx1"/>
          </a:solidFill>
          <a:latin typeface="+mn-lt"/>
        </a:defRPr>
      </a:lvl7pPr>
      <a:lvl8pPr marL="3429000" indent="-228600" algn="l" rtl="0" fontAlgn="base">
        <a:lnSpc>
          <a:spcPct val="140000"/>
        </a:lnSpc>
        <a:spcBef>
          <a:spcPct val="0"/>
        </a:spcBef>
        <a:spcAft>
          <a:spcPct val="0"/>
        </a:spcAft>
        <a:buClr>
          <a:srgbClr val="7A929D"/>
        </a:buClr>
        <a:buSzPct val="70000"/>
        <a:buFont typeface="Arial" charset="0"/>
        <a:buChar char="■"/>
        <a:defRPr sz="2100">
          <a:solidFill>
            <a:schemeClr val="tx1"/>
          </a:solidFill>
          <a:latin typeface="+mn-lt"/>
        </a:defRPr>
      </a:lvl8pPr>
      <a:lvl9pPr marL="3886200" indent="-228600" algn="l" rtl="0" fontAlgn="base">
        <a:lnSpc>
          <a:spcPct val="140000"/>
        </a:lnSpc>
        <a:spcBef>
          <a:spcPct val="0"/>
        </a:spcBef>
        <a:spcAft>
          <a:spcPct val="0"/>
        </a:spcAft>
        <a:buClr>
          <a:srgbClr val="7A929D"/>
        </a:buClr>
        <a:buSzPct val="70000"/>
        <a:buFont typeface="Arial" charset="0"/>
        <a:buChar char="■"/>
        <a:defRPr sz="21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16"/>
          <p:cNvSpPr>
            <a:spLocks noGrp="1" noChangeArrowheads="1"/>
          </p:cNvSpPr>
          <p:nvPr>
            <p:ph type="title"/>
          </p:nvPr>
        </p:nvSpPr>
        <p:spPr bwMode="auto">
          <a:xfrm>
            <a:off x="457200" y="274640"/>
            <a:ext cx="8229601" cy="1143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ctr" anchorCtr="0" compatLnSpc="1">
            <a:prstTxWarp prst="textNoShape">
              <a:avLst/>
            </a:prstTxWarp>
          </a:bodyPr>
          <a:lstStyle/>
          <a:p>
            <a:pPr lvl="0"/>
            <a:r>
              <a:rPr lang="de-DE"/>
              <a:t>Titelmasterformat durch Klicken bearbeiten</a:t>
            </a:r>
          </a:p>
        </p:txBody>
      </p:sp>
      <p:sp>
        <p:nvSpPr>
          <p:cNvPr id="2051" name="Rectangle 18"/>
          <p:cNvSpPr>
            <a:spLocks noGrp="1" noChangeArrowheads="1"/>
          </p:cNvSpPr>
          <p:nvPr>
            <p:ph type="body" idx="1"/>
          </p:nvPr>
        </p:nvSpPr>
        <p:spPr bwMode="auto">
          <a:xfrm>
            <a:off x="457200" y="1600202"/>
            <a:ext cx="8229601"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Tree>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 id="2147483660" r:id="rId6"/>
    <p:sldLayoutId id="2147483789" r:id="rId7"/>
  </p:sldLayoutIdLst>
  <p:hf hdr="0" ftr="0" dt="0"/>
  <p:txStyles>
    <p:titleStyle>
      <a:lvl1pPr algn="l" rtl="0" eaLnBrk="0" fontAlgn="base" hangingPunct="0">
        <a:spcBef>
          <a:spcPct val="0"/>
        </a:spcBef>
        <a:spcAft>
          <a:spcPct val="0"/>
        </a:spcAft>
        <a:defRPr sz="3200">
          <a:solidFill>
            <a:srgbClr val="005B99"/>
          </a:solidFill>
          <a:latin typeface="+mj-lt"/>
          <a:ea typeface="+mj-ea"/>
          <a:cs typeface="+mj-cs"/>
        </a:defRPr>
      </a:lvl1pPr>
      <a:lvl2pPr algn="l" rtl="0" eaLnBrk="0" fontAlgn="base" hangingPunct="0">
        <a:spcBef>
          <a:spcPct val="0"/>
        </a:spcBef>
        <a:spcAft>
          <a:spcPct val="0"/>
        </a:spcAft>
        <a:defRPr sz="3200">
          <a:solidFill>
            <a:srgbClr val="005B99"/>
          </a:solidFill>
          <a:latin typeface="Gill Sans MT Light" pitchFamily="34" charset="0"/>
        </a:defRPr>
      </a:lvl2pPr>
      <a:lvl3pPr algn="l" rtl="0" eaLnBrk="0" fontAlgn="base" hangingPunct="0">
        <a:spcBef>
          <a:spcPct val="0"/>
        </a:spcBef>
        <a:spcAft>
          <a:spcPct val="0"/>
        </a:spcAft>
        <a:defRPr sz="3200">
          <a:solidFill>
            <a:srgbClr val="005B99"/>
          </a:solidFill>
          <a:latin typeface="Gill Sans MT Light" pitchFamily="34" charset="0"/>
        </a:defRPr>
      </a:lvl3pPr>
      <a:lvl4pPr algn="l" rtl="0" eaLnBrk="0" fontAlgn="base" hangingPunct="0">
        <a:spcBef>
          <a:spcPct val="0"/>
        </a:spcBef>
        <a:spcAft>
          <a:spcPct val="0"/>
        </a:spcAft>
        <a:defRPr sz="3200">
          <a:solidFill>
            <a:srgbClr val="005B99"/>
          </a:solidFill>
          <a:latin typeface="Gill Sans MT Light" pitchFamily="34" charset="0"/>
        </a:defRPr>
      </a:lvl4pPr>
      <a:lvl5pPr algn="l" rtl="0" eaLnBrk="0" fontAlgn="base" hangingPunct="0">
        <a:spcBef>
          <a:spcPct val="0"/>
        </a:spcBef>
        <a:spcAft>
          <a:spcPct val="0"/>
        </a:spcAft>
        <a:defRPr sz="3200">
          <a:solidFill>
            <a:srgbClr val="005B99"/>
          </a:solidFill>
          <a:latin typeface="Gill Sans MT Light" pitchFamily="34" charset="0"/>
        </a:defRPr>
      </a:lvl5pPr>
      <a:lvl6pPr marL="457115" algn="l" rtl="0" eaLnBrk="0" fontAlgn="base" hangingPunct="0">
        <a:spcBef>
          <a:spcPct val="0"/>
        </a:spcBef>
        <a:spcAft>
          <a:spcPct val="0"/>
        </a:spcAft>
        <a:defRPr sz="3200">
          <a:solidFill>
            <a:srgbClr val="005B99"/>
          </a:solidFill>
          <a:latin typeface="Gill Sans MT Light" pitchFamily="34" charset="0"/>
        </a:defRPr>
      </a:lvl6pPr>
      <a:lvl7pPr marL="914226" algn="l" rtl="0" eaLnBrk="0" fontAlgn="base" hangingPunct="0">
        <a:spcBef>
          <a:spcPct val="0"/>
        </a:spcBef>
        <a:spcAft>
          <a:spcPct val="0"/>
        </a:spcAft>
        <a:defRPr sz="3200">
          <a:solidFill>
            <a:srgbClr val="005B99"/>
          </a:solidFill>
          <a:latin typeface="Gill Sans MT Light" pitchFamily="34" charset="0"/>
        </a:defRPr>
      </a:lvl7pPr>
      <a:lvl8pPr marL="1371341" algn="l" rtl="0" eaLnBrk="0" fontAlgn="base" hangingPunct="0">
        <a:spcBef>
          <a:spcPct val="0"/>
        </a:spcBef>
        <a:spcAft>
          <a:spcPct val="0"/>
        </a:spcAft>
        <a:defRPr sz="3200">
          <a:solidFill>
            <a:srgbClr val="005B99"/>
          </a:solidFill>
          <a:latin typeface="Gill Sans MT Light" pitchFamily="34" charset="0"/>
        </a:defRPr>
      </a:lvl8pPr>
      <a:lvl9pPr marL="1828454" algn="l" rtl="0" eaLnBrk="0" fontAlgn="base" hangingPunct="0">
        <a:spcBef>
          <a:spcPct val="0"/>
        </a:spcBef>
        <a:spcAft>
          <a:spcPct val="0"/>
        </a:spcAft>
        <a:defRPr sz="3200">
          <a:solidFill>
            <a:srgbClr val="005B99"/>
          </a:solidFill>
          <a:latin typeface="Gill Sans MT Light" pitchFamily="34" charset="0"/>
        </a:defRPr>
      </a:lvl9pPr>
    </p:titleStyle>
    <p:bodyStyle>
      <a:lvl1pPr marL="342836" indent="-342836" algn="l" rtl="0" eaLnBrk="0" fontAlgn="base" hangingPunct="0">
        <a:lnSpc>
          <a:spcPct val="140000"/>
        </a:lnSpc>
        <a:spcBef>
          <a:spcPct val="0"/>
        </a:spcBef>
        <a:spcAft>
          <a:spcPct val="0"/>
        </a:spcAft>
        <a:buClr>
          <a:srgbClr val="7A929D"/>
        </a:buClr>
        <a:buFont typeface="Gill Sans MT Light" pitchFamily="34" charset="0"/>
        <a:buChar char="■"/>
        <a:defRPr sz="2100">
          <a:solidFill>
            <a:schemeClr val="tx1"/>
          </a:solidFill>
          <a:latin typeface="+mn-lt"/>
          <a:ea typeface="+mn-ea"/>
          <a:cs typeface="+mn-cs"/>
        </a:defRPr>
      </a:lvl1pPr>
      <a:lvl2pPr marL="742810" indent="-285699"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2pPr>
      <a:lvl3pPr marL="1142784"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3pPr>
      <a:lvl4pPr marL="1599898"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4pPr>
      <a:lvl5pPr marL="2057010"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5pPr>
      <a:lvl6pPr marL="2514125"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6pPr>
      <a:lvl7pPr marL="2971237"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7pPr>
      <a:lvl8pPr marL="3428352"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8pPr>
      <a:lvl9pPr marL="3885466"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9pPr>
    </p:bodyStyle>
    <p:otherStyle>
      <a:defPPr>
        <a:defRPr lang="de-DE"/>
      </a:defPPr>
      <a:lvl1pPr marL="0" algn="l" defTabSz="914226" rtl="0" eaLnBrk="1" latinLnBrk="0" hangingPunct="1">
        <a:defRPr sz="1800" kern="1200">
          <a:solidFill>
            <a:schemeClr val="tx1"/>
          </a:solidFill>
          <a:latin typeface="+mn-lt"/>
          <a:ea typeface="+mn-ea"/>
          <a:cs typeface="+mn-cs"/>
        </a:defRPr>
      </a:lvl1pPr>
      <a:lvl2pPr marL="457115" algn="l" defTabSz="914226" rtl="0" eaLnBrk="1" latinLnBrk="0" hangingPunct="1">
        <a:defRPr sz="1800" kern="1200">
          <a:solidFill>
            <a:schemeClr val="tx1"/>
          </a:solidFill>
          <a:latin typeface="+mn-lt"/>
          <a:ea typeface="+mn-ea"/>
          <a:cs typeface="+mn-cs"/>
        </a:defRPr>
      </a:lvl2pPr>
      <a:lvl3pPr marL="914226" algn="l" defTabSz="914226" rtl="0" eaLnBrk="1" latinLnBrk="0" hangingPunct="1">
        <a:defRPr sz="1800" kern="1200">
          <a:solidFill>
            <a:schemeClr val="tx1"/>
          </a:solidFill>
          <a:latin typeface="+mn-lt"/>
          <a:ea typeface="+mn-ea"/>
          <a:cs typeface="+mn-cs"/>
        </a:defRPr>
      </a:lvl3pPr>
      <a:lvl4pPr marL="1371341" algn="l" defTabSz="914226" rtl="0" eaLnBrk="1" latinLnBrk="0" hangingPunct="1">
        <a:defRPr sz="1800" kern="1200">
          <a:solidFill>
            <a:schemeClr val="tx1"/>
          </a:solidFill>
          <a:latin typeface="+mn-lt"/>
          <a:ea typeface="+mn-ea"/>
          <a:cs typeface="+mn-cs"/>
        </a:defRPr>
      </a:lvl4pPr>
      <a:lvl5pPr marL="1828454" algn="l" defTabSz="914226" rtl="0" eaLnBrk="1" latinLnBrk="0" hangingPunct="1">
        <a:defRPr sz="1800" kern="1200">
          <a:solidFill>
            <a:schemeClr val="tx1"/>
          </a:solidFill>
          <a:latin typeface="+mn-lt"/>
          <a:ea typeface="+mn-ea"/>
          <a:cs typeface="+mn-cs"/>
        </a:defRPr>
      </a:lvl5pPr>
      <a:lvl6pPr marL="2285566" algn="l" defTabSz="914226" rtl="0" eaLnBrk="1" latinLnBrk="0" hangingPunct="1">
        <a:defRPr sz="1800" kern="1200">
          <a:solidFill>
            <a:schemeClr val="tx1"/>
          </a:solidFill>
          <a:latin typeface="+mn-lt"/>
          <a:ea typeface="+mn-ea"/>
          <a:cs typeface="+mn-cs"/>
        </a:defRPr>
      </a:lvl6pPr>
      <a:lvl7pPr marL="2742681" algn="l" defTabSz="914226" rtl="0" eaLnBrk="1" latinLnBrk="0" hangingPunct="1">
        <a:defRPr sz="1800" kern="1200">
          <a:solidFill>
            <a:schemeClr val="tx1"/>
          </a:solidFill>
          <a:latin typeface="+mn-lt"/>
          <a:ea typeface="+mn-ea"/>
          <a:cs typeface="+mn-cs"/>
        </a:defRPr>
      </a:lvl7pPr>
      <a:lvl8pPr marL="3199795" algn="l" defTabSz="914226" rtl="0" eaLnBrk="1" latinLnBrk="0" hangingPunct="1">
        <a:defRPr sz="1800" kern="1200">
          <a:solidFill>
            <a:schemeClr val="tx1"/>
          </a:solidFill>
          <a:latin typeface="+mn-lt"/>
          <a:ea typeface="+mn-ea"/>
          <a:cs typeface="+mn-cs"/>
        </a:defRPr>
      </a:lvl8pPr>
      <a:lvl9pPr marL="3656908" algn="l" defTabSz="91422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5604" y="654054"/>
            <a:ext cx="6837363" cy="1034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0" rIns="91424" bIns="0" numCol="1" anchor="t" anchorCtr="0" compatLnSpc="1">
            <a:prstTxWarp prst="textNoShape">
              <a:avLst/>
            </a:prstTxWarp>
            <a:spAutoFit/>
          </a:bodyPr>
          <a:lstStyle/>
          <a:p>
            <a:pPr lvl="0"/>
            <a:r>
              <a:rPr lang="de-DE"/>
              <a:t>Titelmasterformat durch Klicken bearbeiten</a:t>
            </a:r>
          </a:p>
        </p:txBody>
      </p:sp>
      <p:sp>
        <p:nvSpPr>
          <p:cNvPr id="1027" name="Rectangle 3"/>
          <p:cNvSpPr>
            <a:spLocks noGrp="1" noChangeArrowheads="1"/>
          </p:cNvSpPr>
          <p:nvPr>
            <p:ph type="body" idx="1"/>
          </p:nvPr>
        </p:nvSpPr>
        <p:spPr bwMode="auto">
          <a:xfrm>
            <a:off x="368303" y="1993899"/>
            <a:ext cx="6837363" cy="4510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1028" name="Text Box 11"/>
          <p:cNvSpPr txBox="1">
            <a:spLocks noChangeArrowheads="1"/>
          </p:cNvSpPr>
          <p:nvPr/>
        </p:nvSpPr>
        <p:spPr bwMode="auto">
          <a:xfrm>
            <a:off x="8382000" y="6165850"/>
            <a:ext cx="438150"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531D17FD-01BB-4DB3-B3D1-3D964115E755}" type="slidenum">
              <a:rPr lang="de-DE" sz="1300" smtClean="0">
                <a:solidFill>
                  <a:srgbClr val="000000"/>
                </a:solidFill>
              </a:rPr>
              <a:pPr algn="ctr">
                <a:spcBef>
                  <a:spcPct val="50000"/>
                </a:spcBef>
                <a:defRPr/>
              </a:pPr>
              <a:t>‹Nr.›</a:t>
            </a:fld>
            <a:endParaRPr lang="de-DE" sz="1300" dirty="0">
              <a:solidFill>
                <a:srgbClr val="000000"/>
              </a:solidFill>
            </a:endParaRPr>
          </a:p>
        </p:txBody>
      </p:sp>
      <p:pic>
        <p:nvPicPr>
          <p:cNvPr id="1029" name="Picture 16" descr="versuch_4C_AI3"/>
          <p:cNvPicPr>
            <a:picLocks noChangeAspect="1" noChangeArrowheads="1"/>
          </p:cNvPicPr>
          <p:nvPr/>
        </p:nvPicPr>
        <p:blipFill>
          <a:blip r:embed="rId14" cstate="print">
            <a:extLst>
              <a:ext uri="{28A0092B-C50C-407E-A947-70E740481C1C}">
                <a14:useLocalDpi xmlns:a14="http://schemas.microsoft.com/office/drawing/2010/main" val="0"/>
              </a:ext>
            </a:extLst>
          </a:blip>
          <a:srcRect r="32396"/>
          <a:stretch>
            <a:fillRect/>
          </a:stretch>
        </p:blipFill>
        <p:spPr bwMode="auto">
          <a:xfrm>
            <a:off x="7902577" y="209553"/>
            <a:ext cx="1181100" cy="1147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79490295"/>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Lst>
  <p:txStyles>
    <p:titleStyle>
      <a:lvl1pPr algn="l" rtl="0" eaLnBrk="0" fontAlgn="base" hangingPunct="0">
        <a:lnSpc>
          <a:spcPct val="105000"/>
        </a:lnSpc>
        <a:spcBef>
          <a:spcPct val="0"/>
        </a:spcBef>
        <a:spcAft>
          <a:spcPct val="0"/>
        </a:spcAft>
        <a:defRPr sz="3200">
          <a:solidFill>
            <a:srgbClr val="2A547E"/>
          </a:solidFill>
          <a:latin typeface="+mj-lt"/>
          <a:ea typeface="+mj-ea"/>
          <a:cs typeface="+mj-cs"/>
        </a:defRPr>
      </a:lvl1pPr>
      <a:lvl2pPr algn="l" rtl="0" eaLnBrk="0" fontAlgn="base" hangingPunct="0">
        <a:lnSpc>
          <a:spcPct val="105000"/>
        </a:lnSpc>
        <a:spcBef>
          <a:spcPct val="0"/>
        </a:spcBef>
        <a:spcAft>
          <a:spcPct val="0"/>
        </a:spcAft>
        <a:defRPr sz="3200">
          <a:solidFill>
            <a:srgbClr val="2A547E"/>
          </a:solidFill>
          <a:latin typeface="Gill Sans MT Light" pitchFamily="34" charset="0"/>
        </a:defRPr>
      </a:lvl2pPr>
      <a:lvl3pPr algn="l" rtl="0" eaLnBrk="0" fontAlgn="base" hangingPunct="0">
        <a:lnSpc>
          <a:spcPct val="105000"/>
        </a:lnSpc>
        <a:spcBef>
          <a:spcPct val="0"/>
        </a:spcBef>
        <a:spcAft>
          <a:spcPct val="0"/>
        </a:spcAft>
        <a:defRPr sz="3200">
          <a:solidFill>
            <a:srgbClr val="2A547E"/>
          </a:solidFill>
          <a:latin typeface="Gill Sans MT Light" pitchFamily="34" charset="0"/>
        </a:defRPr>
      </a:lvl3pPr>
      <a:lvl4pPr algn="l" rtl="0" eaLnBrk="0" fontAlgn="base" hangingPunct="0">
        <a:lnSpc>
          <a:spcPct val="105000"/>
        </a:lnSpc>
        <a:spcBef>
          <a:spcPct val="0"/>
        </a:spcBef>
        <a:spcAft>
          <a:spcPct val="0"/>
        </a:spcAft>
        <a:defRPr sz="3200">
          <a:solidFill>
            <a:srgbClr val="2A547E"/>
          </a:solidFill>
          <a:latin typeface="Gill Sans MT Light" pitchFamily="34" charset="0"/>
        </a:defRPr>
      </a:lvl4pPr>
      <a:lvl5pPr algn="l" rtl="0" eaLnBrk="0" fontAlgn="base" hangingPunct="0">
        <a:lnSpc>
          <a:spcPct val="105000"/>
        </a:lnSpc>
        <a:spcBef>
          <a:spcPct val="0"/>
        </a:spcBef>
        <a:spcAft>
          <a:spcPct val="0"/>
        </a:spcAft>
        <a:defRPr sz="3200">
          <a:solidFill>
            <a:srgbClr val="2A547E"/>
          </a:solidFill>
          <a:latin typeface="Gill Sans MT Light" pitchFamily="34" charset="0"/>
        </a:defRPr>
      </a:lvl5pPr>
      <a:lvl6pPr marL="457115" algn="l" rtl="0" fontAlgn="base">
        <a:lnSpc>
          <a:spcPct val="105000"/>
        </a:lnSpc>
        <a:spcBef>
          <a:spcPct val="0"/>
        </a:spcBef>
        <a:spcAft>
          <a:spcPct val="0"/>
        </a:spcAft>
        <a:defRPr sz="3200">
          <a:solidFill>
            <a:srgbClr val="2A547E"/>
          </a:solidFill>
          <a:latin typeface="Gill Sans MT Light" pitchFamily="34" charset="0"/>
        </a:defRPr>
      </a:lvl6pPr>
      <a:lvl7pPr marL="914226" algn="l" rtl="0" fontAlgn="base">
        <a:lnSpc>
          <a:spcPct val="105000"/>
        </a:lnSpc>
        <a:spcBef>
          <a:spcPct val="0"/>
        </a:spcBef>
        <a:spcAft>
          <a:spcPct val="0"/>
        </a:spcAft>
        <a:defRPr sz="3200">
          <a:solidFill>
            <a:srgbClr val="2A547E"/>
          </a:solidFill>
          <a:latin typeface="Gill Sans MT Light" pitchFamily="34" charset="0"/>
        </a:defRPr>
      </a:lvl7pPr>
      <a:lvl8pPr marL="1371341" algn="l" rtl="0" fontAlgn="base">
        <a:lnSpc>
          <a:spcPct val="105000"/>
        </a:lnSpc>
        <a:spcBef>
          <a:spcPct val="0"/>
        </a:spcBef>
        <a:spcAft>
          <a:spcPct val="0"/>
        </a:spcAft>
        <a:defRPr sz="3200">
          <a:solidFill>
            <a:srgbClr val="2A547E"/>
          </a:solidFill>
          <a:latin typeface="Gill Sans MT Light" pitchFamily="34" charset="0"/>
        </a:defRPr>
      </a:lvl8pPr>
      <a:lvl9pPr marL="1828454" algn="l" rtl="0" fontAlgn="base">
        <a:lnSpc>
          <a:spcPct val="105000"/>
        </a:lnSpc>
        <a:spcBef>
          <a:spcPct val="0"/>
        </a:spcBef>
        <a:spcAft>
          <a:spcPct val="0"/>
        </a:spcAft>
        <a:defRPr sz="3200">
          <a:solidFill>
            <a:srgbClr val="2A547E"/>
          </a:solidFill>
          <a:latin typeface="Gill Sans MT Light" pitchFamily="34" charset="0"/>
        </a:defRPr>
      </a:lvl9pPr>
    </p:titleStyle>
    <p:bodyStyle>
      <a:lvl1pPr marL="261889" indent="-261889" algn="l" rtl="0" eaLnBrk="0" fontAlgn="base" hangingPunct="0">
        <a:lnSpc>
          <a:spcPct val="140000"/>
        </a:lnSpc>
        <a:spcBef>
          <a:spcPct val="0"/>
        </a:spcBef>
        <a:spcAft>
          <a:spcPct val="0"/>
        </a:spcAft>
        <a:buClr>
          <a:srgbClr val="7A929D"/>
        </a:buClr>
        <a:buFont typeface="Arial" charset="0"/>
        <a:buChar char="■"/>
        <a:defRPr sz="2100">
          <a:solidFill>
            <a:schemeClr val="tx1"/>
          </a:solidFill>
          <a:latin typeface="+mn-lt"/>
          <a:ea typeface="+mn-ea"/>
          <a:cs typeface="+mn-cs"/>
        </a:defRPr>
      </a:lvl1pPr>
      <a:lvl2pPr marL="623769" indent="-182528" algn="l" rtl="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mn-lt"/>
        </a:defRPr>
      </a:lvl2pPr>
      <a:lvl3pPr marL="1074534" indent="-160308" algn="l" rtl="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mn-lt"/>
        </a:defRPr>
      </a:lvl3pPr>
      <a:lvl4pPr marL="1599898" indent="-228556" algn="l" rtl="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mn-lt"/>
        </a:defRPr>
      </a:lvl4pPr>
      <a:lvl5pPr marL="2057010" indent="-228556" algn="l" rtl="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mn-lt"/>
        </a:defRPr>
      </a:lvl5pPr>
      <a:lvl6pPr marL="2514125" indent="-228556" algn="l" rtl="0" fontAlgn="base">
        <a:lnSpc>
          <a:spcPct val="140000"/>
        </a:lnSpc>
        <a:spcBef>
          <a:spcPct val="0"/>
        </a:spcBef>
        <a:spcAft>
          <a:spcPct val="0"/>
        </a:spcAft>
        <a:buClr>
          <a:srgbClr val="7A929D"/>
        </a:buClr>
        <a:buSzPct val="70000"/>
        <a:buFont typeface="Arial" charset="0"/>
        <a:buChar char="■"/>
        <a:defRPr sz="2100">
          <a:solidFill>
            <a:schemeClr val="tx1"/>
          </a:solidFill>
          <a:latin typeface="+mn-lt"/>
        </a:defRPr>
      </a:lvl6pPr>
      <a:lvl7pPr marL="2971237" indent="-228556" algn="l" rtl="0" fontAlgn="base">
        <a:lnSpc>
          <a:spcPct val="140000"/>
        </a:lnSpc>
        <a:spcBef>
          <a:spcPct val="0"/>
        </a:spcBef>
        <a:spcAft>
          <a:spcPct val="0"/>
        </a:spcAft>
        <a:buClr>
          <a:srgbClr val="7A929D"/>
        </a:buClr>
        <a:buSzPct val="70000"/>
        <a:buFont typeface="Arial" charset="0"/>
        <a:buChar char="■"/>
        <a:defRPr sz="2100">
          <a:solidFill>
            <a:schemeClr val="tx1"/>
          </a:solidFill>
          <a:latin typeface="+mn-lt"/>
        </a:defRPr>
      </a:lvl7pPr>
      <a:lvl8pPr marL="3428352" indent="-228556" algn="l" rtl="0" fontAlgn="base">
        <a:lnSpc>
          <a:spcPct val="140000"/>
        </a:lnSpc>
        <a:spcBef>
          <a:spcPct val="0"/>
        </a:spcBef>
        <a:spcAft>
          <a:spcPct val="0"/>
        </a:spcAft>
        <a:buClr>
          <a:srgbClr val="7A929D"/>
        </a:buClr>
        <a:buSzPct val="70000"/>
        <a:buFont typeface="Arial" charset="0"/>
        <a:buChar char="■"/>
        <a:defRPr sz="2100">
          <a:solidFill>
            <a:schemeClr val="tx1"/>
          </a:solidFill>
          <a:latin typeface="+mn-lt"/>
        </a:defRPr>
      </a:lvl8pPr>
      <a:lvl9pPr marL="3885466" indent="-228556" algn="l" rtl="0" fontAlgn="base">
        <a:lnSpc>
          <a:spcPct val="140000"/>
        </a:lnSpc>
        <a:spcBef>
          <a:spcPct val="0"/>
        </a:spcBef>
        <a:spcAft>
          <a:spcPct val="0"/>
        </a:spcAft>
        <a:buClr>
          <a:srgbClr val="7A929D"/>
        </a:buClr>
        <a:buSzPct val="70000"/>
        <a:buFont typeface="Arial" charset="0"/>
        <a:buChar char="■"/>
        <a:defRPr sz="2100">
          <a:solidFill>
            <a:schemeClr val="tx1"/>
          </a:solidFill>
          <a:latin typeface="+mn-lt"/>
        </a:defRPr>
      </a:lvl9pPr>
    </p:bodyStyle>
    <p:otherStyle>
      <a:defPPr>
        <a:defRPr lang="de-DE"/>
      </a:defPPr>
      <a:lvl1pPr marL="0" algn="l" defTabSz="914226" rtl="0" eaLnBrk="1" latinLnBrk="0" hangingPunct="1">
        <a:defRPr sz="1800" kern="1200">
          <a:solidFill>
            <a:schemeClr val="tx1"/>
          </a:solidFill>
          <a:latin typeface="+mn-lt"/>
          <a:ea typeface="+mn-ea"/>
          <a:cs typeface="+mn-cs"/>
        </a:defRPr>
      </a:lvl1pPr>
      <a:lvl2pPr marL="457115" algn="l" defTabSz="914226" rtl="0" eaLnBrk="1" latinLnBrk="0" hangingPunct="1">
        <a:defRPr sz="1800" kern="1200">
          <a:solidFill>
            <a:schemeClr val="tx1"/>
          </a:solidFill>
          <a:latin typeface="+mn-lt"/>
          <a:ea typeface="+mn-ea"/>
          <a:cs typeface="+mn-cs"/>
        </a:defRPr>
      </a:lvl2pPr>
      <a:lvl3pPr marL="914226" algn="l" defTabSz="914226" rtl="0" eaLnBrk="1" latinLnBrk="0" hangingPunct="1">
        <a:defRPr sz="1800" kern="1200">
          <a:solidFill>
            <a:schemeClr val="tx1"/>
          </a:solidFill>
          <a:latin typeface="+mn-lt"/>
          <a:ea typeface="+mn-ea"/>
          <a:cs typeface="+mn-cs"/>
        </a:defRPr>
      </a:lvl3pPr>
      <a:lvl4pPr marL="1371341" algn="l" defTabSz="914226" rtl="0" eaLnBrk="1" latinLnBrk="0" hangingPunct="1">
        <a:defRPr sz="1800" kern="1200">
          <a:solidFill>
            <a:schemeClr val="tx1"/>
          </a:solidFill>
          <a:latin typeface="+mn-lt"/>
          <a:ea typeface="+mn-ea"/>
          <a:cs typeface="+mn-cs"/>
        </a:defRPr>
      </a:lvl4pPr>
      <a:lvl5pPr marL="1828454" algn="l" defTabSz="914226" rtl="0" eaLnBrk="1" latinLnBrk="0" hangingPunct="1">
        <a:defRPr sz="1800" kern="1200">
          <a:solidFill>
            <a:schemeClr val="tx1"/>
          </a:solidFill>
          <a:latin typeface="+mn-lt"/>
          <a:ea typeface="+mn-ea"/>
          <a:cs typeface="+mn-cs"/>
        </a:defRPr>
      </a:lvl5pPr>
      <a:lvl6pPr marL="2285566" algn="l" defTabSz="914226" rtl="0" eaLnBrk="1" latinLnBrk="0" hangingPunct="1">
        <a:defRPr sz="1800" kern="1200">
          <a:solidFill>
            <a:schemeClr val="tx1"/>
          </a:solidFill>
          <a:latin typeface="+mn-lt"/>
          <a:ea typeface="+mn-ea"/>
          <a:cs typeface="+mn-cs"/>
        </a:defRPr>
      </a:lvl6pPr>
      <a:lvl7pPr marL="2742681" algn="l" defTabSz="914226" rtl="0" eaLnBrk="1" latinLnBrk="0" hangingPunct="1">
        <a:defRPr sz="1800" kern="1200">
          <a:solidFill>
            <a:schemeClr val="tx1"/>
          </a:solidFill>
          <a:latin typeface="+mn-lt"/>
          <a:ea typeface="+mn-ea"/>
          <a:cs typeface="+mn-cs"/>
        </a:defRPr>
      </a:lvl7pPr>
      <a:lvl8pPr marL="3199795" algn="l" defTabSz="914226" rtl="0" eaLnBrk="1" latinLnBrk="0" hangingPunct="1">
        <a:defRPr sz="1800" kern="1200">
          <a:solidFill>
            <a:schemeClr val="tx1"/>
          </a:solidFill>
          <a:latin typeface="+mn-lt"/>
          <a:ea typeface="+mn-ea"/>
          <a:cs typeface="+mn-cs"/>
        </a:defRPr>
      </a:lvl8pPr>
      <a:lvl9pPr marL="3656908" algn="l" defTabSz="914226"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5604" y="654054"/>
            <a:ext cx="6837363" cy="1034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0" rIns="91424" bIns="0" numCol="1" anchor="t" anchorCtr="0" compatLnSpc="1">
            <a:prstTxWarp prst="textNoShape">
              <a:avLst/>
            </a:prstTxWarp>
            <a:spAutoFit/>
          </a:bodyPr>
          <a:lstStyle/>
          <a:p>
            <a:pPr lvl="0"/>
            <a:r>
              <a:rPr lang="de-DE"/>
              <a:t>Titelmasterformat durch Klicken bearbeiten</a:t>
            </a:r>
          </a:p>
        </p:txBody>
      </p:sp>
      <p:sp>
        <p:nvSpPr>
          <p:cNvPr id="1027" name="Rectangle 3"/>
          <p:cNvSpPr>
            <a:spLocks noGrp="1" noChangeArrowheads="1"/>
          </p:cNvSpPr>
          <p:nvPr>
            <p:ph type="body" idx="1"/>
          </p:nvPr>
        </p:nvSpPr>
        <p:spPr bwMode="auto">
          <a:xfrm>
            <a:off x="368303" y="1993899"/>
            <a:ext cx="6837363" cy="4510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1028" name="Text Box 11"/>
          <p:cNvSpPr txBox="1">
            <a:spLocks noChangeArrowheads="1"/>
          </p:cNvSpPr>
          <p:nvPr/>
        </p:nvSpPr>
        <p:spPr bwMode="auto">
          <a:xfrm>
            <a:off x="8459788" y="6165850"/>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FCCE17A1-84E7-4884-AF57-63AAF7920995}" type="slidenum">
              <a:rPr lang="de-DE" sz="1300" smtClean="0">
                <a:solidFill>
                  <a:srgbClr val="000000"/>
                </a:solidFill>
              </a:rPr>
              <a:pPr algn="ctr">
                <a:spcBef>
                  <a:spcPct val="50000"/>
                </a:spcBef>
                <a:defRPr/>
              </a:pPr>
              <a:t>‹Nr.›</a:t>
            </a:fld>
            <a:endParaRPr lang="de-DE" sz="1300" dirty="0">
              <a:solidFill>
                <a:srgbClr val="000000"/>
              </a:solidFill>
            </a:endParaRPr>
          </a:p>
        </p:txBody>
      </p:sp>
      <p:pic>
        <p:nvPicPr>
          <p:cNvPr id="1029" name="Picture 16" descr="versuch_4C_AI3"/>
          <p:cNvPicPr>
            <a:picLocks noChangeAspect="1" noChangeArrowheads="1"/>
          </p:cNvPicPr>
          <p:nvPr/>
        </p:nvPicPr>
        <p:blipFill>
          <a:blip r:embed="rId7" cstate="print">
            <a:extLst>
              <a:ext uri="{28A0092B-C50C-407E-A947-70E740481C1C}">
                <a14:useLocalDpi xmlns:a14="http://schemas.microsoft.com/office/drawing/2010/main" val="0"/>
              </a:ext>
            </a:extLst>
          </a:blip>
          <a:srcRect r="32396"/>
          <a:stretch>
            <a:fillRect/>
          </a:stretch>
        </p:blipFill>
        <p:spPr bwMode="auto">
          <a:xfrm>
            <a:off x="7902577" y="209553"/>
            <a:ext cx="1181100" cy="1147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7894528"/>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Lst>
  <p:hf hdr="0" ftr="0" dt="0"/>
  <p:txStyles>
    <p:titleStyle>
      <a:lvl1pPr algn="l" rtl="0" eaLnBrk="0" fontAlgn="base" hangingPunct="0">
        <a:lnSpc>
          <a:spcPct val="105000"/>
        </a:lnSpc>
        <a:spcBef>
          <a:spcPct val="0"/>
        </a:spcBef>
        <a:spcAft>
          <a:spcPct val="0"/>
        </a:spcAft>
        <a:defRPr sz="3200">
          <a:solidFill>
            <a:srgbClr val="2A547E"/>
          </a:solidFill>
          <a:latin typeface="+mj-lt"/>
          <a:ea typeface="+mj-ea"/>
          <a:cs typeface="+mj-cs"/>
        </a:defRPr>
      </a:lvl1pPr>
      <a:lvl2pPr algn="l" rtl="0" eaLnBrk="0" fontAlgn="base" hangingPunct="0">
        <a:lnSpc>
          <a:spcPct val="105000"/>
        </a:lnSpc>
        <a:spcBef>
          <a:spcPct val="0"/>
        </a:spcBef>
        <a:spcAft>
          <a:spcPct val="0"/>
        </a:spcAft>
        <a:defRPr sz="3200">
          <a:solidFill>
            <a:srgbClr val="2A547E"/>
          </a:solidFill>
          <a:latin typeface="Gill Sans MT Light" pitchFamily="34" charset="0"/>
        </a:defRPr>
      </a:lvl2pPr>
      <a:lvl3pPr algn="l" rtl="0" eaLnBrk="0" fontAlgn="base" hangingPunct="0">
        <a:lnSpc>
          <a:spcPct val="105000"/>
        </a:lnSpc>
        <a:spcBef>
          <a:spcPct val="0"/>
        </a:spcBef>
        <a:spcAft>
          <a:spcPct val="0"/>
        </a:spcAft>
        <a:defRPr sz="3200">
          <a:solidFill>
            <a:srgbClr val="2A547E"/>
          </a:solidFill>
          <a:latin typeface="Gill Sans MT Light" pitchFamily="34" charset="0"/>
        </a:defRPr>
      </a:lvl3pPr>
      <a:lvl4pPr algn="l" rtl="0" eaLnBrk="0" fontAlgn="base" hangingPunct="0">
        <a:lnSpc>
          <a:spcPct val="105000"/>
        </a:lnSpc>
        <a:spcBef>
          <a:spcPct val="0"/>
        </a:spcBef>
        <a:spcAft>
          <a:spcPct val="0"/>
        </a:spcAft>
        <a:defRPr sz="3200">
          <a:solidFill>
            <a:srgbClr val="2A547E"/>
          </a:solidFill>
          <a:latin typeface="Gill Sans MT Light" pitchFamily="34" charset="0"/>
        </a:defRPr>
      </a:lvl4pPr>
      <a:lvl5pPr algn="l" rtl="0" eaLnBrk="0" fontAlgn="base" hangingPunct="0">
        <a:lnSpc>
          <a:spcPct val="105000"/>
        </a:lnSpc>
        <a:spcBef>
          <a:spcPct val="0"/>
        </a:spcBef>
        <a:spcAft>
          <a:spcPct val="0"/>
        </a:spcAft>
        <a:defRPr sz="3200">
          <a:solidFill>
            <a:srgbClr val="2A547E"/>
          </a:solidFill>
          <a:latin typeface="Gill Sans MT Light" pitchFamily="34" charset="0"/>
        </a:defRPr>
      </a:lvl5pPr>
      <a:lvl6pPr marL="457115" algn="l" rtl="0" fontAlgn="base">
        <a:lnSpc>
          <a:spcPct val="105000"/>
        </a:lnSpc>
        <a:spcBef>
          <a:spcPct val="0"/>
        </a:spcBef>
        <a:spcAft>
          <a:spcPct val="0"/>
        </a:spcAft>
        <a:defRPr sz="3200">
          <a:solidFill>
            <a:srgbClr val="2A547E"/>
          </a:solidFill>
          <a:latin typeface="Gill Sans MT Light" pitchFamily="34" charset="0"/>
        </a:defRPr>
      </a:lvl6pPr>
      <a:lvl7pPr marL="914226" algn="l" rtl="0" fontAlgn="base">
        <a:lnSpc>
          <a:spcPct val="105000"/>
        </a:lnSpc>
        <a:spcBef>
          <a:spcPct val="0"/>
        </a:spcBef>
        <a:spcAft>
          <a:spcPct val="0"/>
        </a:spcAft>
        <a:defRPr sz="3200">
          <a:solidFill>
            <a:srgbClr val="2A547E"/>
          </a:solidFill>
          <a:latin typeface="Gill Sans MT Light" pitchFamily="34" charset="0"/>
        </a:defRPr>
      </a:lvl7pPr>
      <a:lvl8pPr marL="1371341" algn="l" rtl="0" fontAlgn="base">
        <a:lnSpc>
          <a:spcPct val="105000"/>
        </a:lnSpc>
        <a:spcBef>
          <a:spcPct val="0"/>
        </a:spcBef>
        <a:spcAft>
          <a:spcPct val="0"/>
        </a:spcAft>
        <a:defRPr sz="3200">
          <a:solidFill>
            <a:srgbClr val="2A547E"/>
          </a:solidFill>
          <a:latin typeface="Gill Sans MT Light" pitchFamily="34" charset="0"/>
        </a:defRPr>
      </a:lvl8pPr>
      <a:lvl9pPr marL="1828454" algn="l" rtl="0" fontAlgn="base">
        <a:lnSpc>
          <a:spcPct val="105000"/>
        </a:lnSpc>
        <a:spcBef>
          <a:spcPct val="0"/>
        </a:spcBef>
        <a:spcAft>
          <a:spcPct val="0"/>
        </a:spcAft>
        <a:defRPr sz="3200">
          <a:solidFill>
            <a:srgbClr val="2A547E"/>
          </a:solidFill>
          <a:latin typeface="Gill Sans MT Light" pitchFamily="34" charset="0"/>
        </a:defRPr>
      </a:lvl9pPr>
    </p:titleStyle>
    <p:bodyStyle>
      <a:lvl1pPr marL="261889" indent="-261889" algn="l" rtl="0" eaLnBrk="0" fontAlgn="base" hangingPunct="0">
        <a:lnSpc>
          <a:spcPct val="140000"/>
        </a:lnSpc>
        <a:spcBef>
          <a:spcPct val="0"/>
        </a:spcBef>
        <a:spcAft>
          <a:spcPct val="0"/>
        </a:spcAft>
        <a:buClr>
          <a:srgbClr val="7A929D"/>
        </a:buClr>
        <a:buFont typeface="Gill Sans MT Light" pitchFamily="34" charset="0"/>
        <a:buChar char="■"/>
        <a:defRPr sz="2100">
          <a:solidFill>
            <a:schemeClr val="tx1"/>
          </a:solidFill>
          <a:latin typeface="+mn-lt"/>
          <a:ea typeface="+mn-ea"/>
          <a:cs typeface="+mn-cs"/>
        </a:defRPr>
      </a:lvl1pPr>
      <a:lvl2pPr marL="623769" indent="-182528"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2pPr>
      <a:lvl3pPr marL="1074534" indent="-160308"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3pPr>
      <a:lvl4pPr marL="1599898"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4pPr>
      <a:lvl5pPr marL="2057010"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5pPr>
      <a:lvl6pPr marL="2514125"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6pPr>
      <a:lvl7pPr marL="2971237"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7pPr>
      <a:lvl8pPr marL="3428352"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8pPr>
      <a:lvl9pPr marL="3885466"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9pPr>
    </p:bodyStyle>
    <p:otherStyle>
      <a:defPPr>
        <a:defRPr lang="de-DE"/>
      </a:defPPr>
      <a:lvl1pPr marL="0" algn="l" defTabSz="914226" rtl="0" eaLnBrk="1" latinLnBrk="0" hangingPunct="1">
        <a:defRPr sz="1800" kern="1200">
          <a:solidFill>
            <a:schemeClr val="tx1"/>
          </a:solidFill>
          <a:latin typeface="+mn-lt"/>
          <a:ea typeface="+mn-ea"/>
          <a:cs typeface="+mn-cs"/>
        </a:defRPr>
      </a:lvl1pPr>
      <a:lvl2pPr marL="457115" algn="l" defTabSz="914226" rtl="0" eaLnBrk="1" latinLnBrk="0" hangingPunct="1">
        <a:defRPr sz="1800" kern="1200">
          <a:solidFill>
            <a:schemeClr val="tx1"/>
          </a:solidFill>
          <a:latin typeface="+mn-lt"/>
          <a:ea typeface="+mn-ea"/>
          <a:cs typeface="+mn-cs"/>
        </a:defRPr>
      </a:lvl2pPr>
      <a:lvl3pPr marL="914226" algn="l" defTabSz="914226" rtl="0" eaLnBrk="1" latinLnBrk="0" hangingPunct="1">
        <a:defRPr sz="1800" kern="1200">
          <a:solidFill>
            <a:schemeClr val="tx1"/>
          </a:solidFill>
          <a:latin typeface="+mn-lt"/>
          <a:ea typeface="+mn-ea"/>
          <a:cs typeface="+mn-cs"/>
        </a:defRPr>
      </a:lvl3pPr>
      <a:lvl4pPr marL="1371341" algn="l" defTabSz="914226" rtl="0" eaLnBrk="1" latinLnBrk="0" hangingPunct="1">
        <a:defRPr sz="1800" kern="1200">
          <a:solidFill>
            <a:schemeClr val="tx1"/>
          </a:solidFill>
          <a:latin typeface="+mn-lt"/>
          <a:ea typeface="+mn-ea"/>
          <a:cs typeface="+mn-cs"/>
        </a:defRPr>
      </a:lvl4pPr>
      <a:lvl5pPr marL="1828454" algn="l" defTabSz="914226" rtl="0" eaLnBrk="1" latinLnBrk="0" hangingPunct="1">
        <a:defRPr sz="1800" kern="1200">
          <a:solidFill>
            <a:schemeClr val="tx1"/>
          </a:solidFill>
          <a:latin typeface="+mn-lt"/>
          <a:ea typeface="+mn-ea"/>
          <a:cs typeface="+mn-cs"/>
        </a:defRPr>
      </a:lvl5pPr>
      <a:lvl6pPr marL="2285566" algn="l" defTabSz="914226" rtl="0" eaLnBrk="1" latinLnBrk="0" hangingPunct="1">
        <a:defRPr sz="1800" kern="1200">
          <a:solidFill>
            <a:schemeClr val="tx1"/>
          </a:solidFill>
          <a:latin typeface="+mn-lt"/>
          <a:ea typeface="+mn-ea"/>
          <a:cs typeface="+mn-cs"/>
        </a:defRPr>
      </a:lvl6pPr>
      <a:lvl7pPr marL="2742681" algn="l" defTabSz="914226" rtl="0" eaLnBrk="1" latinLnBrk="0" hangingPunct="1">
        <a:defRPr sz="1800" kern="1200">
          <a:solidFill>
            <a:schemeClr val="tx1"/>
          </a:solidFill>
          <a:latin typeface="+mn-lt"/>
          <a:ea typeface="+mn-ea"/>
          <a:cs typeface="+mn-cs"/>
        </a:defRPr>
      </a:lvl7pPr>
      <a:lvl8pPr marL="3199795" algn="l" defTabSz="914226" rtl="0" eaLnBrk="1" latinLnBrk="0" hangingPunct="1">
        <a:defRPr sz="1800" kern="1200">
          <a:solidFill>
            <a:schemeClr val="tx1"/>
          </a:solidFill>
          <a:latin typeface="+mn-lt"/>
          <a:ea typeface="+mn-ea"/>
          <a:cs typeface="+mn-cs"/>
        </a:defRPr>
      </a:lvl8pPr>
      <a:lvl9pPr marL="3656908" algn="l" defTabSz="91422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5604" y="654054"/>
            <a:ext cx="6837363" cy="1034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0" rIns="91424" bIns="0" numCol="1" anchor="t" anchorCtr="0" compatLnSpc="1">
            <a:prstTxWarp prst="textNoShape">
              <a:avLst/>
            </a:prstTxWarp>
            <a:spAutoFit/>
          </a:bodyPr>
          <a:lstStyle/>
          <a:p>
            <a:pPr lvl="0"/>
            <a:r>
              <a:rPr lang="de-DE"/>
              <a:t>Titelmasterformat durch Klicken bearbeiten</a:t>
            </a:r>
          </a:p>
        </p:txBody>
      </p:sp>
      <p:sp>
        <p:nvSpPr>
          <p:cNvPr id="1027" name="Rectangle 3"/>
          <p:cNvSpPr>
            <a:spLocks noGrp="1" noChangeArrowheads="1"/>
          </p:cNvSpPr>
          <p:nvPr>
            <p:ph type="body" idx="1"/>
          </p:nvPr>
        </p:nvSpPr>
        <p:spPr bwMode="auto">
          <a:xfrm>
            <a:off x="368303" y="1993899"/>
            <a:ext cx="6837363" cy="4510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1028" name="Text Box 11"/>
          <p:cNvSpPr txBox="1">
            <a:spLocks noChangeArrowheads="1"/>
          </p:cNvSpPr>
          <p:nvPr/>
        </p:nvSpPr>
        <p:spPr bwMode="auto">
          <a:xfrm>
            <a:off x="8459788" y="6165850"/>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lIns="91424" tIns="45711" rIns="91424" bIns="45711"/>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FCCE17A1-84E7-4884-AF57-63AAF7920995}" type="slidenum">
              <a:rPr lang="de-DE" sz="1300" smtClean="0">
                <a:solidFill>
                  <a:srgbClr val="000000"/>
                </a:solidFill>
              </a:rPr>
              <a:pPr algn="ctr">
                <a:spcBef>
                  <a:spcPct val="50000"/>
                </a:spcBef>
                <a:defRPr/>
              </a:pPr>
              <a:t>‹Nr.›</a:t>
            </a:fld>
            <a:endParaRPr lang="de-DE" sz="1300" dirty="0">
              <a:solidFill>
                <a:srgbClr val="000000"/>
              </a:solidFill>
            </a:endParaRPr>
          </a:p>
        </p:txBody>
      </p:sp>
      <p:pic>
        <p:nvPicPr>
          <p:cNvPr id="1029" name="Picture 16" descr="versuch_4C_AI3"/>
          <p:cNvPicPr>
            <a:picLocks noChangeAspect="1" noChangeArrowheads="1"/>
          </p:cNvPicPr>
          <p:nvPr/>
        </p:nvPicPr>
        <p:blipFill>
          <a:blip r:embed="rId7" cstate="print">
            <a:extLst>
              <a:ext uri="{28A0092B-C50C-407E-A947-70E740481C1C}">
                <a14:useLocalDpi xmlns:a14="http://schemas.microsoft.com/office/drawing/2010/main" val="0"/>
              </a:ext>
            </a:extLst>
          </a:blip>
          <a:srcRect r="32396"/>
          <a:stretch>
            <a:fillRect/>
          </a:stretch>
        </p:blipFill>
        <p:spPr bwMode="auto">
          <a:xfrm>
            <a:off x="7902577" y="209553"/>
            <a:ext cx="1181100" cy="1147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60102873"/>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Lst>
  <p:hf hdr="0" ftr="0" dt="0"/>
  <p:txStyles>
    <p:titleStyle>
      <a:lvl1pPr algn="l" rtl="0" eaLnBrk="1" fontAlgn="base" hangingPunct="1">
        <a:lnSpc>
          <a:spcPct val="105000"/>
        </a:lnSpc>
        <a:spcBef>
          <a:spcPct val="0"/>
        </a:spcBef>
        <a:spcAft>
          <a:spcPct val="0"/>
        </a:spcAft>
        <a:defRPr sz="3200">
          <a:solidFill>
            <a:srgbClr val="2A547E"/>
          </a:solidFill>
          <a:latin typeface="+mj-lt"/>
          <a:ea typeface="+mj-ea"/>
          <a:cs typeface="+mj-cs"/>
        </a:defRPr>
      </a:lvl1pPr>
      <a:lvl2pPr algn="l" rtl="0" eaLnBrk="1" fontAlgn="base" hangingPunct="1">
        <a:lnSpc>
          <a:spcPct val="105000"/>
        </a:lnSpc>
        <a:spcBef>
          <a:spcPct val="0"/>
        </a:spcBef>
        <a:spcAft>
          <a:spcPct val="0"/>
        </a:spcAft>
        <a:defRPr sz="3200">
          <a:solidFill>
            <a:srgbClr val="2A547E"/>
          </a:solidFill>
          <a:latin typeface="Gill Sans MT Light" pitchFamily="34" charset="0"/>
        </a:defRPr>
      </a:lvl2pPr>
      <a:lvl3pPr algn="l" rtl="0" eaLnBrk="1" fontAlgn="base" hangingPunct="1">
        <a:lnSpc>
          <a:spcPct val="105000"/>
        </a:lnSpc>
        <a:spcBef>
          <a:spcPct val="0"/>
        </a:spcBef>
        <a:spcAft>
          <a:spcPct val="0"/>
        </a:spcAft>
        <a:defRPr sz="3200">
          <a:solidFill>
            <a:srgbClr val="2A547E"/>
          </a:solidFill>
          <a:latin typeface="Gill Sans MT Light" pitchFamily="34" charset="0"/>
        </a:defRPr>
      </a:lvl3pPr>
      <a:lvl4pPr algn="l" rtl="0" eaLnBrk="1" fontAlgn="base" hangingPunct="1">
        <a:lnSpc>
          <a:spcPct val="105000"/>
        </a:lnSpc>
        <a:spcBef>
          <a:spcPct val="0"/>
        </a:spcBef>
        <a:spcAft>
          <a:spcPct val="0"/>
        </a:spcAft>
        <a:defRPr sz="3200">
          <a:solidFill>
            <a:srgbClr val="2A547E"/>
          </a:solidFill>
          <a:latin typeface="Gill Sans MT Light" pitchFamily="34" charset="0"/>
        </a:defRPr>
      </a:lvl4pPr>
      <a:lvl5pPr algn="l" rtl="0" eaLnBrk="1" fontAlgn="base" hangingPunct="1">
        <a:lnSpc>
          <a:spcPct val="105000"/>
        </a:lnSpc>
        <a:spcBef>
          <a:spcPct val="0"/>
        </a:spcBef>
        <a:spcAft>
          <a:spcPct val="0"/>
        </a:spcAft>
        <a:defRPr sz="3200">
          <a:solidFill>
            <a:srgbClr val="2A547E"/>
          </a:solidFill>
          <a:latin typeface="Gill Sans MT Light" pitchFamily="34" charset="0"/>
        </a:defRPr>
      </a:lvl5pPr>
      <a:lvl6pPr marL="457115" algn="l" rtl="0" eaLnBrk="1" fontAlgn="base" hangingPunct="1">
        <a:lnSpc>
          <a:spcPct val="105000"/>
        </a:lnSpc>
        <a:spcBef>
          <a:spcPct val="0"/>
        </a:spcBef>
        <a:spcAft>
          <a:spcPct val="0"/>
        </a:spcAft>
        <a:defRPr sz="3200">
          <a:solidFill>
            <a:srgbClr val="2A547E"/>
          </a:solidFill>
          <a:latin typeface="Gill Sans MT Light" pitchFamily="34" charset="0"/>
        </a:defRPr>
      </a:lvl6pPr>
      <a:lvl7pPr marL="914226" algn="l" rtl="0" eaLnBrk="1" fontAlgn="base" hangingPunct="1">
        <a:lnSpc>
          <a:spcPct val="105000"/>
        </a:lnSpc>
        <a:spcBef>
          <a:spcPct val="0"/>
        </a:spcBef>
        <a:spcAft>
          <a:spcPct val="0"/>
        </a:spcAft>
        <a:defRPr sz="3200">
          <a:solidFill>
            <a:srgbClr val="2A547E"/>
          </a:solidFill>
          <a:latin typeface="Gill Sans MT Light" pitchFamily="34" charset="0"/>
        </a:defRPr>
      </a:lvl7pPr>
      <a:lvl8pPr marL="1371341" algn="l" rtl="0" eaLnBrk="1" fontAlgn="base" hangingPunct="1">
        <a:lnSpc>
          <a:spcPct val="105000"/>
        </a:lnSpc>
        <a:spcBef>
          <a:spcPct val="0"/>
        </a:spcBef>
        <a:spcAft>
          <a:spcPct val="0"/>
        </a:spcAft>
        <a:defRPr sz="3200">
          <a:solidFill>
            <a:srgbClr val="2A547E"/>
          </a:solidFill>
          <a:latin typeface="Gill Sans MT Light" pitchFamily="34" charset="0"/>
        </a:defRPr>
      </a:lvl8pPr>
      <a:lvl9pPr marL="1828454" algn="l" rtl="0" eaLnBrk="1" fontAlgn="base" hangingPunct="1">
        <a:lnSpc>
          <a:spcPct val="105000"/>
        </a:lnSpc>
        <a:spcBef>
          <a:spcPct val="0"/>
        </a:spcBef>
        <a:spcAft>
          <a:spcPct val="0"/>
        </a:spcAft>
        <a:defRPr sz="3200">
          <a:solidFill>
            <a:srgbClr val="2A547E"/>
          </a:solidFill>
          <a:latin typeface="Gill Sans MT Light" pitchFamily="34" charset="0"/>
        </a:defRPr>
      </a:lvl9pPr>
    </p:titleStyle>
    <p:bodyStyle>
      <a:lvl1pPr marL="261889" indent="-261889" algn="l" rtl="0" eaLnBrk="1" fontAlgn="base" hangingPunct="1">
        <a:lnSpc>
          <a:spcPct val="140000"/>
        </a:lnSpc>
        <a:spcBef>
          <a:spcPct val="0"/>
        </a:spcBef>
        <a:spcAft>
          <a:spcPct val="0"/>
        </a:spcAft>
        <a:buClr>
          <a:srgbClr val="7A929D"/>
        </a:buClr>
        <a:buFont typeface="Gill Sans MT Light" pitchFamily="34" charset="0"/>
        <a:buChar char="■"/>
        <a:defRPr sz="2100">
          <a:solidFill>
            <a:schemeClr val="tx1"/>
          </a:solidFill>
          <a:latin typeface="+mn-lt"/>
          <a:ea typeface="+mn-ea"/>
          <a:cs typeface="+mn-cs"/>
        </a:defRPr>
      </a:lvl1pPr>
      <a:lvl2pPr marL="623769" indent="-182528" algn="l" rtl="0" eaLnBrk="1" fontAlgn="base" hangingPunct="1">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2pPr>
      <a:lvl3pPr marL="1074534" indent="-160308" algn="l" rtl="0" eaLnBrk="1" fontAlgn="base" hangingPunct="1">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3pPr>
      <a:lvl4pPr marL="1599898" indent="-228556" algn="l" rtl="0" eaLnBrk="1" fontAlgn="base" hangingPunct="1">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4pPr>
      <a:lvl5pPr marL="2057010" indent="-228556" algn="l" rtl="0" eaLnBrk="1" fontAlgn="base" hangingPunct="1">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5pPr>
      <a:lvl6pPr marL="2514125" indent="-228556" algn="l" rtl="0" eaLnBrk="1" fontAlgn="base" hangingPunct="1">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6pPr>
      <a:lvl7pPr marL="2971237" indent="-228556" algn="l" rtl="0" eaLnBrk="1" fontAlgn="base" hangingPunct="1">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7pPr>
      <a:lvl8pPr marL="3428352" indent="-228556" algn="l" rtl="0" eaLnBrk="1" fontAlgn="base" hangingPunct="1">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8pPr>
      <a:lvl9pPr marL="3885466" indent="-228556" algn="l" rtl="0" eaLnBrk="1" fontAlgn="base" hangingPunct="1">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9pPr>
    </p:bodyStyle>
    <p:otherStyle>
      <a:defPPr>
        <a:defRPr lang="de-DE"/>
      </a:defPPr>
      <a:lvl1pPr marL="0" algn="l" defTabSz="914226" rtl="0" eaLnBrk="1" latinLnBrk="0" hangingPunct="1">
        <a:defRPr sz="1800" kern="1200">
          <a:solidFill>
            <a:schemeClr val="tx1"/>
          </a:solidFill>
          <a:latin typeface="+mn-lt"/>
          <a:ea typeface="+mn-ea"/>
          <a:cs typeface="+mn-cs"/>
        </a:defRPr>
      </a:lvl1pPr>
      <a:lvl2pPr marL="457115" algn="l" defTabSz="914226" rtl="0" eaLnBrk="1" latinLnBrk="0" hangingPunct="1">
        <a:defRPr sz="1800" kern="1200">
          <a:solidFill>
            <a:schemeClr val="tx1"/>
          </a:solidFill>
          <a:latin typeface="+mn-lt"/>
          <a:ea typeface="+mn-ea"/>
          <a:cs typeface="+mn-cs"/>
        </a:defRPr>
      </a:lvl2pPr>
      <a:lvl3pPr marL="914226" algn="l" defTabSz="914226" rtl="0" eaLnBrk="1" latinLnBrk="0" hangingPunct="1">
        <a:defRPr sz="1800" kern="1200">
          <a:solidFill>
            <a:schemeClr val="tx1"/>
          </a:solidFill>
          <a:latin typeface="+mn-lt"/>
          <a:ea typeface="+mn-ea"/>
          <a:cs typeface="+mn-cs"/>
        </a:defRPr>
      </a:lvl3pPr>
      <a:lvl4pPr marL="1371341" algn="l" defTabSz="914226" rtl="0" eaLnBrk="1" latinLnBrk="0" hangingPunct="1">
        <a:defRPr sz="1800" kern="1200">
          <a:solidFill>
            <a:schemeClr val="tx1"/>
          </a:solidFill>
          <a:latin typeface="+mn-lt"/>
          <a:ea typeface="+mn-ea"/>
          <a:cs typeface="+mn-cs"/>
        </a:defRPr>
      </a:lvl4pPr>
      <a:lvl5pPr marL="1828454" algn="l" defTabSz="914226" rtl="0" eaLnBrk="1" latinLnBrk="0" hangingPunct="1">
        <a:defRPr sz="1800" kern="1200">
          <a:solidFill>
            <a:schemeClr val="tx1"/>
          </a:solidFill>
          <a:latin typeface="+mn-lt"/>
          <a:ea typeface="+mn-ea"/>
          <a:cs typeface="+mn-cs"/>
        </a:defRPr>
      </a:lvl5pPr>
      <a:lvl6pPr marL="2285566" algn="l" defTabSz="914226" rtl="0" eaLnBrk="1" latinLnBrk="0" hangingPunct="1">
        <a:defRPr sz="1800" kern="1200">
          <a:solidFill>
            <a:schemeClr val="tx1"/>
          </a:solidFill>
          <a:latin typeface="+mn-lt"/>
          <a:ea typeface="+mn-ea"/>
          <a:cs typeface="+mn-cs"/>
        </a:defRPr>
      </a:lvl6pPr>
      <a:lvl7pPr marL="2742681" algn="l" defTabSz="914226" rtl="0" eaLnBrk="1" latinLnBrk="0" hangingPunct="1">
        <a:defRPr sz="1800" kern="1200">
          <a:solidFill>
            <a:schemeClr val="tx1"/>
          </a:solidFill>
          <a:latin typeface="+mn-lt"/>
          <a:ea typeface="+mn-ea"/>
          <a:cs typeface="+mn-cs"/>
        </a:defRPr>
      </a:lvl7pPr>
      <a:lvl8pPr marL="3199795" algn="l" defTabSz="914226" rtl="0" eaLnBrk="1" latinLnBrk="0" hangingPunct="1">
        <a:defRPr sz="1800" kern="1200">
          <a:solidFill>
            <a:schemeClr val="tx1"/>
          </a:solidFill>
          <a:latin typeface="+mn-lt"/>
          <a:ea typeface="+mn-ea"/>
          <a:cs typeface="+mn-cs"/>
        </a:defRPr>
      </a:lvl8pPr>
      <a:lvl9pPr marL="3656908" algn="l" defTabSz="914226"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40" name="Rectangle 16"/>
          <p:cNvSpPr>
            <a:spLocks noGrp="1" noChangeArrowheads="1"/>
          </p:cNvSpPr>
          <p:nvPr>
            <p:ph type="title"/>
          </p:nvPr>
        </p:nvSpPr>
        <p:spPr bwMode="auto">
          <a:xfrm>
            <a:off x="457200" y="274640"/>
            <a:ext cx="8229601" cy="1143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ctr" anchorCtr="0" compatLnSpc="1">
            <a:prstTxWarp prst="textNoShape">
              <a:avLst/>
            </a:prstTxWarp>
          </a:bodyPr>
          <a:lstStyle/>
          <a:p>
            <a:pPr lvl="0"/>
            <a:r>
              <a:rPr lang="de-DE"/>
              <a:t>Titelmasterformat durch Klicken bearbeiten</a:t>
            </a:r>
          </a:p>
        </p:txBody>
      </p:sp>
      <p:sp>
        <p:nvSpPr>
          <p:cNvPr id="1042" name="Rectangle 18"/>
          <p:cNvSpPr>
            <a:spLocks noGrp="1" noChangeArrowheads="1"/>
          </p:cNvSpPr>
          <p:nvPr>
            <p:ph type="body" idx="1"/>
          </p:nvPr>
        </p:nvSpPr>
        <p:spPr bwMode="auto">
          <a:xfrm>
            <a:off x="457200" y="1600202"/>
            <a:ext cx="8229601"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07952247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7" r:id="rId12"/>
    <p:sldLayoutId id="2147483728" r:id="rId13"/>
  </p:sldLayoutIdLst>
  <p:txStyles>
    <p:titleStyle>
      <a:lvl1pPr algn="l" rtl="0" eaLnBrk="0" fontAlgn="base" hangingPunct="0">
        <a:spcBef>
          <a:spcPct val="0"/>
        </a:spcBef>
        <a:spcAft>
          <a:spcPct val="0"/>
        </a:spcAft>
        <a:defRPr sz="3200">
          <a:solidFill>
            <a:srgbClr val="005B99"/>
          </a:solidFill>
          <a:latin typeface="+mj-lt"/>
          <a:ea typeface="+mj-ea"/>
          <a:cs typeface="+mj-cs"/>
        </a:defRPr>
      </a:lvl1pPr>
      <a:lvl2pPr algn="l" rtl="0" eaLnBrk="0" fontAlgn="base" hangingPunct="0">
        <a:spcBef>
          <a:spcPct val="0"/>
        </a:spcBef>
        <a:spcAft>
          <a:spcPct val="0"/>
        </a:spcAft>
        <a:defRPr sz="3200">
          <a:solidFill>
            <a:srgbClr val="005B99"/>
          </a:solidFill>
          <a:latin typeface="Gill Sans MT Light" pitchFamily="34" charset="0"/>
        </a:defRPr>
      </a:lvl2pPr>
      <a:lvl3pPr algn="l" rtl="0" eaLnBrk="0" fontAlgn="base" hangingPunct="0">
        <a:spcBef>
          <a:spcPct val="0"/>
        </a:spcBef>
        <a:spcAft>
          <a:spcPct val="0"/>
        </a:spcAft>
        <a:defRPr sz="3200">
          <a:solidFill>
            <a:srgbClr val="005B99"/>
          </a:solidFill>
          <a:latin typeface="Gill Sans MT Light" pitchFamily="34" charset="0"/>
        </a:defRPr>
      </a:lvl3pPr>
      <a:lvl4pPr algn="l" rtl="0" eaLnBrk="0" fontAlgn="base" hangingPunct="0">
        <a:spcBef>
          <a:spcPct val="0"/>
        </a:spcBef>
        <a:spcAft>
          <a:spcPct val="0"/>
        </a:spcAft>
        <a:defRPr sz="3200">
          <a:solidFill>
            <a:srgbClr val="005B99"/>
          </a:solidFill>
          <a:latin typeface="Gill Sans MT Light" pitchFamily="34" charset="0"/>
        </a:defRPr>
      </a:lvl4pPr>
      <a:lvl5pPr algn="l" rtl="0" eaLnBrk="0" fontAlgn="base" hangingPunct="0">
        <a:spcBef>
          <a:spcPct val="0"/>
        </a:spcBef>
        <a:spcAft>
          <a:spcPct val="0"/>
        </a:spcAft>
        <a:defRPr sz="3200">
          <a:solidFill>
            <a:srgbClr val="005B99"/>
          </a:solidFill>
          <a:latin typeface="Gill Sans MT Light" pitchFamily="34" charset="0"/>
        </a:defRPr>
      </a:lvl5pPr>
      <a:lvl6pPr marL="457115" algn="l" rtl="0" eaLnBrk="0" fontAlgn="base" hangingPunct="0">
        <a:spcBef>
          <a:spcPct val="0"/>
        </a:spcBef>
        <a:spcAft>
          <a:spcPct val="0"/>
        </a:spcAft>
        <a:defRPr sz="3200">
          <a:solidFill>
            <a:srgbClr val="005B99"/>
          </a:solidFill>
          <a:latin typeface="Gill Sans MT Light" pitchFamily="34" charset="0"/>
        </a:defRPr>
      </a:lvl6pPr>
      <a:lvl7pPr marL="914226" algn="l" rtl="0" eaLnBrk="0" fontAlgn="base" hangingPunct="0">
        <a:spcBef>
          <a:spcPct val="0"/>
        </a:spcBef>
        <a:spcAft>
          <a:spcPct val="0"/>
        </a:spcAft>
        <a:defRPr sz="3200">
          <a:solidFill>
            <a:srgbClr val="005B99"/>
          </a:solidFill>
          <a:latin typeface="Gill Sans MT Light" pitchFamily="34" charset="0"/>
        </a:defRPr>
      </a:lvl7pPr>
      <a:lvl8pPr marL="1371341" algn="l" rtl="0" eaLnBrk="0" fontAlgn="base" hangingPunct="0">
        <a:spcBef>
          <a:spcPct val="0"/>
        </a:spcBef>
        <a:spcAft>
          <a:spcPct val="0"/>
        </a:spcAft>
        <a:defRPr sz="3200">
          <a:solidFill>
            <a:srgbClr val="005B99"/>
          </a:solidFill>
          <a:latin typeface="Gill Sans MT Light" pitchFamily="34" charset="0"/>
        </a:defRPr>
      </a:lvl8pPr>
      <a:lvl9pPr marL="1828454" algn="l" rtl="0" eaLnBrk="0" fontAlgn="base" hangingPunct="0">
        <a:spcBef>
          <a:spcPct val="0"/>
        </a:spcBef>
        <a:spcAft>
          <a:spcPct val="0"/>
        </a:spcAft>
        <a:defRPr sz="3200">
          <a:solidFill>
            <a:srgbClr val="005B99"/>
          </a:solidFill>
          <a:latin typeface="Gill Sans MT Light" pitchFamily="34" charset="0"/>
        </a:defRPr>
      </a:lvl9pPr>
    </p:titleStyle>
    <p:bodyStyle>
      <a:lvl1pPr marL="342836" indent="-342836" algn="l" rtl="0" fontAlgn="base">
        <a:lnSpc>
          <a:spcPct val="140000"/>
        </a:lnSpc>
        <a:spcBef>
          <a:spcPct val="0"/>
        </a:spcBef>
        <a:spcAft>
          <a:spcPct val="0"/>
        </a:spcAft>
        <a:buClr>
          <a:schemeClr val="bg2"/>
        </a:buClr>
        <a:buFont typeface="Arial" charset="0"/>
        <a:buChar char="■"/>
        <a:defRPr sz="2100">
          <a:solidFill>
            <a:schemeClr val="tx1"/>
          </a:solidFill>
          <a:latin typeface="+mn-lt"/>
          <a:ea typeface="+mn-ea"/>
          <a:cs typeface="+mn-cs"/>
        </a:defRPr>
      </a:lvl1pPr>
      <a:lvl2pPr marL="742810" indent="-285699" algn="l" rtl="0" fontAlgn="base">
        <a:lnSpc>
          <a:spcPct val="140000"/>
        </a:lnSpc>
        <a:spcBef>
          <a:spcPct val="0"/>
        </a:spcBef>
        <a:spcAft>
          <a:spcPct val="0"/>
        </a:spcAft>
        <a:buClr>
          <a:schemeClr val="bg2"/>
        </a:buClr>
        <a:buSzPct val="70000"/>
        <a:buFont typeface="Arial" charset="0"/>
        <a:buChar char="■"/>
        <a:defRPr sz="2100">
          <a:solidFill>
            <a:schemeClr val="tx1"/>
          </a:solidFill>
          <a:latin typeface="+mn-lt"/>
        </a:defRPr>
      </a:lvl2pPr>
      <a:lvl3pPr marL="1142784" indent="-228556" algn="l" rtl="0" fontAlgn="base">
        <a:lnSpc>
          <a:spcPct val="140000"/>
        </a:lnSpc>
        <a:spcBef>
          <a:spcPct val="0"/>
        </a:spcBef>
        <a:spcAft>
          <a:spcPct val="0"/>
        </a:spcAft>
        <a:buClr>
          <a:schemeClr val="bg2"/>
        </a:buClr>
        <a:buSzPct val="70000"/>
        <a:buFont typeface="Arial" charset="0"/>
        <a:buChar char="■"/>
        <a:defRPr sz="2100">
          <a:solidFill>
            <a:schemeClr val="tx1"/>
          </a:solidFill>
          <a:latin typeface="+mn-lt"/>
        </a:defRPr>
      </a:lvl3pPr>
      <a:lvl4pPr marL="1599898" indent="-228556" algn="l" rtl="0" fontAlgn="base">
        <a:lnSpc>
          <a:spcPct val="140000"/>
        </a:lnSpc>
        <a:spcBef>
          <a:spcPct val="0"/>
        </a:spcBef>
        <a:spcAft>
          <a:spcPct val="0"/>
        </a:spcAft>
        <a:buClr>
          <a:schemeClr val="bg2"/>
        </a:buClr>
        <a:buSzPct val="70000"/>
        <a:buFont typeface="Arial" charset="0"/>
        <a:buChar char="■"/>
        <a:defRPr sz="2100">
          <a:solidFill>
            <a:schemeClr val="tx1"/>
          </a:solidFill>
          <a:latin typeface="+mn-lt"/>
        </a:defRPr>
      </a:lvl4pPr>
      <a:lvl5pPr marL="2057010" indent="-228556" algn="l" rtl="0" fontAlgn="base">
        <a:lnSpc>
          <a:spcPct val="140000"/>
        </a:lnSpc>
        <a:spcBef>
          <a:spcPct val="0"/>
        </a:spcBef>
        <a:spcAft>
          <a:spcPct val="0"/>
        </a:spcAft>
        <a:buClr>
          <a:schemeClr val="bg2"/>
        </a:buClr>
        <a:buSzPct val="70000"/>
        <a:buFont typeface="Arial" charset="0"/>
        <a:buChar char="■"/>
        <a:defRPr sz="2100">
          <a:solidFill>
            <a:schemeClr val="tx1"/>
          </a:solidFill>
          <a:latin typeface="+mn-lt"/>
        </a:defRPr>
      </a:lvl5pPr>
      <a:lvl6pPr marL="2514125" indent="-228556" algn="l" rtl="0" fontAlgn="base">
        <a:lnSpc>
          <a:spcPct val="140000"/>
        </a:lnSpc>
        <a:spcBef>
          <a:spcPct val="0"/>
        </a:spcBef>
        <a:spcAft>
          <a:spcPct val="0"/>
        </a:spcAft>
        <a:buClr>
          <a:schemeClr val="bg2"/>
        </a:buClr>
        <a:buSzPct val="70000"/>
        <a:buFont typeface="Arial" charset="0"/>
        <a:buChar char="■"/>
        <a:defRPr sz="2100">
          <a:solidFill>
            <a:schemeClr val="tx1"/>
          </a:solidFill>
          <a:latin typeface="+mn-lt"/>
        </a:defRPr>
      </a:lvl6pPr>
      <a:lvl7pPr marL="2971237" indent="-228556" algn="l" rtl="0" fontAlgn="base">
        <a:lnSpc>
          <a:spcPct val="140000"/>
        </a:lnSpc>
        <a:spcBef>
          <a:spcPct val="0"/>
        </a:spcBef>
        <a:spcAft>
          <a:spcPct val="0"/>
        </a:spcAft>
        <a:buClr>
          <a:schemeClr val="bg2"/>
        </a:buClr>
        <a:buSzPct val="70000"/>
        <a:buFont typeface="Arial" charset="0"/>
        <a:buChar char="■"/>
        <a:defRPr sz="2100">
          <a:solidFill>
            <a:schemeClr val="tx1"/>
          </a:solidFill>
          <a:latin typeface="+mn-lt"/>
        </a:defRPr>
      </a:lvl7pPr>
      <a:lvl8pPr marL="3428352" indent="-228556" algn="l" rtl="0" fontAlgn="base">
        <a:lnSpc>
          <a:spcPct val="140000"/>
        </a:lnSpc>
        <a:spcBef>
          <a:spcPct val="0"/>
        </a:spcBef>
        <a:spcAft>
          <a:spcPct val="0"/>
        </a:spcAft>
        <a:buClr>
          <a:schemeClr val="bg2"/>
        </a:buClr>
        <a:buSzPct val="70000"/>
        <a:buFont typeface="Arial" charset="0"/>
        <a:buChar char="■"/>
        <a:defRPr sz="2100">
          <a:solidFill>
            <a:schemeClr val="tx1"/>
          </a:solidFill>
          <a:latin typeface="+mn-lt"/>
        </a:defRPr>
      </a:lvl8pPr>
      <a:lvl9pPr marL="3885466" indent="-228556" algn="l" rtl="0" fontAlgn="base">
        <a:lnSpc>
          <a:spcPct val="140000"/>
        </a:lnSpc>
        <a:spcBef>
          <a:spcPct val="0"/>
        </a:spcBef>
        <a:spcAft>
          <a:spcPct val="0"/>
        </a:spcAft>
        <a:buClr>
          <a:schemeClr val="bg2"/>
        </a:buClr>
        <a:buSzPct val="70000"/>
        <a:buFont typeface="Arial" charset="0"/>
        <a:buChar char="■"/>
        <a:defRPr sz="2100">
          <a:solidFill>
            <a:schemeClr val="tx1"/>
          </a:solidFill>
          <a:latin typeface="+mn-lt"/>
        </a:defRPr>
      </a:lvl9pPr>
    </p:bodyStyle>
    <p:otherStyle>
      <a:defPPr>
        <a:defRPr lang="de-DE"/>
      </a:defPPr>
      <a:lvl1pPr marL="0" algn="l" defTabSz="914226" rtl="0" eaLnBrk="1" latinLnBrk="0" hangingPunct="1">
        <a:defRPr sz="1800" kern="1200">
          <a:solidFill>
            <a:schemeClr val="tx1"/>
          </a:solidFill>
          <a:latin typeface="+mn-lt"/>
          <a:ea typeface="+mn-ea"/>
          <a:cs typeface="+mn-cs"/>
        </a:defRPr>
      </a:lvl1pPr>
      <a:lvl2pPr marL="457115" algn="l" defTabSz="914226" rtl="0" eaLnBrk="1" latinLnBrk="0" hangingPunct="1">
        <a:defRPr sz="1800" kern="1200">
          <a:solidFill>
            <a:schemeClr val="tx1"/>
          </a:solidFill>
          <a:latin typeface="+mn-lt"/>
          <a:ea typeface="+mn-ea"/>
          <a:cs typeface="+mn-cs"/>
        </a:defRPr>
      </a:lvl2pPr>
      <a:lvl3pPr marL="914226" algn="l" defTabSz="914226" rtl="0" eaLnBrk="1" latinLnBrk="0" hangingPunct="1">
        <a:defRPr sz="1800" kern="1200">
          <a:solidFill>
            <a:schemeClr val="tx1"/>
          </a:solidFill>
          <a:latin typeface="+mn-lt"/>
          <a:ea typeface="+mn-ea"/>
          <a:cs typeface="+mn-cs"/>
        </a:defRPr>
      </a:lvl3pPr>
      <a:lvl4pPr marL="1371341" algn="l" defTabSz="914226" rtl="0" eaLnBrk="1" latinLnBrk="0" hangingPunct="1">
        <a:defRPr sz="1800" kern="1200">
          <a:solidFill>
            <a:schemeClr val="tx1"/>
          </a:solidFill>
          <a:latin typeface="+mn-lt"/>
          <a:ea typeface="+mn-ea"/>
          <a:cs typeface="+mn-cs"/>
        </a:defRPr>
      </a:lvl4pPr>
      <a:lvl5pPr marL="1828454" algn="l" defTabSz="914226" rtl="0" eaLnBrk="1" latinLnBrk="0" hangingPunct="1">
        <a:defRPr sz="1800" kern="1200">
          <a:solidFill>
            <a:schemeClr val="tx1"/>
          </a:solidFill>
          <a:latin typeface="+mn-lt"/>
          <a:ea typeface="+mn-ea"/>
          <a:cs typeface="+mn-cs"/>
        </a:defRPr>
      </a:lvl5pPr>
      <a:lvl6pPr marL="2285566" algn="l" defTabSz="914226" rtl="0" eaLnBrk="1" latinLnBrk="0" hangingPunct="1">
        <a:defRPr sz="1800" kern="1200">
          <a:solidFill>
            <a:schemeClr val="tx1"/>
          </a:solidFill>
          <a:latin typeface="+mn-lt"/>
          <a:ea typeface="+mn-ea"/>
          <a:cs typeface="+mn-cs"/>
        </a:defRPr>
      </a:lvl6pPr>
      <a:lvl7pPr marL="2742681" algn="l" defTabSz="914226" rtl="0" eaLnBrk="1" latinLnBrk="0" hangingPunct="1">
        <a:defRPr sz="1800" kern="1200">
          <a:solidFill>
            <a:schemeClr val="tx1"/>
          </a:solidFill>
          <a:latin typeface="+mn-lt"/>
          <a:ea typeface="+mn-ea"/>
          <a:cs typeface="+mn-cs"/>
        </a:defRPr>
      </a:lvl7pPr>
      <a:lvl8pPr marL="3199795" algn="l" defTabSz="914226" rtl="0" eaLnBrk="1" latinLnBrk="0" hangingPunct="1">
        <a:defRPr sz="1800" kern="1200">
          <a:solidFill>
            <a:schemeClr val="tx1"/>
          </a:solidFill>
          <a:latin typeface="+mn-lt"/>
          <a:ea typeface="+mn-ea"/>
          <a:cs typeface="+mn-cs"/>
        </a:defRPr>
      </a:lvl8pPr>
      <a:lvl9pPr marL="3656908" algn="l" defTabSz="914226"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355600" y="654050"/>
            <a:ext cx="6837363" cy="993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t" anchorCtr="0" compatLnSpc="1">
            <a:prstTxWarp prst="textNoShape">
              <a:avLst/>
            </a:prstTxWarp>
            <a:spAutoFit/>
          </a:bodyPr>
          <a:lstStyle/>
          <a:p>
            <a:pPr lvl="0"/>
            <a:r>
              <a:rPr lang="de-DE"/>
              <a:t>Titelmasterformat durch Klicken bearbeiten</a:t>
            </a:r>
          </a:p>
        </p:txBody>
      </p:sp>
      <p:sp>
        <p:nvSpPr>
          <p:cNvPr id="3075" name="Rectangle 3"/>
          <p:cNvSpPr>
            <a:spLocks noGrp="1" noChangeArrowheads="1"/>
          </p:cNvSpPr>
          <p:nvPr>
            <p:ph type="body" idx="1"/>
          </p:nvPr>
        </p:nvSpPr>
        <p:spPr bwMode="auto">
          <a:xfrm>
            <a:off x="368300" y="1993900"/>
            <a:ext cx="6837363" cy="4510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3083" name="Text Box 11"/>
          <p:cNvSpPr txBox="1">
            <a:spLocks noChangeArrowheads="1"/>
          </p:cNvSpPr>
          <p:nvPr/>
        </p:nvSpPr>
        <p:spPr bwMode="auto">
          <a:xfrm>
            <a:off x="8459788" y="6165850"/>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a:lstStyle/>
          <a:p>
            <a:pPr algn="ctr">
              <a:spcBef>
                <a:spcPct val="50000"/>
              </a:spcBef>
            </a:pPr>
            <a:fld id="{5B699B80-ECA6-40A2-96F2-691E817FB89F}" type="slidenum">
              <a:rPr lang="de-DE" sz="1300">
                <a:solidFill>
                  <a:srgbClr val="000000"/>
                </a:solidFill>
              </a:rPr>
              <a:pPr algn="ctr">
                <a:spcBef>
                  <a:spcPct val="50000"/>
                </a:spcBef>
              </a:pPr>
              <a:t>‹Nr.›</a:t>
            </a:fld>
            <a:endParaRPr lang="de-DE" sz="1300" dirty="0">
              <a:solidFill>
                <a:srgbClr val="000000"/>
              </a:solidFill>
            </a:endParaRPr>
          </a:p>
        </p:txBody>
      </p:sp>
      <p:pic>
        <p:nvPicPr>
          <p:cNvPr id="3088" name="Picture 16" descr="versuch_4C_AI3"/>
          <p:cNvPicPr>
            <a:picLocks noChangeAspect="1" noChangeArrowheads="1"/>
          </p:cNvPicPr>
          <p:nvPr/>
        </p:nvPicPr>
        <p:blipFill>
          <a:blip r:embed="rId13" cstate="print">
            <a:extLst>
              <a:ext uri="{28A0092B-C50C-407E-A947-70E740481C1C}">
                <a14:useLocalDpi xmlns:a14="http://schemas.microsoft.com/office/drawing/2010/main" val="0"/>
              </a:ext>
            </a:extLst>
          </a:blip>
          <a:srcRect r="35635"/>
          <a:stretch>
            <a:fillRect/>
          </a:stretch>
        </p:blipFill>
        <p:spPr bwMode="auto">
          <a:xfrm>
            <a:off x="7950200" y="209550"/>
            <a:ext cx="1123950" cy="11477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6452783"/>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Lst>
  <p:txStyles>
    <p:titleStyle>
      <a:lvl1pPr algn="l" rtl="0" eaLnBrk="1" fontAlgn="base" hangingPunct="1">
        <a:lnSpc>
          <a:spcPct val="105000"/>
        </a:lnSpc>
        <a:spcBef>
          <a:spcPct val="0"/>
        </a:spcBef>
        <a:spcAft>
          <a:spcPct val="0"/>
        </a:spcAft>
        <a:defRPr sz="3100">
          <a:solidFill>
            <a:srgbClr val="005B99"/>
          </a:solidFill>
          <a:latin typeface="+mj-lt"/>
          <a:ea typeface="+mj-ea"/>
          <a:cs typeface="+mj-cs"/>
        </a:defRPr>
      </a:lvl1pPr>
      <a:lvl2pPr algn="l" rtl="0" eaLnBrk="1" fontAlgn="base" hangingPunct="1">
        <a:lnSpc>
          <a:spcPct val="105000"/>
        </a:lnSpc>
        <a:spcBef>
          <a:spcPct val="0"/>
        </a:spcBef>
        <a:spcAft>
          <a:spcPct val="0"/>
        </a:spcAft>
        <a:defRPr sz="3100">
          <a:solidFill>
            <a:srgbClr val="005B99"/>
          </a:solidFill>
          <a:latin typeface="Gill Sans MT Light" pitchFamily="34" charset="0"/>
        </a:defRPr>
      </a:lvl2pPr>
      <a:lvl3pPr algn="l" rtl="0" eaLnBrk="1" fontAlgn="base" hangingPunct="1">
        <a:lnSpc>
          <a:spcPct val="105000"/>
        </a:lnSpc>
        <a:spcBef>
          <a:spcPct val="0"/>
        </a:spcBef>
        <a:spcAft>
          <a:spcPct val="0"/>
        </a:spcAft>
        <a:defRPr sz="3100">
          <a:solidFill>
            <a:srgbClr val="005B99"/>
          </a:solidFill>
          <a:latin typeface="Gill Sans MT Light" pitchFamily="34" charset="0"/>
        </a:defRPr>
      </a:lvl3pPr>
      <a:lvl4pPr algn="l" rtl="0" eaLnBrk="1" fontAlgn="base" hangingPunct="1">
        <a:lnSpc>
          <a:spcPct val="105000"/>
        </a:lnSpc>
        <a:spcBef>
          <a:spcPct val="0"/>
        </a:spcBef>
        <a:spcAft>
          <a:spcPct val="0"/>
        </a:spcAft>
        <a:defRPr sz="3100">
          <a:solidFill>
            <a:srgbClr val="005B99"/>
          </a:solidFill>
          <a:latin typeface="Gill Sans MT Light" pitchFamily="34" charset="0"/>
        </a:defRPr>
      </a:lvl4pPr>
      <a:lvl5pPr algn="l" rtl="0" eaLnBrk="1" fontAlgn="base" hangingPunct="1">
        <a:lnSpc>
          <a:spcPct val="105000"/>
        </a:lnSpc>
        <a:spcBef>
          <a:spcPct val="0"/>
        </a:spcBef>
        <a:spcAft>
          <a:spcPct val="0"/>
        </a:spcAft>
        <a:defRPr sz="3100">
          <a:solidFill>
            <a:srgbClr val="005B99"/>
          </a:solidFill>
          <a:latin typeface="Gill Sans MT Light" pitchFamily="34" charset="0"/>
        </a:defRPr>
      </a:lvl5pPr>
      <a:lvl6pPr marL="457200" algn="l" rtl="0" eaLnBrk="1" fontAlgn="base" hangingPunct="1">
        <a:lnSpc>
          <a:spcPct val="105000"/>
        </a:lnSpc>
        <a:spcBef>
          <a:spcPct val="0"/>
        </a:spcBef>
        <a:spcAft>
          <a:spcPct val="0"/>
        </a:spcAft>
        <a:defRPr sz="3100">
          <a:solidFill>
            <a:srgbClr val="005B99"/>
          </a:solidFill>
          <a:latin typeface="Gill Sans MT Light" pitchFamily="34" charset="0"/>
        </a:defRPr>
      </a:lvl6pPr>
      <a:lvl7pPr marL="914400" algn="l" rtl="0" eaLnBrk="1" fontAlgn="base" hangingPunct="1">
        <a:lnSpc>
          <a:spcPct val="105000"/>
        </a:lnSpc>
        <a:spcBef>
          <a:spcPct val="0"/>
        </a:spcBef>
        <a:spcAft>
          <a:spcPct val="0"/>
        </a:spcAft>
        <a:defRPr sz="3100">
          <a:solidFill>
            <a:srgbClr val="005B99"/>
          </a:solidFill>
          <a:latin typeface="Gill Sans MT Light" pitchFamily="34" charset="0"/>
        </a:defRPr>
      </a:lvl7pPr>
      <a:lvl8pPr marL="1371600" algn="l" rtl="0" eaLnBrk="1" fontAlgn="base" hangingPunct="1">
        <a:lnSpc>
          <a:spcPct val="105000"/>
        </a:lnSpc>
        <a:spcBef>
          <a:spcPct val="0"/>
        </a:spcBef>
        <a:spcAft>
          <a:spcPct val="0"/>
        </a:spcAft>
        <a:defRPr sz="3100">
          <a:solidFill>
            <a:srgbClr val="005B99"/>
          </a:solidFill>
          <a:latin typeface="Gill Sans MT Light" pitchFamily="34" charset="0"/>
        </a:defRPr>
      </a:lvl8pPr>
      <a:lvl9pPr marL="1828800" algn="l" rtl="0" eaLnBrk="1" fontAlgn="base" hangingPunct="1">
        <a:lnSpc>
          <a:spcPct val="105000"/>
        </a:lnSpc>
        <a:spcBef>
          <a:spcPct val="0"/>
        </a:spcBef>
        <a:spcAft>
          <a:spcPct val="0"/>
        </a:spcAft>
        <a:defRPr sz="3100">
          <a:solidFill>
            <a:srgbClr val="005B99"/>
          </a:solidFill>
          <a:latin typeface="Gill Sans MT Light" pitchFamily="34" charset="0"/>
        </a:defRPr>
      </a:lvl9pPr>
    </p:titleStyle>
    <p:bodyStyle>
      <a:lvl1pPr marL="261938" indent="-261938" algn="l" rtl="0" eaLnBrk="1" fontAlgn="base" hangingPunct="1">
        <a:lnSpc>
          <a:spcPct val="140000"/>
        </a:lnSpc>
        <a:spcBef>
          <a:spcPct val="0"/>
        </a:spcBef>
        <a:spcAft>
          <a:spcPct val="0"/>
        </a:spcAft>
        <a:buClr>
          <a:srgbClr val="7A929D"/>
        </a:buClr>
        <a:buFont typeface="Arial" charset="0"/>
        <a:buChar char="■"/>
        <a:defRPr sz="2100">
          <a:solidFill>
            <a:schemeClr val="tx1"/>
          </a:solidFill>
          <a:latin typeface="+mn-lt"/>
          <a:ea typeface="+mn-ea"/>
          <a:cs typeface="+mn-cs"/>
        </a:defRPr>
      </a:lvl1pPr>
      <a:lvl2pPr marL="623888" indent="-182563" algn="l" rtl="0" eaLnBrk="1" fontAlgn="base" hangingPunct="1">
        <a:lnSpc>
          <a:spcPct val="140000"/>
        </a:lnSpc>
        <a:spcBef>
          <a:spcPct val="0"/>
        </a:spcBef>
        <a:spcAft>
          <a:spcPct val="0"/>
        </a:spcAft>
        <a:buClr>
          <a:srgbClr val="7A929D"/>
        </a:buClr>
        <a:buSzPct val="70000"/>
        <a:buFont typeface="Arial" charset="0"/>
        <a:buChar char="■"/>
        <a:defRPr sz="2100">
          <a:solidFill>
            <a:schemeClr val="tx1"/>
          </a:solidFill>
          <a:latin typeface="+mn-lt"/>
        </a:defRPr>
      </a:lvl2pPr>
      <a:lvl3pPr marL="1074738" indent="-160338" algn="l" rtl="0" eaLnBrk="1" fontAlgn="base" hangingPunct="1">
        <a:lnSpc>
          <a:spcPct val="140000"/>
        </a:lnSpc>
        <a:spcBef>
          <a:spcPct val="0"/>
        </a:spcBef>
        <a:spcAft>
          <a:spcPct val="0"/>
        </a:spcAft>
        <a:buClr>
          <a:srgbClr val="7A929D"/>
        </a:buClr>
        <a:buSzPct val="70000"/>
        <a:buFont typeface="Arial" charset="0"/>
        <a:buChar char="■"/>
        <a:defRPr sz="2100">
          <a:solidFill>
            <a:schemeClr val="tx1"/>
          </a:solidFill>
          <a:latin typeface="+mn-lt"/>
        </a:defRPr>
      </a:lvl3pPr>
      <a:lvl4pPr marL="1600200" indent="-228600" algn="l" rtl="0" eaLnBrk="1" fontAlgn="base" hangingPunct="1">
        <a:lnSpc>
          <a:spcPct val="140000"/>
        </a:lnSpc>
        <a:spcBef>
          <a:spcPct val="0"/>
        </a:spcBef>
        <a:spcAft>
          <a:spcPct val="0"/>
        </a:spcAft>
        <a:buClr>
          <a:srgbClr val="7A929D"/>
        </a:buClr>
        <a:buSzPct val="70000"/>
        <a:buFont typeface="Arial" charset="0"/>
        <a:buChar char="■"/>
        <a:defRPr sz="2100">
          <a:solidFill>
            <a:schemeClr val="tx1"/>
          </a:solidFill>
          <a:latin typeface="+mn-lt"/>
        </a:defRPr>
      </a:lvl4pPr>
      <a:lvl5pPr marL="2057400" indent="-228600" algn="l" rtl="0" eaLnBrk="1" fontAlgn="base" hangingPunct="1">
        <a:lnSpc>
          <a:spcPct val="140000"/>
        </a:lnSpc>
        <a:spcBef>
          <a:spcPct val="0"/>
        </a:spcBef>
        <a:spcAft>
          <a:spcPct val="0"/>
        </a:spcAft>
        <a:buClr>
          <a:srgbClr val="7A929D"/>
        </a:buClr>
        <a:buSzPct val="70000"/>
        <a:buFont typeface="Arial" charset="0"/>
        <a:buChar char="■"/>
        <a:defRPr sz="2100">
          <a:solidFill>
            <a:schemeClr val="tx1"/>
          </a:solidFill>
          <a:latin typeface="+mn-lt"/>
        </a:defRPr>
      </a:lvl5pPr>
      <a:lvl6pPr marL="2514600" indent="-228600" algn="l" rtl="0" eaLnBrk="1" fontAlgn="base" hangingPunct="1">
        <a:lnSpc>
          <a:spcPct val="140000"/>
        </a:lnSpc>
        <a:spcBef>
          <a:spcPct val="0"/>
        </a:spcBef>
        <a:spcAft>
          <a:spcPct val="0"/>
        </a:spcAft>
        <a:buClr>
          <a:srgbClr val="7A929D"/>
        </a:buClr>
        <a:buSzPct val="70000"/>
        <a:buFont typeface="Arial" charset="0"/>
        <a:buChar char="■"/>
        <a:defRPr sz="2100">
          <a:solidFill>
            <a:schemeClr val="tx1"/>
          </a:solidFill>
          <a:latin typeface="+mn-lt"/>
        </a:defRPr>
      </a:lvl6pPr>
      <a:lvl7pPr marL="2971800" indent="-228600" algn="l" rtl="0" eaLnBrk="1" fontAlgn="base" hangingPunct="1">
        <a:lnSpc>
          <a:spcPct val="140000"/>
        </a:lnSpc>
        <a:spcBef>
          <a:spcPct val="0"/>
        </a:spcBef>
        <a:spcAft>
          <a:spcPct val="0"/>
        </a:spcAft>
        <a:buClr>
          <a:srgbClr val="7A929D"/>
        </a:buClr>
        <a:buSzPct val="70000"/>
        <a:buFont typeface="Arial" charset="0"/>
        <a:buChar char="■"/>
        <a:defRPr sz="2100">
          <a:solidFill>
            <a:schemeClr val="tx1"/>
          </a:solidFill>
          <a:latin typeface="+mn-lt"/>
        </a:defRPr>
      </a:lvl7pPr>
      <a:lvl8pPr marL="3429000" indent="-228600" algn="l" rtl="0" eaLnBrk="1" fontAlgn="base" hangingPunct="1">
        <a:lnSpc>
          <a:spcPct val="140000"/>
        </a:lnSpc>
        <a:spcBef>
          <a:spcPct val="0"/>
        </a:spcBef>
        <a:spcAft>
          <a:spcPct val="0"/>
        </a:spcAft>
        <a:buClr>
          <a:srgbClr val="7A929D"/>
        </a:buClr>
        <a:buSzPct val="70000"/>
        <a:buFont typeface="Arial" charset="0"/>
        <a:buChar char="■"/>
        <a:defRPr sz="2100">
          <a:solidFill>
            <a:schemeClr val="tx1"/>
          </a:solidFill>
          <a:latin typeface="+mn-lt"/>
        </a:defRPr>
      </a:lvl8pPr>
      <a:lvl9pPr marL="3886200" indent="-228600" algn="l" rtl="0" eaLnBrk="1" fontAlgn="base" hangingPunct="1">
        <a:lnSpc>
          <a:spcPct val="140000"/>
        </a:lnSpc>
        <a:spcBef>
          <a:spcPct val="0"/>
        </a:spcBef>
        <a:spcAft>
          <a:spcPct val="0"/>
        </a:spcAft>
        <a:buClr>
          <a:srgbClr val="7A929D"/>
        </a:buClr>
        <a:buSzPct val="70000"/>
        <a:buFont typeface="Arial" charset="0"/>
        <a:buChar char="■"/>
        <a:defRPr sz="21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5600" y="654050"/>
            <a:ext cx="6837363" cy="993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t" anchorCtr="0" compatLnSpc="1">
            <a:prstTxWarp prst="textNoShape">
              <a:avLst/>
            </a:prstTxWarp>
            <a:spAutoFit/>
          </a:bodyPr>
          <a:lstStyle/>
          <a:p>
            <a:pPr lvl="0"/>
            <a:r>
              <a:rPr lang="de-DE"/>
              <a:t>Titelmasterformat durch Klicken bearbeiten</a:t>
            </a:r>
          </a:p>
        </p:txBody>
      </p:sp>
      <p:sp>
        <p:nvSpPr>
          <p:cNvPr id="1027" name="Rectangle 3"/>
          <p:cNvSpPr>
            <a:spLocks noGrp="1" noChangeArrowheads="1"/>
          </p:cNvSpPr>
          <p:nvPr>
            <p:ph type="body" idx="1"/>
          </p:nvPr>
        </p:nvSpPr>
        <p:spPr bwMode="auto">
          <a:xfrm>
            <a:off x="368300" y="1993900"/>
            <a:ext cx="6837363" cy="4510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1028" name="Text Box 11"/>
          <p:cNvSpPr txBox="1">
            <a:spLocks noChangeArrowheads="1"/>
          </p:cNvSpPr>
          <p:nvPr/>
        </p:nvSpPr>
        <p:spPr bwMode="auto">
          <a:xfrm>
            <a:off x="8459788" y="6165850"/>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531D17FD-01BB-4DB3-B3D1-3D964115E755}" type="slidenum">
              <a:rPr lang="de-DE" sz="1300" smtClean="0">
                <a:solidFill>
                  <a:srgbClr val="000000"/>
                </a:solidFill>
              </a:rPr>
              <a:pPr algn="ctr">
                <a:spcBef>
                  <a:spcPct val="50000"/>
                </a:spcBef>
                <a:defRPr/>
              </a:pPr>
              <a:t>‹Nr.›</a:t>
            </a:fld>
            <a:endParaRPr lang="de-DE" sz="1300" dirty="0">
              <a:solidFill>
                <a:srgbClr val="000000"/>
              </a:solidFill>
            </a:endParaRPr>
          </a:p>
        </p:txBody>
      </p:sp>
      <p:pic>
        <p:nvPicPr>
          <p:cNvPr id="1029" name="Picture 16" descr="versuch_4C_AI3"/>
          <p:cNvPicPr>
            <a:picLocks noChangeAspect="1" noChangeArrowheads="1"/>
          </p:cNvPicPr>
          <p:nvPr/>
        </p:nvPicPr>
        <p:blipFill>
          <a:blip r:embed="rId14" cstate="print">
            <a:extLst>
              <a:ext uri="{28A0092B-C50C-407E-A947-70E740481C1C}">
                <a14:useLocalDpi xmlns:a14="http://schemas.microsoft.com/office/drawing/2010/main" val="0"/>
              </a:ext>
            </a:extLst>
          </a:blip>
          <a:srcRect r="32396"/>
          <a:stretch>
            <a:fillRect/>
          </a:stretch>
        </p:blipFill>
        <p:spPr bwMode="auto">
          <a:xfrm>
            <a:off x="7902575" y="209550"/>
            <a:ext cx="1181100" cy="1147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50969259"/>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xStyles>
    <p:titleStyle>
      <a:lvl1pPr algn="l" rtl="0" eaLnBrk="0" fontAlgn="base" hangingPunct="0">
        <a:lnSpc>
          <a:spcPct val="105000"/>
        </a:lnSpc>
        <a:spcBef>
          <a:spcPct val="0"/>
        </a:spcBef>
        <a:spcAft>
          <a:spcPct val="0"/>
        </a:spcAft>
        <a:defRPr sz="3100">
          <a:solidFill>
            <a:srgbClr val="2A547E"/>
          </a:solidFill>
          <a:latin typeface="+mj-lt"/>
          <a:ea typeface="+mj-ea"/>
          <a:cs typeface="+mj-cs"/>
        </a:defRPr>
      </a:lvl1pPr>
      <a:lvl2pPr algn="l" rtl="0" eaLnBrk="0" fontAlgn="base" hangingPunct="0">
        <a:lnSpc>
          <a:spcPct val="105000"/>
        </a:lnSpc>
        <a:spcBef>
          <a:spcPct val="0"/>
        </a:spcBef>
        <a:spcAft>
          <a:spcPct val="0"/>
        </a:spcAft>
        <a:defRPr sz="3100">
          <a:solidFill>
            <a:srgbClr val="2A547E"/>
          </a:solidFill>
          <a:latin typeface="Gill Sans MT Light" pitchFamily="34" charset="0"/>
        </a:defRPr>
      </a:lvl2pPr>
      <a:lvl3pPr algn="l" rtl="0" eaLnBrk="0" fontAlgn="base" hangingPunct="0">
        <a:lnSpc>
          <a:spcPct val="105000"/>
        </a:lnSpc>
        <a:spcBef>
          <a:spcPct val="0"/>
        </a:spcBef>
        <a:spcAft>
          <a:spcPct val="0"/>
        </a:spcAft>
        <a:defRPr sz="3100">
          <a:solidFill>
            <a:srgbClr val="2A547E"/>
          </a:solidFill>
          <a:latin typeface="Gill Sans MT Light" pitchFamily="34" charset="0"/>
        </a:defRPr>
      </a:lvl3pPr>
      <a:lvl4pPr algn="l" rtl="0" eaLnBrk="0" fontAlgn="base" hangingPunct="0">
        <a:lnSpc>
          <a:spcPct val="105000"/>
        </a:lnSpc>
        <a:spcBef>
          <a:spcPct val="0"/>
        </a:spcBef>
        <a:spcAft>
          <a:spcPct val="0"/>
        </a:spcAft>
        <a:defRPr sz="3100">
          <a:solidFill>
            <a:srgbClr val="2A547E"/>
          </a:solidFill>
          <a:latin typeface="Gill Sans MT Light" pitchFamily="34" charset="0"/>
        </a:defRPr>
      </a:lvl4pPr>
      <a:lvl5pPr algn="l" rtl="0" eaLnBrk="0" fontAlgn="base" hangingPunct="0">
        <a:lnSpc>
          <a:spcPct val="105000"/>
        </a:lnSpc>
        <a:spcBef>
          <a:spcPct val="0"/>
        </a:spcBef>
        <a:spcAft>
          <a:spcPct val="0"/>
        </a:spcAft>
        <a:defRPr sz="3100">
          <a:solidFill>
            <a:srgbClr val="2A547E"/>
          </a:solidFill>
          <a:latin typeface="Gill Sans MT Light" pitchFamily="34" charset="0"/>
        </a:defRPr>
      </a:lvl5pPr>
      <a:lvl6pPr marL="457200" algn="l" rtl="0" fontAlgn="base">
        <a:lnSpc>
          <a:spcPct val="105000"/>
        </a:lnSpc>
        <a:spcBef>
          <a:spcPct val="0"/>
        </a:spcBef>
        <a:spcAft>
          <a:spcPct val="0"/>
        </a:spcAft>
        <a:defRPr sz="3100">
          <a:solidFill>
            <a:srgbClr val="2A547E"/>
          </a:solidFill>
          <a:latin typeface="Gill Sans MT Light" pitchFamily="34" charset="0"/>
        </a:defRPr>
      </a:lvl6pPr>
      <a:lvl7pPr marL="914400" algn="l" rtl="0" fontAlgn="base">
        <a:lnSpc>
          <a:spcPct val="105000"/>
        </a:lnSpc>
        <a:spcBef>
          <a:spcPct val="0"/>
        </a:spcBef>
        <a:spcAft>
          <a:spcPct val="0"/>
        </a:spcAft>
        <a:defRPr sz="3100">
          <a:solidFill>
            <a:srgbClr val="2A547E"/>
          </a:solidFill>
          <a:latin typeface="Gill Sans MT Light" pitchFamily="34" charset="0"/>
        </a:defRPr>
      </a:lvl7pPr>
      <a:lvl8pPr marL="1371600" algn="l" rtl="0" fontAlgn="base">
        <a:lnSpc>
          <a:spcPct val="105000"/>
        </a:lnSpc>
        <a:spcBef>
          <a:spcPct val="0"/>
        </a:spcBef>
        <a:spcAft>
          <a:spcPct val="0"/>
        </a:spcAft>
        <a:defRPr sz="3100">
          <a:solidFill>
            <a:srgbClr val="2A547E"/>
          </a:solidFill>
          <a:latin typeface="Gill Sans MT Light" pitchFamily="34" charset="0"/>
        </a:defRPr>
      </a:lvl8pPr>
      <a:lvl9pPr marL="1828800" algn="l" rtl="0" fontAlgn="base">
        <a:lnSpc>
          <a:spcPct val="105000"/>
        </a:lnSpc>
        <a:spcBef>
          <a:spcPct val="0"/>
        </a:spcBef>
        <a:spcAft>
          <a:spcPct val="0"/>
        </a:spcAft>
        <a:defRPr sz="3100">
          <a:solidFill>
            <a:srgbClr val="2A547E"/>
          </a:solidFill>
          <a:latin typeface="Gill Sans MT Light" pitchFamily="34" charset="0"/>
        </a:defRPr>
      </a:lvl9pPr>
    </p:titleStyle>
    <p:bodyStyle>
      <a:lvl1pPr marL="261938" indent="-261938" algn="l" rtl="0" eaLnBrk="0" fontAlgn="base" hangingPunct="0">
        <a:lnSpc>
          <a:spcPct val="140000"/>
        </a:lnSpc>
        <a:spcBef>
          <a:spcPct val="0"/>
        </a:spcBef>
        <a:spcAft>
          <a:spcPct val="0"/>
        </a:spcAft>
        <a:buClr>
          <a:srgbClr val="7A929D"/>
        </a:buClr>
        <a:buFont typeface="Arial" charset="0"/>
        <a:buChar char="■"/>
        <a:defRPr sz="2100">
          <a:solidFill>
            <a:schemeClr val="tx1"/>
          </a:solidFill>
          <a:latin typeface="+mn-lt"/>
          <a:ea typeface="+mn-ea"/>
          <a:cs typeface="+mn-cs"/>
        </a:defRPr>
      </a:lvl1pPr>
      <a:lvl2pPr marL="623888" indent="-182563" algn="l" rtl="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mn-lt"/>
        </a:defRPr>
      </a:lvl2pPr>
      <a:lvl3pPr marL="1074738" indent="-160338" algn="l" rtl="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mn-lt"/>
        </a:defRPr>
      </a:lvl3pPr>
      <a:lvl4pPr marL="1600200" indent="-228600" algn="l" rtl="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mn-lt"/>
        </a:defRPr>
      </a:lvl4pPr>
      <a:lvl5pPr marL="2057400" indent="-228600" algn="l" rtl="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mn-lt"/>
        </a:defRPr>
      </a:lvl5pPr>
      <a:lvl6pPr marL="2514600" indent="-228600" algn="l" rtl="0" fontAlgn="base">
        <a:lnSpc>
          <a:spcPct val="140000"/>
        </a:lnSpc>
        <a:spcBef>
          <a:spcPct val="0"/>
        </a:spcBef>
        <a:spcAft>
          <a:spcPct val="0"/>
        </a:spcAft>
        <a:buClr>
          <a:srgbClr val="7A929D"/>
        </a:buClr>
        <a:buSzPct val="70000"/>
        <a:buFont typeface="Arial" charset="0"/>
        <a:buChar char="■"/>
        <a:defRPr sz="2100">
          <a:solidFill>
            <a:schemeClr val="tx1"/>
          </a:solidFill>
          <a:latin typeface="+mn-lt"/>
        </a:defRPr>
      </a:lvl6pPr>
      <a:lvl7pPr marL="2971800" indent="-228600" algn="l" rtl="0" fontAlgn="base">
        <a:lnSpc>
          <a:spcPct val="140000"/>
        </a:lnSpc>
        <a:spcBef>
          <a:spcPct val="0"/>
        </a:spcBef>
        <a:spcAft>
          <a:spcPct val="0"/>
        </a:spcAft>
        <a:buClr>
          <a:srgbClr val="7A929D"/>
        </a:buClr>
        <a:buSzPct val="70000"/>
        <a:buFont typeface="Arial" charset="0"/>
        <a:buChar char="■"/>
        <a:defRPr sz="2100">
          <a:solidFill>
            <a:schemeClr val="tx1"/>
          </a:solidFill>
          <a:latin typeface="+mn-lt"/>
        </a:defRPr>
      </a:lvl7pPr>
      <a:lvl8pPr marL="3429000" indent="-228600" algn="l" rtl="0" fontAlgn="base">
        <a:lnSpc>
          <a:spcPct val="140000"/>
        </a:lnSpc>
        <a:spcBef>
          <a:spcPct val="0"/>
        </a:spcBef>
        <a:spcAft>
          <a:spcPct val="0"/>
        </a:spcAft>
        <a:buClr>
          <a:srgbClr val="7A929D"/>
        </a:buClr>
        <a:buSzPct val="70000"/>
        <a:buFont typeface="Arial" charset="0"/>
        <a:buChar char="■"/>
        <a:defRPr sz="2100">
          <a:solidFill>
            <a:schemeClr val="tx1"/>
          </a:solidFill>
          <a:latin typeface="+mn-lt"/>
        </a:defRPr>
      </a:lvl8pPr>
      <a:lvl9pPr marL="3886200" indent="-228600" algn="l" rtl="0" fontAlgn="base">
        <a:lnSpc>
          <a:spcPct val="140000"/>
        </a:lnSpc>
        <a:spcBef>
          <a:spcPct val="0"/>
        </a:spcBef>
        <a:spcAft>
          <a:spcPct val="0"/>
        </a:spcAft>
        <a:buClr>
          <a:srgbClr val="7A929D"/>
        </a:buClr>
        <a:buSzPct val="70000"/>
        <a:buFont typeface="Arial" charset="0"/>
        <a:buChar char="■"/>
        <a:defRPr sz="21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5600" y="654050"/>
            <a:ext cx="6837363" cy="993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0" rIns="91440" bIns="0" numCol="1" anchor="t" anchorCtr="0" compatLnSpc="1">
            <a:prstTxWarp prst="textNoShape">
              <a:avLst/>
            </a:prstTxWarp>
            <a:spAutoFit/>
          </a:bodyPr>
          <a:lstStyle/>
          <a:p>
            <a:pPr lvl="0"/>
            <a:r>
              <a:rPr lang="de-DE"/>
              <a:t>Titelmasterformat durch Klicken bearbeiten</a:t>
            </a:r>
          </a:p>
        </p:txBody>
      </p:sp>
      <p:sp>
        <p:nvSpPr>
          <p:cNvPr id="1027" name="Rectangle 3"/>
          <p:cNvSpPr>
            <a:spLocks noGrp="1" noChangeArrowheads="1"/>
          </p:cNvSpPr>
          <p:nvPr>
            <p:ph type="body" idx="1"/>
          </p:nvPr>
        </p:nvSpPr>
        <p:spPr bwMode="auto">
          <a:xfrm>
            <a:off x="368300" y="1993900"/>
            <a:ext cx="6837363" cy="4510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1028" name="Text Box 11"/>
          <p:cNvSpPr txBox="1">
            <a:spLocks noChangeArrowheads="1"/>
          </p:cNvSpPr>
          <p:nvPr/>
        </p:nvSpPr>
        <p:spPr bwMode="auto">
          <a:xfrm>
            <a:off x="8459788" y="6165850"/>
            <a:ext cx="360362" cy="360363"/>
          </a:xfrm>
          <a:prstGeom prst="rect">
            <a:avLst/>
          </a:prstGeom>
          <a:solidFill>
            <a:schemeClr val="bg1"/>
          </a:solidFill>
          <a:ln w="9525">
            <a:solidFill>
              <a:schemeClr val="bg2"/>
            </a:solidFill>
            <a:miter lim="800000"/>
            <a:headEnd/>
            <a:tailEnd/>
          </a:ln>
          <a:effectLst>
            <a:outerShdw dist="35921" dir="2700000" algn="ctr" rotWithShape="0">
              <a:schemeClr val="bg2"/>
            </a:outerShdw>
          </a:effectLst>
        </p:spPr>
        <p:txBody>
          <a:bodyPr/>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lgn="ctr">
              <a:spcBef>
                <a:spcPct val="50000"/>
              </a:spcBef>
              <a:defRPr/>
            </a:pPr>
            <a:fld id="{531D17FD-01BB-4DB3-B3D1-3D964115E755}" type="slidenum">
              <a:rPr lang="de-DE" sz="1300" smtClean="0"/>
              <a:pPr algn="ctr">
                <a:spcBef>
                  <a:spcPct val="50000"/>
                </a:spcBef>
                <a:defRPr/>
              </a:pPr>
              <a:t>‹Nr.›</a:t>
            </a:fld>
            <a:endParaRPr lang="de-DE" sz="1300" dirty="0"/>
          </a:p>
        </p:txBody>
      </p:sp>
      <p:pic>
        <p:nvPicPr>
          <p:cNvPr id="1029" name="Picture 16" descr="versuch_4C_AI3"/>
          <p:cNvPicPr>
            <a:picLocks noChangeAspect="1" noChangeArrowheads="1"/>
          </p:cNvPicPr>
          <p:nvPr/>
        </p:nvPicPr>
        <p:blipFill>
          <a:blip r:embed="rId14">
            <a:extLst>
              <a:ext uri="{28A0092B-C50C-407E-A947-70E740481C1C}">
                <a14:useLocalDpi xmlns:a14="http://schemas.microsoft.com/office/drawing/2010/main" val="0"/>
              </a:ext>
            </a:extLst>
          </a:blip>
          <a:srcRect r="32396"/>
          <a:stretch>
            <a:fillRect/>
          </a:stretch>
        </p:blipFill>
        <p:spPr bwMode="auto">
          <a:xfrm>
            <a:off x="7902575" y="209550"/>
            <a:ext cx="1181100" cy="1147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97213370"/>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Lst>
  <p:txStyles>
    <p:titleStyle>
      <a:lvl1pPr algn="l" rtl="0" eaLnBrk="0" fontAlgn="base" hangingPunct="0">
        <a:lnSpc>
          <a:spcPct val="105000"/>
        </a:lnSpc>
        <a:spcBef>
          <a:spcPct val="0"/>
        </a:spcBef>
        <a:spcAft>
          <a:spcPct val="0"/>
        </a:spcAft>
        <a:defRPr sz="3100">
          <a:solidFill>
            <a:srgbClr val="2A547E"/>
          </a:solidFill>
          <a:latin typeface="+mj-lt"/>
          <a:ea typeface="+mj-ea"/>
          <a:cs typeface="+mj-cs"/>
        </a:defRPr>
      </a:lvl1pPr>
      <a:lvl2pPr algn="l" rtl="0" eaLnBrk="0" fontAlgn="base" hangingPunct="0">
        <a:lnSpc>
          <a:spcPct val="105000"/>
        </a:lnSpc>
        <a:spcBef>
          <a:spcPct val="0"/>
        </a:spcBef>
        <a:spcAft>
          <a:spcPct val="0"/>
        </a:spcAft>
        <a:defRPr sz="3100">
          <a:solidFill>
            <a:srgbClr val="2A547E"/>
          </a:solidFill>
          <a:latin typeface="Gill Sans MT Light" pitchFamily="34" charset="0"/>
        </a:defRPr>
      </a:lvl2pPr>
      <a:lvl3pPr algn="l" rtl="0" eaLnBrk="0" fontAlgn="base" hangingPunct="0">
        <a:lnSpc>
          <a:spcPct val="105000"/>
        </a:lnSpc>
        <a:spcBef>
          <a:spcPct val="0"/>
        </a:spcBef>
        <a:spcAft>
          <a:spcPct val="0"/>
        </a:spcAft>
        <a:defRPr sz="3100">
          <a:solidFill>
            <a:srgbClr val="2A547E"/>
          </a:solidFill>
          <a:latin typeface="Gill Sans MT Light" pitchFamily="34" charset="0"/>
        </a:defRPr>
      </a:lvl3pPr>
      <a:lvl4pPr algn="l" rtl="0" eaLnBrk="0" fontAlgn="base" hangingPunct="0">
        <a:lnSpc>
          <a:spcPct val="105000"/>
        </a:lnSpc>
        <a:spcBef>
          <a:spcPct val="0"/>
        </a:spcBef>
        <a:spcAft>
          <a:spcPct val="0"/>
        </a:spcAft>
        <a:defRPr sz="3100">
          <a:solidFill>
            <a:srgbClr val="2A547E"/>
          </a:solidFill>
          <a:latin typeface="Gill Sans MT Light" pitchFamily="34" charset="0"/>
        </a:defRPr>
      </a:lvl4pPr>
      <a:lvl5pPr algn="l" rtl="0" eaLnBrk="0" fontAlgn="base" hangingPunct="0">
        <a:lnSpc>
          <a:spcPct val="105000"/>
        </a:lnSpc>
        <a:spcBef>
          <a:spcPct val="0"/>
        </a:spcBef>
        <a:spcAft>
          <a:spcPct val="0"/>
        </a:spcAft>
        <a:defRPr sz="3100">
          <a:solidFill>
            <a:srgbClr val="2A547E"/>
          </a:solidFill>
          <a:latin typeface="Gill Sans MT Light" pitchFamily="34" charset="0"/>
        </a:defRPr>
      </a:lvl5pPr>
      <a:lvl6pPr marL="457200" algn="l" rtl="0" fontAlgn="base">
        <a:lnSpc>
          <a:spcPct val="105000"/>
        </a:lnSpc>
        <a:spcBef>
          <a:spcPct val="0"/>
        </a:spcBef>
        <a:spcAft>
          <a:spcPct val="0"/>
        </a:spcAft>
        <a:defRPr sz="3100">
          <a:solidFill>
            <a:srgbClr val="2A547E"/>
          </a:solidFill>
          <a:latin typeface="Gill Sans MT Light" pitchFamily="34" charset="0"/>
        </a:defRPr>
      </a:lvl6pPr>
      <a:lvl7pPr marL="914400" algn="l" rtl="0" fontAlgn="base">
        <a:lnSpc>
          <a:spcPct val="105000"/>
        </a:lnSpc>
        <a:spcBef>
          <a:spcPct val="0"/>
        </a:spcBef>
        <a:spcAft>
          <a:spcPct val="0"/>
        </a:spcAft>
        <a:defRPr sz="3100">
          <a:solidFill>
            <a:srgbClr val="2A547E"/>
          </a:solidFill>
          <a:latin typeface="Gill Sans MT Light" pitchFamily="34" charset="0"/>
        </a:defRPr>
      </a:lvl7pPr>
      <a:lvl8pPr marL="1371600" algn="l" rtl="0" fontAlgn="base">
        <a:lnSpc>
          <a:spcPct val="105000"/>
        </a:lnSpc>
        <a:spcBef>
          <a:spcPct val="0"/>
        </a:spcBef>
        <a:spcAft>
          <a:spcPct val="0"/>
        </a:spcAft>
        <a:defRPr sz="3100">
          <a:solidFill>
            <a:srgbClr val="2A547E"/>
          </a:solidFill>
          <a:latin typeface="Gill Sans MT Light" pitchFamily="34" charset="0"/>
        </a:defRPr>
      </a:lvl8pPr>
      <a:lvl9pPr marL="1828800" algn="l" rtl="0" fontAlgn="base">
        <a:lnSpc>
          <a:spcPct val="105000"/>
        </a:lnSpc>
        <a:spcBef>
          <a:spcPct val="0"/>
        </a:spcBef>
        <a:spcAft>
          <a:spcPct val="0"/>
        </a:spcAft>
        <a:defRPr sz="3100">
          <a:solidFill>
            <a:srgbClr val="2A547E"/>
          </a:solidFill>
          <a:latin typeface="Gill Sans MT Light" pitchFamily="34" charset="0"/>
        </a:defRPr>
      </a:lvl9pPr>
    </p:titleStyle>
    <p:bodyStyle>
      <a:lvl1pPr marL="261938" indent="-261938" algn="l" rtl="0" eaLnBrk="0" fontAlgn="base" hangingPunct="0">
        <a:lnSpc>
          <a:spcPct val="140000"/>
        </a:lnSpc>
        <a:spcBef>
          <a:spcPct val="0"/>
        </a:spcBef>
        <a:spcAft>
          <a:spcPct val="0"/>
        </a:spcAft>
        <a:buClr>
          <a:srgbClr val="7A929D"/>
        </a:buClr>
        <a:buFont typeface="Arial" charset="0"/>
        <a:buChar char="■"/>
        <a:defRPr sz="2100">
          <a:solidFill>
            <a:schemeClr val="tx1"/>
          </a:solidFill>
          <a:latin typeface="+mn-lt"/>
          <a:ea typeface="+mn-ea"/>
          <a:cs typeface="+mn-cs"/>
        </a:defRPr>
      </a:lvl1pPr>
      <a:lvl2pPr marL="623888" indent="-182563" algn="l" rtl="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mn-lt"/>
        </a:defRPr>
      </a:lvl2pPr>
      <a:lvl3pPr marL="1074738" indent="-160338" algn="l" rtl="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mn-lt"/>
        </a:defRPr>
      </a:lvl3pPr>
      <a:lvl4pPr marL="1600200" indent="-228600" algn="l" rtl="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mn-lt"/>
        </a:defRPr>
      </a:lvl4pPr>
      <a:lvl5pPr marL="2057400" indent="-228600" algn="l" rtl="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mn-lt"/>
        </a:defRPr>
      </a:lvl5pPr>
      <a:lvl6pPr marL="2514600" indent="-228600" algn="l" rtl="0" fontAlgn="base">
        <a:lnSpc>
          <a:spcPct val="140000"/>
        </a:lnSpc>
        <a:spcBef>
          <a:spcPct val="0"/>
        </a:spcBef>
        <a:spcAft>
          <a:spcPct val="0"/>
        </a:spcAft>
        <a:buClr>
          <a:srgbClr val="7A929D"/>
        </a:buClr>
        <a:buSzPct val="70000"/>
        <a:buFont typeface="Arial" charset="0"/>
        <a:buChar char="■"/>
        <a:defRPr sz="2100">
          <a:solidFill>
            <a:schemeClr val="tx1"/>
          </a:solidFill>
          <a:latin typeface="+mn-lt"/>
        </a:defRPr>
      </a:lvl6pPr>
      <a:lvl7pPr marL="2971800" indent="-228600" algn="l" rtl="0" fontAlgn="base">
        <a:lnSpc>
          <a:spcPct val="140000"/>
        </a:lnSpc>
        <a:spcBef>
          <a:spcPct val="0"/>
        </a:spcBef>
        <a:spcAft>
          <a:spcPct val="0"/>
        </a:spcAft>
        <a:buClr>
          <a:srgbClr val="7A929D"/>
        </a:buClr>
        <a:buSzPct val="70000"/>
        <a:buFont typeface="Arial" charset="0"/>
        <a:buChar char="■"/>
        <a:defRPr sz="2100">
          <a:solidFill>
            <a:schemeClr val="tx1"/>
          </a:solidFill>
          <a:latin typeface="+mn-lt"/>
        </a:defRPr>
      </a:lvl7pPr>
      <a:lvl8pPr marL="3429000" indent="-228600" algn="l" rtl="0" fontAlgn="base">
        <a:lnSpc>
          <a:spcPct val="140000"/>
        </a:lnSpc>
        <a:spcBef>
          <a:spcPct val="0"/>
        </a:spcBef>
        <a:spcAft>
          <a:spcPct val="0"/>
        </a:spcAft>
        <a:buClr>
          <a:srgbClr val="7A929D"/>
        </a:buClr>
        <a:buSzPct val="70000"/>
        <a:buFont typeface="Arial" charset="0"/>
        <a:buChar char="■"/>
        <a:defRPr sz="2100">
          <a:solidFill>
            <a:schemeClr val="tx1"/>
          </a:solidFill>
          <a:latin typeface="+mn-lt"/>
        </a:defRPr>
      </a:lvl8pPr>
      <a:lvl9pPr marL="3886200" indent="-228600" algn="l" rtl="0" fontAlgn="base">
        <a:lnSpc>
          <a:spcPct val="140000"/>
        </a:lnSpc>
        <a:spcBef>
          <a:spcPct val="0"/>
        </a:spcBef>
        <a:spcAft>
          <a:spcPct val="0"/>
        </a:spcAft>
        <a:buClr>
          <a:srgbClr val="7A929D"/>
        </a:buClr>
        <a:buSzPct val="70000"/>
        <a:buFont typeface="Arial" charset="0"/>
        <a:buChar char="■"/>
        <a:defRPr sz="21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4.wmf"/></Relationships>
</file>

<file path=ppt/slides/_rels/slide10.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slideLayout" Target="../slideLayouts/slideLayout6.xml"/><Relationship Id="rId3" Type="http://schemas.openxmlformats.org/officeDocument/2006/relationships/tags" Target="../tags/tag9.xml"/><Relationship Id="rId21" Type="http://schemas.openxmlformats.org/officeDocument/2006/relationships/tags" Target="../tags/tag27.xml"/><Relationship Id="rId34" Type="http://schemas.openxmlformats.org/officeDocument/2006/relationships/image" Target="../media/image26.jpeg"/><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tags" Target="../tags/tag31.xml"/><Relationship Id="rId33" Type="http://schemas.openxmlformats.org/officeDocument/2006/relationships/image" Target="../media/image25.png"/><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tags" Target="../tags/tag26.xml"/><Relationship Id="rId29" Type="http://schemas.openxmlformats.org/officeDocument/2006/relationships/image" Target="../media/image21.png"/><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24" Type="http://schemas.openxmlformats.org/officeDocument/2006/relationships/tags" Target="../tags/tag30.xml"/><Relationship Id="rId32" Type="http://schemas.openxmlformats.org/officeDocument/2006/relationships/image" Target="../media/image24.png"/><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image" Target="../media/image20.png"/><Relationship Id="rId36" Type="http://schemas.openxmlformats.org/officeDocument/2006/relationships/chart" Target="../charts/chart1.xml"/><Relationship Id="rId10" Type="http://schemas.openxmlformats.org/officeDocument/2006/relationships/tags" Target="../tags/tag16.xml"/><Relationship Id="rId19" Type="http://schemas.openxmlformats.org/officeDocument/2006/relationships/tags" Target="../tags/tag25.xml"/><Relationship Id="rId31" Type="http://schemas.openxmlformats.org/officeDocument/2006/relationships/image" Target="../media/image23.png"/><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notesSlide" Target="../notesSlides/notesSlide5.xml"/><Relationship Id="rId30" Type="http://schemas.openxmlformats.org/officeDocument/2006/relationships/image" Target="../media/image22.png"/><Relationship Id="rId35" Type="http://schemas.openxmlformats.org/officeDocument/2006/relationships/image" Target="../media/image27.png"/></Relationships>
</file>

<file path=ppt/slides/_rels/slide1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34.xml"/><Relationship Id="rId7" Type="http://schemas.openxmlformats.org/officeDocument/2006/relationships/image" Target="../media/image6.jpg"/><Relationship Id="rId12" Type="http://schemas.microsoft.com/office/2007/relationships/hdphoto" Target="../media/hdphoto2.wdp"/><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slideLayout" Target="../slideLayouts/slideLayout2.xml"/><Relationship Id="rId11" Type="http://schemas.openxmlformats.org/officeDocument/2006/relationships/image" Target="../media/image30.png"/><Relationship Id="rId5" Type="http://schemas.openxmlformats.org/officeDocument/2006/relationships/tags" Target="../tags/tag36.xml"/><Relationship Id="rId10" Type="http://schemas.openxmlformats.org/officeDocument/2006/relationships/image" Target="../media/image29.tiff"/><Relationship Id="rId4" Type="http://schemas.openxmlformats.org/officeDocument/2006/relationships/tags" Target="../tags/tag35.xml"/><Relationship Id="rId9" Type="http://schemas.microsoft.com/office/2007/relationships/hdphoto" Target="../media/hdphoto1.wdp"/></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8.xml"/><Relationship Id="rId1" Type="http://schemas.openxmlformats.org/officeDocument/2006/relationships/tags" Target="../tags/tag37.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32.tiff"/><Relationship Id="rId5" Type="http://schemas.openxmlformats.org/officeDocument/2006/relationships/slideLayout" Target="../slideLayouts/slideLayout1.xml"/><Relationship Id="rId4" Type="http://schemas.openxmlformats.org/officeDocument/2006/relationships/tags" Target="../tags/tag4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43.xml"/><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44.xml"/><Relationship Id="rId4" Type="http://schemas.openxmlformats.org/officeDocument/2006/relationships/chart" Target="../charts/chart2.xml"/></Relationships>
</file>

<file path=ppt/slides/_rels/slide1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Layout" Target="../slideLayouts/slideLayout1.xml"/><Relationship Id="rId1" Type="http://schemas.openxmlformats.org/officeDocument/2006/relationships/tags" Target="../tags/tag4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2.xml"/><Relationship Id="rId1" Type="http://schemas.openxmlformats.org/officeDocument/2006/relationships/tags" Target="../tags/tag46.xml"/><Relationship Id="rId5" Type="http://schemas.openxmlformats.org/officeDocument/2006/relationships/image" Target="../media/image6.jpg"/><Relationship Id="rId4" Type="http://schemas.openxmlformats.org/officeDocument/2006/relationships/image" Target="../media/image35.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3" Type="http://schemas.openxmlformats.org/officeDocument/2006/relationships/image" Target="../media/image6.jpg"/><Relationship Id="rId7" Type="http://schemas.openxmlformats.org/officeDocument/2006/relationships/image" Target="../media/image39.tiff"/><Relationship Id="rId2" Type="http://schemas.openxmlformats.org/officeDocument/2006/relationships/notesSlide" Target="../notesSlides/notesSlide12.xml"/><Relationship Id="rId1" Type="http://schemas.openxmlformats.org/officeDocument/2006/relationships/slideLayout" Target="../slideLayouts/slideLayout37.xml"/><Relationship Id="rId6" Type="http://schemas.openxmlformats.org/officeDocument/2006/relationships/image" Target="../media/image38.tiff"/><Relationship Id="rId5" Type="http://schemas.openxmlformats.org/officeDocument/2006/relationships/image" Target="../media/image37.png"/><Relationship Id="rId4" Type="http://schemas.openxmlformats.org/officeDocument/2006/relationships/image" Target="../media/image36.png"/></Relationships>
</file>

<file path=ppt/slides/_rels/slide25.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oleObject" Target="file:///\\SRV-ACATIS01\Acatis$\2%20Kommunikation%20und%20Marketing\3-Pr&#228;sentationen\5%20Werkzeugkasten%20Marketing\1%20Vorlagen\QPolo%20Market%20Cap,%20L&#228;nderallokation%20und%20Branchenallokation.xlsx!en!%5bQPolo%20Market%20Cap,%20L&#228;nderallokation%20und%20Branchenallokation.xlsx%5den%20Diagramm%202" TargetMode="External"/><Relationship Id="rId1" Type="http://schemas.openxmlformats.org/officeDocument/2006/relationships/slideLayout" Target="../slideLayouts/slideLayout41.xml"/><Relationship Id="rId5" Type="http://schemas.openxmlformats.org/officeDocument/2006/relationships/image" Target="../media/image41.emf"/><Relationship Id="rId4" Type="http://schemas.openxmlformats.org/officeDocument/2006/relationships/oleObject" Target="file:///\\SRV-ACATIS01\Acatis$\2%20Kommunikation%20und%20Marketing\3-Pr&#228;sentationen\5%20Werkzeugkasten%20Marketing\1%20Vorlagen\QPolo%20Market%20Cap,%20L&#228;nderallokation%20und%20Branchenallokation.xlsx!en!%5bQPolo%20Market%20Cap,%20L&#228;nderallokation%20und%20Branchenallokation.xlsx%5den%20Diagramm%201" TargetMode="Externa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image" Target="../media/image44.png"/><Relationship Id="rId7" Type="http://schemas.openxmlformats.org/officeDocument/2006/relationships/image" Target="../media/image48.jpeg"/><Relationship Id="rId12" Type="http://schemas.openxmlformats.org/officeDocument/2006/relationships/image" Target="../media/image53.png"/><Relationship Id="rId2" Type="http://schemas.openxmlformats.org/officeDocument/2006/relationships/image" Target="../media/image43.tiff"/><Relationship Id="rId1" Type="http://schemas.openxmlformats.org/officeDocument/2006/relationships/slideLayout" Target="../slideLayouts/slideLayout8.xml"/><Relationship Id="rId6" Type="http://schemas.openxmlformats.org/officeDocument/2006/relationships/image" Target="../media/image47.jpeg"/><Relationship Id="rId11" Type="http://schemas.openxmlformats.org/officeDocument/2006/relationships/image" Target="../media/image52.jpeg"/><Relationship Id="rId5" Type="http://schemas.openxmlformats.org/officeDocument/2006/relationships/image" Target="../media/image46.jpeg"/><Relationship Id="rId10" Type="http://schemas.openxmlformats.org/officeDocument/2006/relationships/image" Target="../media/image51.jpeg"/><Relationship Id="rId4" Type="http://schemas.openxmlformats.org/officeDocument/2006/relationships/image" Target="../media/image45.jpeg"/><Relationship Id="rId9" Type="http://schemas.openxmlformats.org/officeDocument/2006/relationships/image" Target="../media/image50.jpeg"/></Relationships>
</file>

<file path=ppt/slides/_rels/slide2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oleObject" Target="file:///\\SRV-ACATIS01\Acatis$\2%20Kommunikation%20und%20Marketing\3-Pr&#228;sentationen\5%20Werkzeugkasten%20Marketing\1%20Vorlagen\QPolo%20Performance.xlsx!Tabelle1!%5bQPolo%20Performance.xlsx%5dTabelle1%20Diagramm%201" TargetMode="Externa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oleObject" Target="file:///\\SRV-ACATIS01\Acatis$\2%20Kommunikation%20und%20Marketing\3-Pr&#228;sentationen\5%20Werkzeugkasten%20Marketing\1%20Vorlagen\QPolo%20Performance.xlsx!Tabelle1!%5bQPolo%20Performance.xlsx%5dTabelle1%20Diagramm%201" TargetMode="Externa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5.xml"/><Relationship Id="rId1" Type="http://schemas.openxmlformats.org/officeDocument/2006/relationships/slideLayout" Target="../slideLayouts/slideLayout42.xml"/></Relationships>
</file>

<file path=ppt/slides/_rels/slide33.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16.xml"/><Relationship Id="rId1" Type="http://schemas.openxmlformats.org/officeDocument/2006/relationships/slideLayout" Target="../slideLayouts/slideLayout37.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34.xml.rels><?xml version="1.0" encoding="UTF-8" standalone="yes"?>
<Relationships xmlns="http://schemas.openxmlformats.org/package/2006/relationships"><Relationship Id="rId8" Type="http://schemas.openxmlformats.org/officeDocument/2006/relationships/image" Target="../media/image67.jpeg"/><Relationship Id="rId3" Type="http://schemas.openxmlformats.org/officeDocument/2006/relationships/image" Target="../media/image62.jpeg"/><Relationship Id="rId7" Type="http://schemas.openxmlformats.org/officeDocument/2006/relationships/image" Target="../media/image66.jpeg"/><Relationship Id="rId2" Type="http://schemas.openxmlformats.org/officeDocument/2006/relationships/notesSlide" Target="../notesSlides/notesSlide17.xml"/><Relationship Id="rId1" Type="http://schemas.openxmlformats.org/officeDocument/2006/relationships/slideLayout" Target="../slideLayouts/slideLayout37.xml"/><Relationship Id="rId6" Type="http://schemas.openxmlformats.org/officeDocument/2006/relationships/image" Target="../media/image65.jpeg"/><Relationship Id="rId5" Type="http://schemas.openxmlformats.org/officeDocument/2006/relationships/image" Target="../media/image64.png"/><Relationship Id="rId4" Type="http://schemas.openxmlformats.org/officeDocument/2006/relationships/image" Target="../media/image63.wmf"/></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jpg"/><Relationship Id="rId1" Type="http://schemas.openxmlformats.org/officeDocument/2006/relationships/slideLayout" Target="../slideLayouts/slideLayout1.xml"/><Relationship Id="rId5" Type="http://schemas.openxmlformats.org/officeDocument/2006/relationships/image" Target="../media/image70.png"/><Relationship Id="rId4" Type="http://schemas.openxmlformats.org/officeDocument/2006/relationships/image" Target="../media/image69.jpeg"/></Relationships>
</file>

<file path=ppt/slides/_rels/slide38.xml.rels><?xml version="1.0" encoding="UTF-8" standalone="yes"?>
<Relationships xmlns="http://schemas.openxmlformats.org/package/2006/relationships"><Relationship Id="rId8" Type="http://schemas.openxmlformats.org/officeDocument/2006/relationships/image" Target="../media/image76.jpeg"/><Relationship Id="rId3" Type="http://schemas.openxmlformats.org/officeDocument/2006/relationships/image" Target="../media/image71.jpeg"/><Relationship Id="rId7" Type="http://schemas.openxmlformats.org/officeDocument/2006/relationships/image" Target="../media/image75.jpeg"/><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image" Target="../media/image74.jpeg"/><Relationship Id="rId5" Type="http://schemas.openxmlformats.org/officeDocument/2006/relationships/image" Target="../media/image73.jpeg"/><Relationship Id="rId4" Type="http://schemas.openxmlformats.org/officeDocument/2006/relationships/image" Target="../media/image72.jpeg"/></Relationships>
</file>

<file path=ppt/slides/_rels/slide39.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7.tiff"/><Relationship Id="rId7" Type="http://schemas.openxmlformats.org/officeDocument/2006/relationships/image" Target="../media/image11.tiff"/><Relationship Id="rId2" Type="http://schemas.openxmlformats.org/officeDocument/2006/relationships/image" Target="../media/image6.jpg"/><Relationship Id="rId1" Type="http://schemas.openxmlformats.org/officeDocument/2006/relationships/slideLayout" Target="../slideLayouts/slideLayout1.xml"/><Relationship Id="rId6" Type="http://schemas.openxmlformats.org/officeDocument/2006/relationships/image" Target="../media/image10.tiff"/><Relationship Id="rId5" Type="http://schemas.openxmlformats.org/officeDocument/2006/relationships/image" Target="../media/image9.tiff"/><Relationship Id="rId4" Type="http://schemas.openxmlformats.org/officeDocument/2006/relationships/image" Target="../media/image8.tif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1.xml"/><Relationship Id="rId5" Type="http://schemas.openxmlformats.org/officeDocument/2006/relationships/tags" Target="../tags/tag5.xml"/><Relationship Id="rId4" Type="http://schemas.openxmlformats.org/officeDocument/2006/relationships/tags" Target="../tags/tag4.xml"/></Relationships>
</file>

<file path=ppt/slides/_rels/slide8.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image" Target="../media/image14.png"/><Relationship Id="rId7" Type="http://schemas.openxmlformats.org/officeDocument/2006/relationships/image" Target="../media/image18.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 y="823914"/>
            <a:ext cx="9144000" cy="6081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75" name="Text Box 4"/>
          <p:cNvSpPr txBox="1">
            <a:spLocks noChangeArrowheads="1"/>
          </p:cNvSpPr>
          <p:nvPr/>
        </p:nvSpPr>
        <p:spPr bwMode="auto">
          <a:xfrm>
            <a:off x="360367" y="1537646"/>
            <a:ext cx="1378935" cy="338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4" tIns="45711" rIns="91424" bIns="45711">
            <a:spAutoFit/>
          </a:bodyPr>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r>
              <a:rPr lang="en-GB" sz="1600" dirty="0"/>
              <a:t>February 2021</a:t>
            </a:r>
          </a:p>
        </p:txBody>
      </p:sp>
      <p:pic>
        <p:nvPicPr>
          <p:cNvPr id="3076" name="Picture 17" descr="logo_blau_4C_AI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39001" y="1600232"/>
            <a:ext cx="1181100" cy="261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7" name="Rectangle 27"/>
          <p:cNvSpPr>
            <a:spLocks noChangeArrowheads="1"/>
          </p:cNvSpPr>
          <p:nvPr/>
        </p:nvSpPr>
        <p:spPr bwMode="auto">
          <a:xfrm>
            <a:off x="7048500" y="3"/>
            <a:ext cx="2095500" cy="149542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4" tIns="45711" rIns="91424" bIns="45711" anchor="ctr"/>
          <a:lstStyle/>
          <a:p>
            <a:endParaRPr lang="de-DE" dirty="0"/>
          </a:p>
        </p:txBody>
      </p:sp>
      <p:sp>
        <p:nvSpPr>
          <p:cNvPr id="3078" name="Text Box 28"/>
          <p:cNvSpPr txBox="1">
            <a:spLocks noChangeArrowheads="1"/>
          </p:cNvSpPr>
          <p:nvPr/>
        </p:nvSpPr>
        <p:spPr bwMode="auto">
          <a:xfrm>
            <a:off x="360367" y="226567"/>
            <a:ext cx="8661399" cy="12003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4" tIns="45711" rIns="91424" bIns="45711">
            <a:spAutoFit/>
          </a:bodyPr>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a:spcBef>
                <a:spcPts val="0"/>
              </a:spcBef>
            </a:pPr>
            <a:r>
              <a:rPr lang="en-GB" sz="3600" dirty="0"/>
              <a:t>ACATIS QILIN Marco Polo Asien Fonds -</a:t>
            </a:r>
          </a:p>
          <a:p>
            <a:pPr>
              <a:spcBef>
                <a:spcPts val="0"/>
              </a:spcBef>
            </a:pPr>
            <a:r>
              <a:rPr lang="en-GB" sz="3600" dirty="0">
                <a:solidFill>
                  <a:schemeClr val="tx2"/>
                </a:solidFill>
              </a:rPr>
              <a:t>Investing in Asia’s emerging champions</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374332" y="328548"/>
            <a:ext cx="7647352" cy="886525"/>
          </a:xfrm>
        </p:spPr>
        <p:txBody>
          <a:bodyPr/>
          <a:lstStyle/>
          <a:p>
            <a:r>
              <a:rPr lang="en-US" sz="2800" b="0" dirty="0">
                <a:solidFill>
                  <a:srgbClr val="005B99"/>
                </a:solidFill>
                <a:latin typeface="+mj-lt"/>
              </a:rPr>
              <a:t>Chinese companies have continually expanded their presence in the Fortune Global 500</a:t>
            </a:r>
          </a:p>
        </p:txBody>
      </p:sp>
      <p:sp>
        <p:nvSpPr>
          <p:cNvPr id="7" name="Rectangle 6"/>
          <p:cNvSpPr>
            <a:spLocks/>
          </p:cNvSpPr>
          <p:nvPr/>
        </p:nvSpPr>
        <p:spPr bwMode="auto">
          <a:xfrm>
            <a:off x="443032" y="1505434"/>
            <a:ext cx="4376182" cy="4666222"/>
          </a:xfrm>
          <a:prstGeom prst="rect">
            <a:avLst/>
          </a:prstGeom>
          <a:noFill/>
          <a:ln w="19050" cap="flat" cmpd="sng" algn="ctr">
            <a:noFill/>
            <a:prstDash val="solid"/>
            <a:round/>
            <a:headEnd type="none" w="med" len="med"/>
            <a:tailEnd type="none" w="med" len="med"/>
          </a:ln>
          <a:effectLst/>
        </p:spPr>
        <p:txBody>
          <a:bodyPr vert="horz" wrap="square" lIns="84407" tIns="42203" rIns="84407" bIns="42203" numCol="1" rtlCol="0" anchor="t" anchorCtr="0" compatLnSpc="1">
            <a:prstTxWarp prst="textNoShape">
              <a:avLst/>
            </a:prstTxWarp>
          </a:bodyPr>
          <a:lstStyle/>
          <a:p>
            <a:pPr algn="l"/>
            <a:endParaRPr lang="en-US" sz="1477" b="1" dirty="0"/>
          </a:p>
        </p:txBody>
      </p:sp>
      <p:sp>
        <p:nvSpPr>
          <p:cNvPr id="8" name="Rectangle 45"/>
          <p:cNvSpPr>
            <a:spLocks noChangeArrowheads="1"/>
          </p:cNvSpPr>
          <p:nvPr/>
        </p:nvSpPr>
        <p:spPr bwMode="gray">
          <a:xfrm>
            <a:off x="470458" y="1252193"/>
            <a:ext cx="2828950" cy="684193"/>
          </a:xfrm>
          <a:prstGeom prst="rect">
            <a:avLst/>
          </a:prstGeom>
          <a:noFill/>
          <a:ln w="12700">
            <a:noFill/>
            <a:miter lim="800000"/>
            <a:headEnd/>
            <a:tailEnd/>
          </a:ln>
          <a:effectLst/>
        </p:spPr>
        <p:txBody>
          <a:bodyPr lIns="66469" tIns="66469" rIns="66469" bIns="66469"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gn="l">
              <a:buClrTx/>
            </a:pPr>
            <a:r>
              <a:rPr lang="en-US" altLang="ko-KR" sz="1400" dirty="0">
                <a:latin typeface="Gill Sans MT" panose="020B0502020104020203" pitchFamily="34" charset="77"/>
                <a:ea typeface="Gulim" pitchFamily="34" charset="-127"/>
              </a:rPr>
              <a:t>Number of Chinese companies in the Fortune Global 500 list</a:t>
            </a:r>
          </a:p>
        </p:txBody>
      </p:sp>
      <p:sp>
        <p:nvSpPr>
          <p:cNvPr id="24" name="Freeform 36"/>
          <p:cNvSpPr>
            <a:spLocks/>
          </p:cNvSpPr>
          <p:nvPr>
            <p:custDataLst>
              <p:tags r:id="rId1"/>
            </p:custDataLst>
          </p:nvPr>
        </p:nvSpPr>
        <p:spPr bwMode="gray">
          <a:xfrm>
            <a:off x="4654103" y="1505435"/>
            <a:ext cx="1677828" cy="4670838"/>
          </a:xfrm>
          <a:custGeom>
            <a:avLst/>
            <a:gdLst>
              <a:gd name="T0" fmla="*/ 0 w 2070"/>
              <a:gd name="T1" fmla="*/ 0 h 438"/>
              <a:gd name="T2" fmla="*/ 2070 w 2070"/>
              <a:gd name="T3" fmla="*/ 0 h 438"/>
              <a:gd name="T4" fmla="*/ 2070 w 2070"/>
              <a:gd name="T5" fmla="*/ 438 h 438"/>
            </a:gdLst>
            <a:ahLst/>
            <a:cxnLst>
              <a:cxn ang="0">
                <a:pos x="T0" y="T1"/>
              </a:cxn>
              <a:cxn ang="0">
                <a:pos x="T2" y="T3"/>
              </a:cxn>
              <a:cxn ang="0">
                <a:pos x="T4" y="T5"/>
              </a:cxn>
            </a:cxnLst>
            <a:rect l="0" t="0" r="r" b="b"/>
            <a:pathLst>
              <a:path w="2070" h="438">
                <a:moveTo>
                  <a:pt x="0" y="0"/>
                </a:moveTo>
                <a:lnTo>
                  <a:pt x="2070" y="0"/>
                </a:lnTo>
                <a:lnTo>
                  <a:pt x="2070" y="438"/>
                </a:lnTo>
              </a:path>
            </a:pathLst>
          </a:custGeom>
          <a:noFill/>
          <a:ln w="19050" cap="flat" cmpd="sng">
            <a:noFill/>
            <a:prstDash val="solid"/>
            <a:round/>
            <a:headEnd type="none" w="med" len="med"/>
            <a:tailEnd type="none" w="med" len="me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wrap="none" lIns="0" tIns="0" rIns="0" bIns="0" anchor="ctr"/>
          <a:lstStyle/>
          <a:p>
            <a:endParaRPr lang="en-US" sz="1451" dirty="0"/>
          </a:p>
        </p:txBody>
      </p:sp>
      <p:pic>
        <p:nvPicPr>
          <p:cNvPr id="27" name="Picture 42" descr="title_n1"/>
          <p:cNvPicPr>
            <a:picLocks noChangeAspect="1" noChangeArrowheads="1"/>
          </p:cNvPicPr>
          <p:nvPr>
            <p:custDataLst>
              <p:tags r:id="rId2"/>
            </p:custDataLst>
          </p:nvPr>
        </p:nvPicPr>
        <p:blipFill>
          <a:blip r:embed="rId28" cstate="email">
            <a:extLst>
              <a:ext uri="{28A0092B-C50C-407E-A947-70E740481C1C}">
                <a14:useLocalDpi xmlns:a14="http://schemas.microsoft.com/office/drawing/2010/main"/>
              </a:ext>
            </a:extLst>
          </a:blip>
          <a:srcRect/>
          <a:stretch>
            <a:fillRect/>
          </a:stretch>
        </p:blipFill>
        <p:spPr bwMode="gray">
          <a:xfrm>
            <a:off x="4747097" y="4135397"/>
            <a:ext cx="512885" cy="386862"/>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27" descr="logo-1"/>
          <p:cNvPicPr>
            <a:picLocks noChangeAspect="1" noChangeArrowheads="1"/>
          </p:cNvPicPr>
          <p:nvPr>
            <p:custDataLst>
              <p:tags r:id="rId3"/>
            </p:custDataLst>
          </p:nvPr>
        </p:nvPicPr>
        <p:blipFill>
          <a:blip r:embed="rId29" cstate="email">
            <a:extLst>
              <a:ext uri="{28A0092B-C50C-407E-A947-70E740481C1C}">
                <a14:useLocalDpi xmlns:a14="http://schemas.microsoft.com/office/drawing/2010/main"/>
              </a:ext>
            </a:extLst>
          </a:blip>
          <a:srcRect/>
          <a:stretch>
            <a:fillRect/>
          </a:stretch>
        </p:blipFill>
        <p:spPr bwMode="gray">
          <a:xfrm>
            <a:off x="4747096" y="3747071"/>
            <a:ext cx="1091712" cy="127488"/>
          </a:xfrm>
          <a:prstGeom prst="rect">
            <a:avLst/>
          </a:prstGeom>
          <a:noFill/>
          <a:extLst>
            <a:ext uri="{909E8E84-426E-40dd-AFC4-6F175D3DCCD1}">
              <a14:hiddenFill xmlns:a14="http://schemas.microsoft.com/office/drawing/2010/main" xmlns="">
                <a:solidFill>
                  <a:srgbClr val="FFFFFF"/>
                </a:solidFill>
              </a14:hiddenFill>
            </a:ext>
          </a:extLst>
        </p:spPr>
      </p:pic>
      <p:pic>
        <p:nvPicPr>
          <p:cNvPr id="29" name="Picture 46" descr="logo-2"/>
          <p:cNvPicPr>
            <a:picLocks noChangeAspect="1" noChangeArrowheads="1"/>
          </p:cNvPicPr>
          <p:nvPr>
            <p:custDataLst>
              <p:tags r:id="rId4"/>
            </p:custDataLst>
          </p:nvPr>
        </p:nvPicPr>
        <p:blipFill>
          <a:blip r:embed="rId30" cstate="email">
            <a:extLst>
              <a:ext uri="{28A0092B-C50C-407E-A947-70E740481C1C}">
                <a14:useLocalDpi xmlns:a14="http://schemas.microsoft.com/office/drawing/2010/main"/>
              </a:ext>
            </a:extLst>
          </a:blip>
          <a:srcRect l="7143" t="25862" r="36168" b="27298"/>
          <a:stretch>
            <a:fillRect/>
          </a:stretch>
        </p:blipFill>
        <p:spPr bwMode="gray">
          <a:xfrm>
            <a:off x="4747096" y="4736205"/>
            <a:ext cx="732692" cy="238858"/>
          </a:xfrm>
          <a:prstGeom prst="rect">
            <a:avLst/>
          </a:prstGeom>
          <a:noFill/>
          <a:extLst>
            <a:ext uri="{909E8E84-426E-40dd-AFC4-6F175D3DCCD1}">
              <a14:hiddenFill xmlns:a14="http://schemas.microsoft.com/office/drawing/2010/main" xmlns="">
                <a:solidFill>
                  <a:srgbClr val="FFFFFF"/>
                </a:solidFill>
              </a14:hiddenFill>
            </a:ext>
          </a:extLst>
        </p:spPr>
      </p:pic>
      <p:pic>
        <p:nvPicPr>
          <p:cNvPr id="30" name="Picture 48" descr="logo-3"/>
          <p:cNvPicPr>
            <a:picLocks noChangeAspect="1" noChangeArrowheads="1"/>
          </p:cNvPicPr>
          <p:nvPr>
            <p:custDataLst>
              <p:tags r:id="rId5"/>
            </p:custDataLst>
          </p:nvPr>
        </p:nvPicPr>
        <p:blipFill>
          <a:blip r:embed="rId31" cstate="email">
            <a:extLst>
              <a:ext uri="{28A0092B-C50C-407E-A947-70E740481C1C}">
                <a14:useLocalDpi xmlns:a14="http://schemas.microsoft.com/office/drawing/2010/main"/>
              </a:ext>
            </a:extLst>
          </a:blip>
          <a:srcRect l="22522" r="21172"/>
          <a:stretch>
            <a:fillRect/>
          </a:stretch>
        </p:blipFill>
        <p:spPr bwMode="gray">
          <a:xfrm>
            <a:off x="4747097" y="5600782"/>
            <a:ext cx="366346" cy="470389"/>
          </a:xfrm>
          <a:prstGeom prst="rect">
            <a:avLst/>
          </a:prstGeom>
          <a:noFill/>
          <a:extLst>
            <a:ext uri="{909E8E84-426E-40dd-AFC4-6F175D3DCCD1}">
              <a14:hiddenFill xmlns:a14="http://schemas.microsoft.com/office/drawing/2010/main" xmlns="">
                <a:solidFill>
                  <a:srgbClr val="FFFFFF"/>
                </a:solidFill>
              </a14:hiddenFill>
            </a:ext>
          </a:extLst>
        </p:spPr>
      </p:pic>
      <p:pic>
        <p:nvPicPr>
          <p:cNvPr id="31" name="Picture 50" descr="logo"/>
          <p:cNvPicPr>
            <a:picLocks noChangeAspect="1" noChangeArrowheads="1"/>
          </p:cNvPicPr>
          <p:nvPr>
            <p:custDataLst>
              <p:tags r:id="rId6"/>
            </p:custDataLst>
          </p:nvPr>
        </p:nvPicPr>
        <p:blipFill>
          <a:blip r:embed="rId32" cstate="email">
            <a:extLst>
              <a:ext uri="{28A0092B-C50C-407E-A947-70E740481C1C}">
                <a14:useLocalDpi xmlns:a14="http://schemas.microsoft.com/office/drawing/2010/main"/>
              </a:ext>
            </a:extLst>
          </a:blip>
          <a:srcRect/>
          <a:stretch>
            <a:fillRect/>
          </a:stretch>
        </p:blipFill>
        <p:spPr bwMode="gray">
          <a:xfrm>
            <a:off x="4747096" y="3269356"/>
            <a:ext cx="952500" cy="213947"/>
          </a:xfrm>
          <a:prstGeom prst="rect">
            <a:avLst/>
          </a:prstGeom>
          <a:noFill/>
          <a:extLst>
            <a:ext uri="{909E8E84-426E-40dd-AFC4-6F175D3DCCD1}">
              <a14:hiddenFill xmlns:a14="http://schemas.microsoft.com/office/drawing/2010/main" xmlns="">
                <a:solidFill>
                  <a:srgbClr val="FFFFFF"/>
                </a:solidFill>
              </a14:hiddenFill>
            </a:ext>
          </a:extLst>
        </p:spPr>
      </p:pic>
      <p:sp>
        <p:nvSpPr>
          <p:cNvPr id="32" name="Oval 52"/>
          <p:cNvSpPr>
            <a:spLocks noChangeArrowheads="1"/>
          </p:cNvSpPr>
          <p:nvPr>
            <p:custDataLst>
              <p:tags r:id="rId7"/>
            </p:custDataLst>
          </p:nvPr>
        </p:nvSpPr>
        <p:spPr bwMode="gray">
          <a:xfrm>
            <a:off x="5966296" y="2328174"/>
            <a:ext cx="262305" cy="252046"/>
          </a:xfrm>
          <a:prstGeom prst="ellipse">
            <a:avLst/>
          </a:prstGeom>
          <a:solidFill>
            <a:srgbClr val="E7EBEE"/>
          </a:solidFill>
          <a:ln w="15875">
            <a:solidFill>
              <a:srgbClr val="1A6E5E"/>
            </a:solidFill>
            <a:round/>
            <a:headEnd/>
            <a:tailEnd/>
          </a:ln>
          <a:effectLst/>
        </p:spPr>
        <p:txBody>
          <a:bodyPr wrap="none" lIns="0" tIns="0" rIns="0" bIns="0" anchor="ctr"/>
          <a:lstStyle/>
          <a:p>
            <a:endParaRPr lang="en-US" sz="1451" dirty="0">
              <a:solidFill>
                <a:srgbClr val="97C4FF"/>
              </a:solidFill>
            </a:endParaRPr>
          </a:p>
        </p:txBody>
      </p:sp>
      <p:sp>
        <p:nvSpPr>
          <p:cNvPr id="33" name="Rectangle 53"/>
          <p:cNvSpPr>
            <a:spLocks noChangeArrowheads="1"/>
          </p:cNvSpPr>
          <p:nvPr>
            <p:custDataLst>
              <p:tags r:id="rId8"/>
            </p:custDataLst>
          </p:nvPr>
        </p:nvSpPr>
        <p:spPr bwMode="gray">
          <a:xfrm>
            <a:off x="6045427" y="2311254"/>
            <a:ext cx="183173" cy="255776"/>
          </a:xfrm>
          <a:prstGeom prst="rect">
            <a:avLst/>
          </a:prstGeom>
          <a:noFill/>
          <a:ln>
            <a:noFill/>
          </a:ln>
          <a:effectLst/>
          <a:extLst>
            <a:ext uri="{909E8E84-426E-40dd-AFC4-6F175D3DCCD1}">
              <a14:hiddenFill xmlns:a14="http://schemas.microsoft.com/office/drawing/2010/main" xmlns="">
                <a:solidFill>
                  <a:schemeClr val="folHlink"/>
                </a:solidFill>
              </a14:hiddenFill>
            </a:ext>
            <a:ext uri="{91240B29-F687-4f45-9708-019B960494DF}">
              <a14:hiddenLine xmlns:a14="http://schemas.microsoft.com/office/drawing/2010/main" xmlns="" w="19050">
                <a:solidFill>
                  <a:schemeClr val="tx2"/>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lIns="0" tIns="0" rIns="0" bIns="0" anchor="b">
            <a:spAutoFit/>
          </a:bodyPr>
          <a:lstStyle/>
          <a:p>
            <a:pPr defTabSz="826446">
              <a:buClr>
                <a:schemeClr val="tx2"/>
              </a:buClr>
            </a:pPr>
            <a:r>
              <a:rPr lang="en-US" altLang="zh-CN" sz="1662" dirty="0">
                <a:ea typeface="宋体" charset="0"/>
                <a:cs typeface="宋体" charset="0"/>
              </a:rPr>
              <a:t>1</a:t>
            </a:r>
          </a:p>
        </p:txBody>
      </p:sp>
      <p:sp>
        <p:nvSpPr>
          <p:cNvPr id="34" name="Oval 54"/>
          <p:cNvSpPr>
            <a:spLocks noChangeArrowheads="1"/>
          </p:cNvSpPr>
          <p:nvPr>
            <p:custDataLst>
              <p:tags r:id="rId9"/>
            </p:custDataLst>
          </p:nvPr>
        </p:nvSpPr>
        <p:spPr bwMode="gray">
          <a:xfrm>
            <a:off x="5966296" y="2785528"/>
            <a:ext cx="262305" cy="252046"/>
          </a:xfrm>
          <a:prstGeom prst="ellipse">
            <a:avLst/>
          </a:prstGeom>
          <a:solidFill>
            <a:srgbClr val="E7EBEE"/>
          </a:solidFill>
          <a:ln w="15875">
            <a:solidFill>
              <a:srgbClr val="1A6E5E"/>
            </a:solidFill>
            <a:round/>
            <a:headEnd/>
            <a:tailEnd/>
          </a:ln>
          <a:effectLst/>
        </p:spPr>
        <p:txBody>
          <a:bodyPr wrap="none" lIns="0" tIns="0" rIns="0" bIns="0" anchor="ctr"/>
          <a:lstStyle/>
          <a:p>
            <a:endParaRPr lang="en-US" sz="1451" dirty="0">
              <a:solidFill>
                <a:srgbClr val="97C4FF"/>
              </a:solidFill>
            </a:endParaRPr>
          </a:p>
        </p:txBody>
      </p:sp>
      <p:sp>
        <p:nvSpPr>
          <p:cNvPr id="35" name="Oval 55"/>
          <p:cNvSpPr>
            <a:spLocks noChangeArrowheads="1"/>
          </p:cNvSpPr>
          <p:nvPr>
            <p:custDataLst>
              <p:tags r:id="rId10"/>
            </p:custDataLst>
          </p:nvPr>
        </p:nvSpPr>
        <p:spPr bwMode="gray">
          <a:xfrm>
            <a:off x="5966296" y="3238583"/>
            <a:ext cx="262305" cy="252046"/>
          </a:xfrm>
          <a:prstGeom prst="ellipse">
            <a:avLst/>
          </a:prstGeom>
          <a:solidFill>
            <a:srgbClr val="E7EBEE"/>
          </a:solidFill>
          <a:ln w="15875">
            <a:solidFill>
              <a:srgbClr val="1A6E5E"/>
            </a:solidFill>
            <a:round/>
            <a:headEnd/>
            <a:tailEnd/>
          </a:ln>
          <a:effectLst/>
        </p:spPr>
        <p:txBody>
          <a:bodyPr wrap="none" lIns="0" tIns="0" rIns="0" bIns="0" anchor="ctr"/>
          <a:lstStyle/>
          <a:p>
            <a:endParaRPr lang="en-US" sz="1451" dirty="0">
              <a:solidFill>
                <a:srgbClr val="97C4FF"/>
              </a:solidFill>
            </a:endParaRPr>
          </a:p>
        </p:txBody>
      </p:sp>
      <p:sp>
        <p:nvSpPr>
          <p:cNvPr id="36" name="Oval 56"/>
          <p:cNvSpPr>
            <a:spLocks noChangeArrowheads="1"/>
          </p:cNvSpPr>
          <p:nvPr>
            <p:custDataLst>
              <p:tags r:id="rId11"/>
            </p:custDataLst>
          </p:nvPr>
        </p:nvSpPr>
        <p:spPr bwMode="gray">
          <a:xfrm>
            <a:off x="5966296" y="3695783"/>
            <a:ext cx="262305" cy="252046"/>
          </a:xfrm>
          <a:prstGeom prst="ellipse">
            <a:avLst/>
          </a:prstGeom>
          <a:solidFill>
            <a:srgbClr val="E7EBEE"/>
          </a:solidFill>
          <a:ln w="15875">
            <a:solidFill>
              <a:srgbClr val="1A6E5E"/>
            </a:solidFill>
            <a:round/>
            <a:headEnd/>
            <a:tailEnd/>
          </a:ln>
          <a:effectLst/>
        </p:spPr>
        <p:txBody>
          <a:bodyPr wrap="none" lIns="0" tIns="0" rIns="0" bIns="0" anchor="ctr"/>
          <a:lstStyle/>
          <a:p>
            <a:endParaRPr lang="en-US" sz="1451" dirty="0">
              <a:solidFill>
                <a:srgbClr val="97C4FF"/>
              </a:solidFill>
            </a:endParaRPr>
          </a:p>
        </p:txBody>
      </p:sp>
      <p:sp>
        <p:nvSpPr>
          <p:cNvPr id="37" name="Oval 57"/>
          <p:cNvSpPr>
            <a:spLocks noChangeArrowheads="1"/>
          </p:cNvSpPr>
          <p:nvPr>
            <p:custDataLst>
              <p:tags r:id="rId12"/>
            </p:custDataLst>
          </p:nvPr>
        </p:nvSpPr>
        <p:spPr bwMode="gray">
          <a:xfrm>
            <a:off x="5966296" y="4196944"/>
            <a:ext cx="262305" cy="252046"/>
          </a:xfrm>
          <a:prstGeom prst="ellipse">
            <a:avLst/>
          </a:prstGeom>
          <a:solidFill>
            <a:srgbClr val="E7EBEE"/>
          </a:solidFill>
          <a:ln w="15875">
            <a:solidFill>
              <a:srgbClr val="1A6E5E"/>
            </a:solidFill>
            <a:round/>
            <a:headEnd/>
            <a:tailEnd/>
          </a:ln>
          <a:effectLst/>
        </p:spPr>
        <p:txBody>
          <a:bodyPr wrap="none" lIns="0" tIns="0" rIns="0" bIns="0" anchor="ctr"/>
          <a:lstStyle/>
          <a:p>
            <a:endParaRPr lang="en-US" sz="1451" dirty="0">
              <a:solidFill>
                <a:srgbClr val="97C4FF"/>
              </a:solidFill>
            </a:endParaRPr>
          </a:p>
        </p:txBody>
      </p:sp>
      <p:sp>
        <p:nvSpPr>
          <p:cNvPr id="38" name="Oval 58"/>
          <p:cNvSpPr>
            <a:spLocks noChangeArrowheads="1"/>
          </p:cNvSpPr>
          <p:nvPr>
            <p:custDataLst>
              <p:tags r:id="rId13"/>
            </p:custDataLst>
          </p:nvPr>
        </p:nvSpPr>
        <p:spPr bwMode="gray">
          <a:xfrm>
            <a:off x="5966296" y="4706898"/>
            <a:ext cx="262305" cy="252046"/>
          </a:xfrm>
          <a:prstGeom prst="ellipse">
            <a:avLst/>
          </a:prstGeom>
          <a:solidFill>
            <a:srgbClr val="E7EBEE"/>
          </a:solidFill>
          <a:ln w="15875">
            <a:solidFill>
              <a:srgbClr val="1A6E5E"/>
            </a:solidFill>
            <a:round/>
            <a:headEnd/>
            <a:tailEnd/>
          </a:ln>
          <a:effectLst/>
        </p:spPr>
        <p:txBody>
          <a:bodyPr wrap="none" lIns="0" tIns="0" rIns="0" bIns="0" anchor="ctr"/>
          <a:lstStyle/>
          <a:p>
            <a:endParaRPr lang="en-US" sz="1451" dirty="0">
              <a:solidFill>
                <a:srgbClr val="97C4FF"/>
              </a:solidFill>
            </a:endParaRPr>
          </a:p>
        </p:txBody>
      </p:sp>
      <p:sp>
        <p:nvSpPr>
          <p:cNvPr id="39" name="Oval 59"/>
          <p:cNvSpPr>
            <a:spLocks noChangeArrowheads="1"/>
          </p:cNvSpPr>
          <p:nvPr>
            <p:custDataLst>
              <p:tags r:id="rId14"/>
            </p:custDataLst>
          </p:nvPr>
        </p:nvSpPr>
        <p:spPr bwMode="gray">
          <a:xfrm>
            <a:off x="5966296" y="5183148"/>
            <a:ext cx="262305" cy="252046"/>
          </a:xfrm>
          <a:prstGeom prst="ellipse">
            <a:avLst/>
          </a:prstGeom>
          <a:solidFill>
            <a:srgbClr val="E7EBEE"/>
          </a:solidFill>
          <a:ln w="15875">
            <a:solidFill>
              <a:srgbClr val="1A6E5E"/>
            </a:solidFill>
            <a:round/>
            <a:headEnd/>
            <a:tailEnd/>
          </a:ln>
          <a:effectLst/>
        </p:spPr>
        <p:txBody>
          <a:bodyPr wrap="none" lIns="0" tIns="0" rIns="0" bIns="0" anchor="ctr"/>
          <a:lstStyle/>
          <a:p>
            <a:endParaRPr lang="en-US" sz="1451" dirty="0">
              <a:solidFill>
                <a:srgbClr val="97C4FF"/>
              </a:solidFill>
            </a:endParaRPr>
          </a:p>
        </p:txBody>
      </p:sp>
      <p:sp>
        <p:nvSpPr>
          <p:cNvPr id="40" name="Rectangle 60"/>
          <p:cNvSpPr>
            <a:spLocks noChangeArrowheads="1"/>
          </p:cNvSpPr>
          <p:nvPr>
            <p:custDataLst>
              <p:tags r:id="rId15"/>
            </p:custDataLst>
          </p:nvPr>
        </p:nvSpPr>
        <p:spPr bwMode="gray">
          <a:xfrm>
            <a:off x="6045428" y="2779119"/>
            <a:ext cx="104042" cy="255776"/>
          </a:xfrm>
          <a:prstGeom prst="rect">
            <a:avLst/>
          </a:prstGeom>
          <a:noFill/>
          <a:ln>
            <a:noFill/>
          </a:ln>
          <a:effectLst/>
          <a:extLst>
            <a:ext uri="{909E8E84-426E-40dd-AFC4-6F175D3DCCD1}">
              <a14:hiddenFill xmlns:a14="http://schemas.microsoft.com/office/drawing/2010/main" xmlns="">
                <a:solidFill>
                  <a:schemeClr val="folHlink"/>
                </a:solidFill>
              </a14:hiddenFill>
            </a:ext>
            <a:ext uri="{91240B29-F687-4f45-9708-019B960494DF}">
              <a14:hiddenLine xmlns:a14="http://schemas.microsoft.com/office/drawing/2010/main" xmlns="" w="19050">
                <a:solidFill>
                  <a:schemeClr val="tx2"/>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nchor="b">
            <a:spAutoFit/>
          </a:bodyPr>
          <a:lstStyle/>
          <a:p>
            <a:pPr defTabSz="826446">
              <a:buClr>
                <a:schemeClr val="tx2"/>
              </a:buClr>
            </a:pPr>
            <a:r>
              <a:rPr lang="en-US" altLang="zh-CN" sz="1662" dirty="0">
                <a:ea typeface="宋体" charset="0"/>
                <a:cs typeface="宋体" charset="0"/>
              </a:rPr>
              <a:t>1</a:t>
            </a:r>
          </a:p>
        </p:txBody>
      </p:sp>
      <p:sp>
        <p:nvSpPr>
          <p:cNvPr id="41" name="Rectangle 61"/>
          <p:cNvSpPr>
            <a:spLocks noChangeArrowheads="1"/>
          </p:cNvSpPr>
          <p:nvPr>
            <p:custDataLst>
              <p:tags r:id="rId16"/>
            </p:custDataLst>
          </p:nvPr>
        </p:nvSpPr>
        <p:spPr bwMode="gray">
          <a:xfrm>
            <a:off x="6045428" y="3221664"/>
            <a:ext cx="104042" cy="255776"/>
          </a:xfrm>
          <a:prstGeom prst="rect">
            <a:avLst/>
          </a:prstGeom>
          <a:noFill/>
          <a:ln>
            <a:noFill/>
          </a:ln>
          <a:effectLst/>
          <a:extLst>
            <a:ext uri="{909E8E84-426E-40dd-AFC4-6F175D3DCCD1}">
              <a14:hiddenFill xmlns:a14="http://schemas.microsoft.com/office/drawing/2010/main" xmlns="">
                <a:solidFill>
                  <a:schemeClr val="folHlink"/>
                </a:solidFill>
              </a14:hiddenFill>
            </a:ext>
            <a:ext uri="{91240B29-F687-4f45-9708-019B960494DF}">
              <a14:hiddenLine xmlns:a14="http://schemas.microsoft.com/office/drawing/2010/main" xmlns="" w="19050">
                <a:solidFill>
                  <a:schemeClr val="tx2"/>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nchor="b">
            <a:spAutoFit/>
          </a:bodyPr>
          <a:lstStyle/>
          <a:p>
            <a:pPr defTabSz="826446">
              <a:buClr>
                <a:schemeClr val="tx2"/>
              </a:buClr>
            </a:pPr>
            <a:r>
              <a:rPr lang="en-US" altLang="zh-CN" sz="1662" dirty="0">
                <a:ea typeface="宋体" charset="0"/>
                <a:cs typeface="宋体" charset="0"/>
              </a:rPr>
              <a:t>2</a:t>
            </a:r>
          </a:p>
        </p:txBody>
      </p:sp>
      <p:sp>
        <p:nvSpPr>
          <p:cNvPr id="42" name="Rectangle 62"/>
          <p:cNvSpPr>
            <a:spLocks noChangeArrowheads="1"/>
          </p:cNvSpPr>
          <p:nvPr>
            <p:custDataLst>
              <p:tags r:id="rId17"/>
            </p:custDataLst>
          </p:nvPr>
        </p:nvSpPr>
        <p:spPr bwMode="gray">
          <a:xfrm>
            <a:off x="6045428" y="3678864"/>
            <a:ext cx="104042" cy="255776"/>
          </a:xfrm>
          <a:prstGeom prst="rect">
            <a:avLst/>
          </a:prstGeom>
          <a:noFill/>
          <a:ln>
            <a:noFill/>
          </a:ln>
          <a:effectLst/>
          <a:extLst>
            <a:ext uri="{909E8E84-426E-40dd-AFC4-6F175D3DCCD1}">
              <a14:hiddenFill xmlns:a14="http://schemas.microsoft.com/office/drawing/2010/main" xmlns="">
                <a:solidFill>
                  <a:schemeClr val="folHlink"/>
                </a:solidFill>
              </a14:hiddenFill>
            </a:ext>
            <a:ext uri="{91240B29-F687-4f45-9708-019B960494DF}">
              <a14:hiddenLine xmlns:a14="http://schemas.microsoft.com/office/drawing/2010/main" xmlns="" w="19050">
                <a:solidFill>
                  <a:schemeClr val="tx2"/>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lIns="0" tIns="0" rIns="0" bIns="0" anchor="b">
            <a:spAutoFit/>
          </a:bodyPr>
          <a:lstStyle/>
          <a:p>
            <a:pPr defTabSz="826446">
              <a:buClr>
                <a:schemeClr val="tx2"/>
              </a:buClr>
            </a:pPr>
            <a:r>
              <a:rPr lang="en-US" altLang="zh-CN" sz="1662" dirty="0">
                <a:ea typeface="宋体" charset="0"/>
                <a:cs typeface="宋体" charset="0"/>
              </a:rPr>
              <a:t>1</a:t>
            </a:r>
          </a:p>
        </p:txBody>
      </p:sp>
      <p:sp>
        <p:nvSpPr>
          <p:cNvPr id="43" name="Rectangle 63"/>
          <p:cNvSpPr>
            <a:spLocks noChangeArrowheads="1"/>
          </p:cNvSpPr>
          <p:nvPr>
            <p:custDataLst>
              <p:tags r:id="rId18"/>
            </p:custDataLst>
          </p:nvPr>
        </p:nvSpPr>
        <p:spPr bwMode="gray">
          <a:xfrm>
            <a:off x="6045428" y="4180025"/>
            <a:ext cx="104042" cy="255776"/>
          </a:xfrm>
          <a:prstGeom prst="rect">
            <a:avLst/>
          </a:prstGeom>
          <a:noFill/>
          <a:ln>
            <a:noFill/>
          </a:ln>
          <a:effectLst/>
          <a:extLst>
            <a:ext uri="{909E8E84-426E-40dd-AFC4-6F175D3DCCD1}">
              <a14:hiddenFill xmlns:a14="http://schemas.microsoft.com/office/drawing/2010/main" xmlns="">
                <a:solidFill>
                  <a:schemeClr val="folHlink"/>
                </a:solidFill>
              </a14:hiddenFill>
            </a:ext>
            <a:ext uri="{91240B29-F687-4f45-9708-019B960494DF}">
              <a14:hiddenLine xmlns:a14="http://schemas.microsoft.com/office/drawing/2010/main" xmlns="" w="19050">
                <a:solidFill>
                  <a:schemeClr val="tx2"/>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nchor="b">
            <a:spAutoFit/>
          </a:bodyPr>
          <a:lstStyle/>
          <a:p>
            <a:pPr defTabSz="826446">
              <a:buClr>
                <a:schemeClr val="tx2"/>
              </a:buClr>
            </a:pPr>
            <a:r>
              <a:rPr lang="en-US" altLang="zh-CN" sz="1662" dirty="0">
                <a:ea typeface="宋体" charset="0"/>
                <a:cs typeface="宋体" charset="0"/>
              </a:rPr>
              <a:t>3</a:t>
            </a:r>
          </a:p>
        </p:txBody>
      </p:sp>
      <p:sp>
        <p:nvSpPr>
          <p:cNvPr id="44" name="Rectangle 64"/>
          <p:cNvSpPr>
            <a:spLocks noChangeArrowheads="1"/>
          </p:cNvSpPr>
          <p:nvPr>
            <p:custDataLst>
              <p:tags r:id="rId19"/>
            </p:custDataLst>
          </p:nvPr>
        </p:nvSpPr>
        <p:spPr bwMode="gray">
          <a:xfrm>
            <a:off x="6045428" y="4689979"/>
            <a:ext cx="104042" cy="255776"/>
          </a:xfrm>
          <a:prstGeom prst="rect">
            <a:avLst/>
          </a:prstGeom>
          <a:noFill/>
          <a:ln>
            <a:noFill/>
          </a:ln>
          <a:effectLst/>
          <a:extLst>
            <a:ext uri="{909E8E84-426E-40dd-AFC4-6F175D3DCCD1}">
              <a14:hiddenFill xmlns:a14="http://schemas.microsoft.com/office/drawing/2010/main" xmlns="">
                <a:solidFill>
                  <a:schemeClr val="folHlink"/>
                </a:solidFill>
              </a14:hiddenFill>
            </a:ext>
            <a:ext uri="{91240B29-F687-4f45-9708-019B960494DF}">
              <a14:hiddenLine xmlns:a14="http://schemas.microsoft.com/office/drawing/2010/main" xmlns="" w="19050">
                <a:solidFill>
                  <a:schemeClr val="tx2"/>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nchor="b">
            <a:spAutoFit/>
          </a:bodyPr>
          <a:lstStyle/>
          <a:p>
            <a:pPr defTabSz="826446">
              <a:buClr>
                <a:schemeClr val="tx2"/>
              </a:buClr>
            </a:pPr>
            <a:r>
              <a:rPr lang="en-US" altLang="zh-CN" sz="1662" dirty="0">
                <a:ea typeface="宋体" charset="0"/>
                <a:cs typeface="宋体" charset="0"/>
              </a:rPr>
              <a:t>1</a:t>
            </a:r>
          </a:p>
        </p:txBody>
      </p:sp>
      <p:sp>
        <p:nvSpPr>
          <p:cNvPr id="45" name="Rectangle 65"/>
          <p:cNvSpPr>
            <a:spLocks noChangeArrowheads="1"/>
          </p:cNvSpPr>
          <p:nvPr>
            <p:custDataLst>
              <p:tags r:id="rId20"/>
            </p:custDataLst>
          </p:nvPr>
        </p:nvSpPr>
        <p:spPr bwMode="gray">
          <a:xfrm>
            <a:off x="6045428" y="5166229"/>
            <a:ext cx="104042" cy="255776"/>
          </a:xfrm>
          <a:prstGeom prst="rect">
            <a:avLst/>
          </a:prstGeom>
          <a:noFill/>
          <a:ln>
            <a:noFill/>
          </a:ln>
          <a:effectLst/>
          <a:extLst>
            <a:ext uri="{909E8E84-426E-40dd-AFC4-6F175D3DCCD1}">
              <a14:hiddenFill xmlns:a14="http://schemas.microsoft.com/office/drawing/2010/main" xmlns="">
                <a:solidFill>
                  <a:schemeClr val="folHlink"/>
                </a:solidFill>
              </a14:hiddenFill>
            </a:ext>
            <a:ext uri="{91240B29-F687-4f45-9708-019B960494DF}">
              <a14:hiddenLine xmlns:a14="http://schemas.microsoft.com/office/drawing/2010/main" xmlns="" w="19050">
                <a:solidFill>
                  <a:schemeClr val="tx2"/>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nchor="b">
            <a:spAutoFit/>
          </a:bodyPr>
          <a:lstStyle/>
          <a:p>
            <a:pPr defTabSz="826446">
              <a:buClr>
                <a:schemeClr val="tx2"/>
              </a:buClr>
            </a:pPr>
            <a:r>
              <a:rPr lang="en-US" altLang="zh-CN" sz="1662" dirty="0">
                <a:ea typeface="宋体" charset="0"/>
                <a:cs typeface="宋体" charset="0"/>
              </a:rPr>
              <a:t>2</a:t>
            </a:r>
          </a:p>
        </p:txBody>
      </p:sp>
      <p:sp>
        <p:nvSpPr>
          <p:cNvPr id="46" name="Oval 66"/>
          <p:cNvSpPr>
            <a:spLocks noChangeArrowheads="1"/>
          </p:cNvSpPr>
          <p:nvPr>
            <p:custDataLst>
              <p:tags r:id="rId21"/>
            </p:custDataLst>
          </p:nvPr>
        </p:nvSpPr>
        <p:spPr bwMode="gray">
          <a:xfrm>
            <a:off x="5966296" y="5709220"/>
            <a:ext cx="262305" cy="252046"/>
          </a:xfrm>
          <a:prstGeom prst="ellipse">
            <a:avLst/>
          </a:prstGeom>
          <a:solidFill>
            <a:srgbClr val="E7EBEE"/>
          </a:solidFill>
          <a:ln w="15875">
            <a:solidFill>
              <a:srgbClr val="1A6E5E"/>
            </a:solidFill>
            <a:round/>
            <a:headEnd/>
            <a:tailEnd/>
          </a:ln>
          <a:effectLst/>
        </p:spPr>
        <p:txBody>
          <a:bodyPr wrap="none" lIns="0" tIns="0" rIns="0" bIns="0" anchor="ctr"/>
          <a:lstStyle/>
          <a:p>
            <a:endParaRPr lang="en-US" sz="1451" dirty="0">
              <a:solidFill>
                <a:srgbClr val="97C4FF"/>
              </a:solidFill>
            </a:endParaRPr>
          </a:p>
        </p:txBody>
      </p:sp>
      <p:sp>
        <p:nvSpPr>
          <p:cNvPr id="47" name="Rectangle 67"/>
          <p:cNvSpPr>
            <a:spLocks noChangeArrowheads="1"/>
          </p:cNvSpPr>
          <p:nvPr>
            <p:custDataLst>
              <p:tags r:id="rId22"/>
            </p:custDataLst>
          </p:nvPr>
        </p:nvSpPr>
        <p:spPr bwMode="gray">
          <a:xfrm>
            <a:off x="6045428" y="5692302"/>
            <a:ext cx="104042" cy="255776"/>
          </a:xfrm>
          <a:prstGeom prst="rect">
            <a:avLst/>
          </a:prstGeom>
          <a:noFill/>
          <a:ln>
            <a:noFill/>
          </a:ln>
          <a:effectLst/>
          <a:extLst>
            <a:ext uri="{909E8E84-426E-40dd-AFC4-6F175D3DCCD1}">
              <a14:hiddenFill xmlns:a14="http://schemas.microsoft.com/office/drawing/2010/main" xmlns="">
                <a:solidFill>
                  <a:schemeClr val="folHlink"/>
                </a:solidFill>
              </a14:hiddenFill>
            </a:ext>
            <a:ext uri="{91240B29-F687-4f45-9708-019B960494DF}">
              <a14:hiddenLine xmlns:a14="http://schemas.microsoft.com/office/drawing/2010/main" xmlns="" w="19050">
                <a:solidFill>
                  <a:schemeClr val="tx2"/>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0" tIns="0" rIns="0" bIns="0" anchor="b">
            <a:spAutoFit/>
          </a:bodyPr>
          <a:lstStyle/>
          <a:p>
            <a:pPr defTabSz="826446">
              <a:buClr>
                <a:schemeClr val="tx2"/>
              </a:buClr>
            </a:pPr>
            <a:r>
              <a:rPr lang="en-US" altLang="zh-CN" sz="1662" dirty="0">
                <a:ea typeface="宋体" charset="0"/>
                <a:cs typeface="宋体" charset="0"/>
              </a:rPr>
              <a:t>1</a:t>
            </a:r>
          </a:p>
        </p:txBody>
      </p:sp>
      <p:pic>
        <p:nvPicPr>
          <p:cNvPr id="48" name="Picture 70" descr="Baidu Logo"/>
          <p:cNvPicPr>
            <a:picLocks noChangeAspect="1" noChangeArrowheads="1"/>
          </p:cNvPicPr>
          <p:nvPr>
            <p:custDataLst>
              <p:tags r:id="rId23"/>
            </p:custDataLst>
          </p:nvPr>
        </p:nvPicPr>
        <p:blipFill>
          <a:blip r:embed="rId33" cstate="email">
            <a:extLst>
              <a:ext uri="{28A0092B-C50C-407E-A947-70E740481C1C}">
                <a14:useLocalDpi xmlns:a14="http://schemas.microsoft.com/office/drawing/2010/main"/>
              </a:ext>
            </a:extLst>
          </a:blip>
          <a:srcRect/>
          <a:stretch>
            <a:fillRect/>
          </a:stretch>
        </p:blipFill>
        <p:spPr bwMode="gray">
          <a:xfrm>
            <a:off x="4747097" y="5123067"/>
            <a:ext cx="889488" cy="301870"/>
          </a:xfrm>
          <a:prstGeom prst="rect">
            <a:avLst/>
          </a:prstGeom>
          <a:noFill/>
          <a:extLst>
            <a:ext uri="{909E8E84-426E-40dd-AFC4-6F175D3DCCD1}">
              <a14:hiddenFill xmlns:a14="http://schemas.microsoft.com/office/drawing/2010/main" xmlns="">
                <a:solidFill>
                  <a:srgbClr val="FFFFFF"/>
                </a:solidFill>
              </a14:hiddenFill>
            </a:ext>
          </a:extLst>
        </p:spPr>
      </p:pic>
      <p:sp>
        <p:nvSpPr>
          <p:cNvPr id="49" name="Rectangle 45"/>
          <p:cNvSpPr>
            <a:spLocks noChangeArrowheads="1"/>
          </p:cNvSpPr>
          <p:nvPr/>
        </p:nvSpPr>
        <p:spPr bwMode="gray">
          <a:xfrm>
            <a:off x="4665160" y="1347193"/>
            <a:ext cx="1965294" cy="690133"/>
          </a:xfrm>
          <a:prstGeom prst="rect">
            <a:avLst/>
          </a:prstGeom>
          <a:noFill/>
          <a:ln w="12700">
            <a:noFill/>
            <a:miter lim="800000"/>
            <a:headEnd/>
            <a:tailEnd/>
          </a:ln>
          <a:effectLst/>
        </p:spPr>
        <p:txBody>
          <a:bodyPr lIns="66469" tIns="66469" rIns="66469" bIns="66469"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buClrTx/>
            </a:pPr>
            <a:r>
              <a:rPr lang="en-US" altLang="zh-CN" sz="1400" dirty="0">
                <a:latin typeface="Gill Sans MT" panose="020B0502020104020203" pitchFamily="34" charset="77"/>
                <a:ea typeface="Gulim" pitchFamily="34" charset="-127"/>
              </a:rPr>
              <a:t>Global Ranking of Chinese Fortune 500 Companies</a:t>
            </a:r>
          </a:p>
        </p:txBody>
      </p:sp>
      <p:sp>
        <p:nvSpPr>
          <p:cNvPr id="52" name="Rectangle 51"/>
          <p:cNvSpPr>
            <a:spLocks/>
          </p:cNvSpPr>
          <p:nvPr/>
        </p:nvSpPr>
        <p:spPr>
          <a:xfrm>
            <a:off x="4668635" y="1510437"/>
            <a:ext cx="1662461" cy="4661219"/>
          </a:xfrm>
          <a:prstGeom prst="rect">
            <a:avLst/>
          </a:prstGeom>
          <a:noFill/>
          <a:ln w="19050" cap="flat" cmpd="sng" algn="ctr">
            <a:noFill/>
            <a:prstDash val="solid"/>
            <a:round/>
            <a:headEnd type="none" w="med" len="med"/>
            <a:tailEnd type="none" w="med" len="med"/>
          </a:ln>
          <a:effectLst/>
        </p:spPr>
        <p:txBody>
          <a:bodyPr vert="horz" wrap="square" lIns="84407" tIns="42203" rIns="84407" bIns="42203" numCol="1" rtlCol="0" anchor="t" anchorCtr="0" compatLnSpc="1">
            <a:prstTxWarp prst="textNoShape">
              <a:avLst/>
            </a:prstTxWarp>
          </a:bodyPr>
          <a:lstStyle/>
          <a:p>
            <a:pPr algn="l"/>
            <a:endParaRPr lang="en-US" sz="1477" dirty="0"/>
          </a:p>
        </p:txBody>
      </p:sp>
      <p:pic>
        <p:nvPicPr>
          <p:cNvPr id="19" name="Grafik 18">
            <a:extLst>
              <a:ext uri="{FF2B5EF4-FFF2-40B4-BE49-F238E27FC236}">
                <a16:creationId xmlns:a16="http://schemas.microsoft.com/office/drawing/2014/main" id="{B5895D5F-F66A-4E49-8891-734A52219B67}"/>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4728706" y="2217831"/>
            <a:ext cx="832525" cy="554008"/>
          </a:xfrm>
          <a:prstGeom prst="rect">
            <a:avLst/>
          </a:prstGeom>
        </p:spPr>
      </p:pic>
      <p:pic>
        <p:nvPicPr>
          <p:cNvPr id="22" name="Grafik 21">
            <a:extLst>
              <a:ext uri="{FF2B5EF4-FFF2-40B4-BE49-F238E27FC236}">
                <a16:creationId xmlns:a16="http://schemas.microsoft.com/office/drawing/2014/main" id="{C683962E-EE4B-416F-B033-612238FEEF09}"/>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4736456" y="2697991"/>
            <a:ext cx="708779" cy="421370"/>
          </a:xfrm>
          <a:prstGeom prst="rect">
            <a:avLst/>
          </a:prstGeom>
        </p:spPr>
      </p:pic>
      <p:sp>
        <p:nvSpPr>
          <p:cNvPr id="53" name="McK 5. Source">
            <a:extLst>
              <a:ext uri="{FF2B5EF4-FFF2-40B4-BE49-F238E27FC236}">
                <a16:creationId xmlns:a16="http://schemas.microsoft.com/office/drawing/2014/main" id="{F876A39C-A55D-4C8F-8E7A-80FE59C57E72}"/>
              </a:ext>
            </a:extLst>
          </p:cNvPr>
          <p:cNvSpPr>
            <a:spLocks noChangeArrowheads="1"/>
          </p:cNvSpPr>
          <p:nvPr>
            <p:custDataLst>
              <p:tags r:id="rId24"/>
            </p:custDataLst>
          </p:nvPr>
        </p:nvSpPr>
        <p:spPr bwMode="auto">
          <a:xfrm>
            <a:off x="522343" y="6395557"/>
            <a:ext cx="6334857" cy="28405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p>
            <a:pPr marL="562687" indent="-562687" defTabSz="826446">
              <a:tabLst>
                <a:tab pos="565617" algn="l"/>
              </a:tabLst>
            </a:pPr>
            <a:r>
              <a:rPr lang="en-US" altLang="zh-CN" sz="923" dirty="0"/>
              <a:t>* Companies from China, Hong Kong und Taiwan</a:t>
            </a:r>
          </a:p>
          <a:p>
            <a:pPr marL="562687" indent="-562687" defTabSz="826446">
              <a:tabLst>
                <a:tab pos="565617" algn="l"/>
              </a:tabLst>
            </a:pPr>
            <a:r>
              <a:rPr lang="en-US" altLang="zh-CN" sz="923" dirty="0"/>
              <a:t>Source: Fortune, </a:t>
            </a:r>
            <a:r>
              <a:rPr lang="en-US" sz="923" dirty="0"/>
              <a:t>McKinsey </a:t>
            </a:r>
            <a:r>
              <a:rPr lang="en-US" sz="923" dirty="0" err="1"/>
              <a:t>Analyse</a:t>
            </a:r>
            <a:r>
              <a:rPr lang="en-US" sz="923" dirty="0"/>
              <a:t>, China Daily, </a:t>
            </a:r>
            <a:r>
              <a:rPr lang="en-US" sz="923" dirty="0" err="1"/>
              <a:t>Qilin</a:t>
            </a:r>
            <a:r>
              <a:rPr lang="en-US" sz="923" dirty="0"/>
              <a:t> Capital Analysis</a:t>
            </a:r>
          </a:p>
        </p:txBody>
      </p:sp>
      <p:graphicFrame>
        <p:nvGraphicFramePr>
          <p:cNvPr id="2" name="Chart 1">
            <a:extLst>
              <a:ext uri="{FF2B5EF4-FFF2-40B4-BE49-F238E27FC236}">
                <a16:creationId xmlns:a16="http://schemas.microsoft.com/office/drawing/2014/main" id="{85D3AEE4-57F4-8C4A-A090-E8761F1A73E2}"/>
              </a:ext>
            </a:extLst>
          </p:cNvPr>
          <p:cNvGraphicFramePr/>
          <p:nvPr>
            <p:extLst>
              <p:ext uri="{D42A27DB-BD31-4B8C-83A1-F6EECF244321}">
                <p14:modId xmlns:p14="http://schemas.microsoft.com/office/powerpoint/2010/main" val="2100340362"/>
              </p:ext>
            </p:extLst>
          </p:nvPr>
        </p:nvGraphicFramePr>
        <p:xfrm>
          <a:off x="392898" y="1710046"/>
          <a:ext cx="4013847" cy="4337380"/>
        </p:xfrm>
        <a:graphic>
          <a:graphicData uri="http://schemas.openxmlformats.org/drawingml/2006/chart">
            <c:chart xmlns:c="http://schemas.openxmlformats.org/drawingml/2006/chart" xmlns:r="http://schemas.openxmlformats.org/officeDocument/2006/relationships" r:id="rId36"/>
          </a:graphicData>
        </a:graphic>
      </p:graphicFrame>
      <p:sp>
        <p:nvSpPr>
          <p:cNvPr id="50" name="Rectangle 3">
            <a:extLst>
              <a:ext uri="{FF2B5EF4-FFF2-40B4-BE49-F238E27FC236}">
                <a16:creationId xmlns:a16="http://schemas.microsoft.com/office/drawing/2014/main" id="{F11A32CB-CBE5-5045-A9DC-7982245800BD}"/>
              </a:ext>
            </a:extLst>
          </p:cNvPr>
          <p:cNvSpPr txBox="1"/>
          <p:nvPr>
            <p:custDataLst>
              <p:tags r:id="rId25"/>
            </p:custDataLst>
          </p:nvPr>
        </p:nvSpPr>
        <p:spPr>
          <a:xfrm>
            <a:off x="6571379" y="1561019"/>
            <a:ext cx="1903290" cy="4726652"/>
          </a:xfrm>
          <a:prstGeom prst="rect">
            <a:avLst/>
          </a:prstGeom>
          <a:noFill/>
          <a:ln w="9525">
            <a:noFill/>
            <a:miter lim="800000"/>
            <a:headEnd/>
            <a:tailEnd/>
          </a:ln>
          <a:effectLst/>
        </p:spPr>
        <p:txBody>
          <a:bodyPr vert="horz" wrap="square" lIns="73472" tIns="73472" rIns="73472" bIns="73472" numCol="1" anchor="ctr" anchorCtr="0" compatLnSpc="1">
            <a:prstTxWarp prst="textNoShape">
              <a:avLst/>
            </a:prstTxWarp>
            <a:noAutofit/>
          </a:bodyPr>
          <a:lstStyle>
            <a:defPPr>
              <a:defRPr lang="de-DE"/>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231775" lvl="1" indent="-231775" defTabSz="895350">
              <a:spcAft>
                <a:spcPts val="0"/>
              </a:spcAft>
              <a:buClr>
                <a:srgbClr val="7A929D"/>
              </a:buClr>
              <a:buSzPct val="125000"/>
              <a:buFont typeface="Gill Sans MT Light" pitchFamily="34" charset="0"/>
              <a:buChar char="■"/>
              <a:defRPr sz="1600" kern="0" baseline="0">
                <a:latin typeface="Gill Sans MT" pitchFamily="34" charset="0"/>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300" dirty="0">
                <a:latin typeface="Gill Sans MT Light" panose="020B0302020104020203" pitchFamily="34" charset="0"/>
              </a:rPr>
              <a:t>In 2019, China has overtaken the US for the first time with 133* companies in the Global Fortune 500 list (12 more Chinese than American companies</a:t>
            </a:r>
            <a:br>
              <a:rPr lang="en-US" sz="1300" dirty="0">
                <a:latin typeface="Gill Sans MT Light" panose="020B0302020104020203" pitchFamily="34" charset="0"/>
              </a:rPr>
            </a:br>
            <a:r>
              <a:rPr lang="en-US" sz="1300" dirty="0">
                <a:latin typeface="Gill Sans MT Light" panose="020B0302020104020203" pitchFamily="34" charset="0"/>
              </a:rPr>
              <a:t>
More and more Chinese champions are pushing into the Fortune 500 list (e.g. </a:t>
            </a:r>
            <a:r>
              <a:rPr lang="en-US" sz="1300" dirty="0" err="1">
                <a:latin typeface="Gill Sans MT Light" panose="020B0302020104020203" pitchFamily="34" charset="0"/>
              </a:rPr>
              <a:t>Gree</a:t>
            </a:r>
            <a:r>
              <a:rPr lang="en-US" sz="1300" dirty="0">
                <a:latin typeface="Gill Sans MT Light" panose="020B0302020104020203" pitchFamily="34" charset="0"/>
              </a:rPr>
              <a:t> and Xiaomi)</a:t>
            </a:r>
          </a:p>
        </p:txBody>
      </p:sp>
    </p:spTree>
    <p:extLst>
      <p:ext uri="{BB962C8B-B14F-4D97-AF65-F5344CB8AC3E}">
        <p14:creationId xmlns:p14="http://schemas.microsoft.com/office/powerpoint/2010/main" val="2853725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Pentagon 28">
            <a:extLst>
              <a:ext uri="{FF2B5EF4-FFF2-40B4-BE49-F238E27FC236}">
                <a16:creationId xmlns:a16="http://schemas.microsoft.com/office/drawing/2014/main" id="{FC860FCF-B986-B44B-81FB-8ECCE561CD36}"/>
              </a:ext>
            </a:extLst>
          </p:cNvPr>
          <p:cNvSpPr/>
          <p:nvPr/>
        </p:nvSpPr>
        <p:spPr>
          <a:xfrm rot="5400000" flipV="1">
            <a:off x="7099176" y="1215989"/>
            <a:ext cx="1624764" cy="1964506"/>
          </a:xfrm>
          <a:prstGeom prst="homePlate">
            <a:avLst>
              <a:gd name="adj" fmla="val 21505"/>
            </a:avLst>
          </a:prstGeom>
          <a:blipFill dpi="0" rotWithShape="1">
            <a:blip r:embed="rId7">
              <a:extLst>
                <a:ext uri="{28A0092B-C50C-407E-A947-70E740481C1C}">
                  <a14:useLocalDpi xmlns:a14="http://schemas.microsoft.com/office/drawing/2010/main" val="0"/>
                </a:ext>
              </a:extLst>
            </a:blip>
            <a:srcRect/>
            <a:stretch>
              <a:fillRect/>
            </a:stretch>
          </a:blipFill>
          <a:ln w="9525">
            <a:noFill/>
            <a:miter lim="800000"/>
            <a:headEnd/>
            <a:tailEnd/>
          </a:ln>
          <a:effectLst/>
        </p:spPr>
        <p:txBody>
          <a:bodyPr wrap="square" lIns="68640" tIns="68640" rIns="68640" bIns="68640" anchor="ctr" anchorCtr="0">
            <a:noAutofit/>
          </a:bodyPr>
          <a:lstStyle/>
          <a:p>
            <a:pPr defTabSz="853432">
              <a:buClr>
                <a:srgbClr val="6DB33F"/>
              </a:buClr>
            </a:pPr>
            <a:endParaRPr lang="en-US" sz="1000" b="1">
              <a:solidFill>
                <a:schemeClr val="bg1"/>
              </a:solidFill>
              <a:ea typeface="PMingLiU" pitchFamily="18" charset="-120"/>
            </a:endParaRPr>
          </a:p>
        </p:txBody>
      </p:sp>
      <p:sp>
        <p:nvSpPr>
          <p:cNvPr id="4" name="Rectangle 3">
            <a:extLst>
              <a:ext uri="{FF2B5EF4-FFF2-40B4-BE49-F238E27FC236}">
                <a16:creationId xmlns:a16="http://schemas.microsoft.com/office/drawing/2014/main" id="{E130A631-C91D-8A46-BB48-66D4A066870F}"/>
              </a:ext>
            </a:extLst>
          </p:cNvPr>
          <p:cNvSpPr/>
          <p:nvPr/>
        </p:nvSpPr>
        <p:spPr bwMode="auto">
          <a:xfrm>
            <a:off x="365125" y="3096884"/>
            <a:ext cx="1998651" cy="3101492"/>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Gill Sans MT Light" pitchFamily="34" charset="0"/>
            </a:endParaRPr>
          </a:p>
        </p:txBody>
      </p:sp>
      <p:sp>
        <p:nvSpPr>
          <p:cNvPr id="31" name="Rectangle 30">
            <a:extLst>
              <a:ext uri="{FF2B5EF4-FFF2-40B4-BE49-F238E27FC236}">
                <a16:creationId xmlns:a16="http://schemas.microsoft.com/office/drawing/2014/main" id="{7DD29208-863A-4940-BF9C-ED032B779536}"/>
              </a:ext>
            </a:extLst>
          </p:cNvPr>
          <p:cNvSpPr/>
          <p:nvPr/>
        </p:nvSpPr>
        <p:spPr bwMode="auto">
          <a:xfrm>
            <a:off x="2521555" y="3096884"/>
            <a:ext cx="1998651" cy="3101492"/>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Gill Sans MT Light" pitchFamily="34" charset="0"/>
            </a:endParaRPr>
          </a:p>
        </p:txBody>
      </p:sp>
      <p:sp>
        <p:nvSpPr>
          <p:cNvPr id="34" name="Rectangle 33">
            <a:extLst>
              <a:ext uri="{FF2B5EF4-FFF2-40B4-BE49-F238E27FC236}">
                <a16:creationId xmlns:a16="http://schemas.microsoft.com/office/drawing/2014/main" id="{53F5E83F-8A3C-9C4B-8550-5A027EA2DF97}"/>
              </a:ext>
            </a:extLst>
          </p:cNvPr>
          <p:cNvSpPr/>
          <p:nvPr/>
        </p:nvSpPr>
        <p:spPr bwMode="auto">
          <a:xfrm>
            <a:off x="4721115" y="3096884"/>
            <a:ext cx="1998651" cy="3101492"/>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Gill Sans MT Light" pitchFamily="34" charset="0"/>
            </a:endParaRPr>
          </a:p>
        </p:txBody>
      </p:sp>
      <p:sp>
        <p:nvSpPr>
          <p:cNvPr id="36" name="Rectangle 35">
            <a:extLst>
              <a:ext uri="{FF2B5EF4-FFF2-40B4-BE49-F238E27FC236}">
                <a16:creationId xmlns:a16="http://schemas.microsoft.com/office/drawing/2014/main" id="{10D9E5CE-056B-5C47-A3D6-09387AAFA71C}"/>
              </a:ext>
            </a:extLst>
          </p:cNvPr>
          <p:cNvSpPr/>
          <p:nvPr/>
        </p:nvSpPr>
        <p:spPr bwMode="auto">
          <a:xfrm>
            <a:off x="6929304" y="3096884"/>
            <a:ext cx="1998651" cy="3101492"/>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Gill Sans MT Light" pitchFamily="34" charset="0"/>
            </a:endParaRPr>
          </a:p>
        </p:txBody>
      </p:sp>
      <p:sp>
        <p:nvSpPr>
          <p:cNvPr id="16" name="Pentagon 15">
            <a:extLst>
              <a:ext uri="{FF2B5EF4-FFF2-40B4-BE49-F238E27FC236}">
                <a16:creationId xmlns:a16="http://schemas.microsoft.com/office/drawing/2014/main" id="{4ADF1A5C-6F5F-5249-9C2A-339689C1697B}"/>
              </a:ext>
            </a:extLst>
          </p:cNvPr>
          <p:cNvSpPr/>
          <p:nvPr/>
        </p:nvSpPr>
        <p:spPr>
          <a:xfrm rot="5400000" flipV="1">
            <a:off x="518306" y="1215987"/>
            <a:ext cx="1624768" cy="1964508"/>
          </a:xfrm>
          <a:prstGeom prst="homePlate">
            <a:avLst>
              <a:gd name="adj" fmla="val 21505"/>
            </a:avLst>
          </a:prstGeom>
          <a:blipFill dpi="0" rotWithShape="1">
            <a:blip r:embed="rId7">
              <a:extLst>
                <a:ext uri="{28A0092B-C50C-407E-A947-70E740481C1C}">
                  <a14:useLocalDpi xmlns:a14="http://schemas.microsoft.com/office/drawing/2010/main" val="0"/>
                </a:ext>
              </a:extLst>
            </a:blip>
            <a:srcRect/>
            <a:stretch>
              <a:fillRect/>
            </a:stretch>
          </a:blipFill>
          <a:ln w="9525">
            <a:noFill/>
            <a:miter lim="800000"/>
            <a:headEnd/>
            <a:tailEnd/>
          </a:ln>
          <a:effectLst/>
        </p:spPr>
        <p:txBody>
          <a:bodyPr wrap="square" lIns="68640" tIns="68640" rIns="68640" bIns="68640" anchor="ctr" anchorCtr="0">
            <a:noAutofit/>
          </a:bodyPr>
          <a:lstStyle/>
          <a:p>
            <a:pPr defTabSz="853432">
              <a:buClr>
                <a:srgbClr val="6DB33F"/>
              </a:buClr>
            </a:pPr>
            <a:endParaRPr lang="en-US" sz="1000" b="1">
              <a:solidFill>
                <a:schemeClr val="bg1"/>
              </a:solidFill>
              <a:ea typeface="PMingLiU" pitchFamily="18" charset="-120"/>
            </a:endParaRPr>
          </a:p>
        </p:txBody>
      </p:sp>
      <p:sp>
        <p:nvSpPr>
          <p:cNvPr id="27" name="Pentagon 26">
            <a:extLst>
              <a:ext uri="{FF2B5EF4-FFF2-40B4-BE49-F238E27FC236}">
                <a16:creationId xmlns:a16="http://schemas.microsoft.com/office/drawing/2014/main" id="{377042F1-B341-4244-BC55-AFEFC1F288BF}"/>
              </a:ext>
            </a:extLst>
          </p:cNvPr>
          <p:cNvSpPr/>
          <p:nvPr/>
        </p:nvSpPr>
        <p:spPr>
          <a:xfrm rot="5400000" flipV="1">
            <a:off x="2722804" y="1201682"/>
            <a:ext cx="1596154" cy="1964505"/>
          </a:xfrm>
          <a:prstGeom prst="homePlate">
            <a:avLst>
              <a:gd name="adj" fmla="val 21505"/>
            </a:avLst>
          </a:prstGeom>
          <a:blipFill dpi="0" rotWithShape="1">
            <a:blip r:embed="rId7">
              <a:extLst>
                <a:ext uri="{28A0092B-C50C-407E-A947-70E740481C1C}">
                  <a14:useLocalDpi xmlns:a14="http://schemas.microsoft.com/office/drawing/2010/main" val="0"/>
                </a:ext>
              </a:extLst>
            </a:blip>
            <a:srcRect/>
            <a:stretch>
              <a:fillRect/>
            </a:stretch>
          </a:blipFill>
          <a:ln w="9525">
            <a:noFill/>
            <a:miter lim="800000"/>
            <a:headEnd/>
            <a:tailEnd/>
          </a:ln>
          <a:effectLst/>
        </p:spPr>
        <p:txBody>
          <a:bodyPr wrap="square" lIns="68640" tIns="68640" rIns="68640" bIns="68640" anchor="ctr" anchorCtr="0">
            <a:noAutofit/>
          </a:bodyPr>
          <a:lstStyle/>
          <a:p>
            <a:pPr defTabSz="853432">
              <a:buClr>
                <a:srgbClr val="6DB33F"/>
              </a:buClr>
            </a:pPr>
            <a:endParaRPr lang="en-US" sz="1000" b="1">
              <a:solidFill>
                <a:schemeClr val="bg1"/>
              </a:solidFill>
              <a:ea typeface="PMingLiU" pitchFamily="18" charset="-120"/>
            </a:endParaRPr>
          </a:p>
        </p:txBody>
      </p:sp>
      <p:sp>
        <p:nvSpPr>
          <p:cNvPr id="28" name="Pentagon 27">
            <a:extLst>
              <a:ext uri="{FF2B5EF4-FFF2-40B4-BE49-F238E27FC236}">
                <a16:creationId xmlns:a16="http://schemas.microsoft.com/office/drawing/2014/main" id="{9E767380-491D-8243-812A-C2847AED606D}"/>
              </a:ext>
            </a:extLst>
          </p:cNvPr>
          <p:cNvSpPr/>
          <p:nvPr/>
        </p:nvSpPr>
        <p:spPr>
          <a:xfrm rot="5400000" flipV="1">
            <a:off x="4890988" y="1215988"/>
            <a:ext cx="1624764" cy="1964505"/>
          </a:xfrm>
          <a:prstGeom prst="homePlate">
            <a:avLst>
              <a:gd name="adj" fmla="val 21505"/>
            </a:avLst>
          </a:prstGeom>
          <a:blipFill dpi="0" rotWithShape="1">
            <a:blip r:embed="rId7">
              <a:extLst>
                <a:ext uri="{28A0092B-C50C-407E-A947-70E740481C1C}">
                  <a14:useLocalDpi xmlns:a14="http://schemas.microsoft.com/office/drawing/2010/main" val="0"/>
                </a:ext>
              </a:extLst>
            </a:blip>
            <a:srcRect/>
            <a:stretch>
              <a:fillRect/>
            </a:stretch>
          </a:blipFill>
          <a:ln w="9525">
            <a:noFill/>
            <a:miter lim="800000"/>
            <a:headEnd/>
            <a:tailEnd/>
          </a:ln>
          <a:effectLst/>
        </p:spPr>
        <p:txBody>
          <a:bodyPr wrap="square" lIns="68640" tIns="68640" rIns="68640" bIns="68640" anchor="ctr" anchorCtr="0">
            <a:noAutofit/>
          </a:bodyPr>
          <a:lstStyle/>
          <a:p>
            <a:pPr defTabSz="853432">
              <a:buClr>
                <a:srgbClr val="6DB33F"/>
              </a:buClr>
            </a:pPr>
            <a:endParaRPr lang="en-US" sz="1000" b="1">
              <a:solidFill>
                <a:schemeClr val="bg1"/>
              </a:solidFill>
              <a:ea typeface="PMingLiU" pitchFamily="18" charset="-120"/>
            </a:endParaRPr>
          </a:p>
        </p:txBody>
      </p:sp>
      <p:sp>
        <p:nvSpPr>
          <p:cNvPr id="2" name="Titel 1">
            <a:extLst>
              <a:ext uri="{FF2B5EF4-FFF2-40B4-BE49-F238E27FC236}">
                <a16:creationId xmlns:a16="http://schemas.microsoft.com/office/drawing/2014/main" id="{D37ECAB2-339A-4860-81CA-16CA6EA1F888}"/>
              </a:ext>
            </a:extLst>
          </p:cNvPr>
          <p:cNvSpPr>
            <a:spLocks noGrp="1"/>
          </p:cNvSpPr>
          <p:nvPr>
            <p:ph type="title"/>
          </p:nvPr>
        </p:nvSpPr>
        <p:spPr>
          <a:xfrm>
            <a:off x="266867" y="664384"/>
            <a:ext cx="7463878" cy="475258"/>
          </a:xfrm>
        </p:spPr>
        <p:txBody>
          <a:bodyPr/>
          <a:lstStyle/>
          <a:p>
            <a:r>
              <a:rPr lang="en-US" sz="3100" kern="1200" dirty="0">
                <a:solidFill>
                  <a:srgbClr val="005B99"/>
                </a:solidFill>
              </a:rPr>
              <a:t>What‘s ahead in China?</a:t>
            </a:r>
          </a:p>
        </p:txBody>
      </p:sp>
      <p:sp>
        <p:nvSpPr>
          <p:cNvPr id="20" name="TextBox 20">
            <a:extLst>
              <a:ext uri="{FF2B5EF4-FFF2-40B4-BE49-F238E27FC236}">
                <a16:creationId xmlns:a16="http://schemas.microsoft.com/office/drawing/2014/main" id="{B59C44CC-102C-7F4E-B02C-3983B79614A4}"/>
              </a:ext>
            </a:extLst>
          </p:cNvPr>
          <p:cNvSpPr txBox="1">
            <a:spLocks/>
          </p:cNvSpPr>
          <p:nvPr>
            <p:custDataLst>
              <p:tags r:id="rId1"/>
            </p:custDataLst>
          </p:nvPr>
        </p:nvSpPr>
        <p:spPr>
          <a:xfrm flipH="1">
            <a:off x="470061" y="1752081"/>
            <a:ext cx="1850584" cy="293869"/>
          </a:xfrm>
          <a:prstGeom prst="rect">
            <a:avLst/>
          </a:prstGeom>
        </p:spPr>
        <p:txBody>
          <a:bodyPr vert="horz" wrap="square" lIns="0" tIns="0" rIns="0" bIns="0" rtlCol="0" anchor="b"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28600" indent="-228600"/>
            <a:r>
              <a:rPr lang="en-US" sz="1512" dirty="0">
                <a:latin typeface="Gill Sans MT" panose="020B0502020104020203" pitchFamily="34" charset="0"/>
              </a:rPr>
              <a:t>1. "Leapfrogging" business systems</a:t>
            </a:r>
          </a:p>
        </p:txBody>
      </p:sp>
      <p:sp>
        <p:nvSpPr>
          <p:cNvPr id="21" name="TextBox 20">
            <a:extLst>
              <a:ext uri="{FF2B5EF4-FFF2-40B4-BE49-F238E27FC236}">
                <a16:creationId xmlns:a16="http://schemas.microsoft.com/office/drawing/2014/main" id="{F6D5EB07-CD6E-4542-8A0F-76510C5B06DB}"/>
              </a:ext>
            </a:extLst>
          </p:cNvPr>
          <p:cNvSpPr txBox="1">
            <a:spLocks/>
          </p:cNvSpPr>
          <p:nvPr>
            <p:custDataLst>
              <p:tags r:id="rId2"/>
            </p:custDataLst>
          </p:nvPr>
        </p:nvSpPr>
        <p:spPr>
          <a:xfrm flipH="1">
            <a:off x="4797123" y="1980683"/>
            <a:ext cx="1757472" cy="304913"/>
          </a:xfrm>
          <a:prstGeom prst="rect">
            <a:avLst/>
          </a:prstGeom>
        </p:spPr>
        <p:txBody>
          <a:bodyPr vert="horz" wrap="square" lIns="0" tIns="0" rIns="0" bIns="0" rtlCol="0" anchor="b"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28600" indent="-228600"/>
            <a:r>
              <a:rPr lang="en-US" sz="1512" dirty="0">
                <a:latin typeface="Gill Sans MT" panose="020B0502020104020203" pitchFamily="34" charset="0"/>
              </a:rPr>
              <a:t>3.  From Investment- to Consumption-driven GDP growth </a:t>
            </a:r>
          </a:p>
        </p:txBody>
      </p:sp>
      <p:sp>
        <p:nvSpPr>
          <p:cNvPr id="23" name="TextBox 22">
            <a:extLst>
              <a:ext uri="{FF2B5EF4-FFF2-40B4-BE49-F238E27FC236}">
                <a16:creationId xmlns:a16="http://schemas.microsoft.com/office/drawing/2014/main" id="{925E6B68-2E05-F64F-91C5-9E57C725C786}"/>
              </a:ext>
            </a:extLst>
          </p:cNvPr>
          <p:cNvSpPr txBox="1">
            <a:spLocks/>
          </p:cNvSpPr>
          <p:nvPr>
            <p:custDataLst>
              <p:tags r:id="rId3"/>
            </p:custDataLst>
          </p:nvPr>
        </p:nvSpPr>
        <p:spPr>
          <a:xfrm flipH="1">
            <a:off x="2647324" y="1752081"/>
            <a:ext cx="1772812" cy="285238"/>
          </a:xfrm>
          <a:prstGeom prst="rect">
            <a:avLst/>
          </a:prstGeom>
        </p:spPr>
        <p:txBody>
          <a:bodyPr vert="horz" wrap="square" lIns="0" tIns="0" rIns="0" bIns="0" rtlCol="0" anchor="b"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28600" indent="-228600"/>
            <a:r>
              <a:rPr lang="en-US" sz="1512">
                <a:latin typeface="Gill Sans MT" panose="020B0502020104020203" pitchFamily="34" charset="0"/>
              </a:rPr>
              <a:t>2.  Expansion of Middle Class </a:t>
            </a:r>
          </a:p>
        </p:txBody>
      </p:sp>
      <p:sp>
        <p:nvSpPr>
          <p:cNvPr id="30" name="Rectangle 5">
            <a:extLst>
              <a:ext uri="{FF2B5EF4-FFF2-40B4-BE49-F238E27FC236}">
                <a16:creationId xmlns:a16="http://schemas.microsoft.com/office/drawing/2014/main" id="{A5B57E67-36E7-9542-AB6C-A312618E2D5E}"/>
              </a:ext>
            </a:extLst>
          </p:cNvPr>
          <p:cNvSpPr>
            <a:spLocks noChangeArrowheads="1"/>
          </p:cNvSpPr>
          <p:nvPr/>
        </p:nvSpPr>
        <p:spPr bwMode="gray">
          <a:xfrm>
            <a:off x="574407" y="5876536"/>
            <a:ext cx="676805"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lgn="l" defTabSz="895350">
              <a:buSzPct val="120000"/>
              <a:defRPr sz="1600">
                <a:solidFill>
                  <a:schemeClr val="tx1"/>
                </a:solidFill>
                <a:latin typeface="Arial" charset="0"/>
                <a:ea typeface="华文楷体" pitchFamily="2" charset="-122"/>
              </a:defRPr>
            </a:lvl1pPr>
            <a:lvl2pPr marL="144463" indent="-142875" algn="l" defTabSz="895350">
              <a:buSzPct val="120000"/>
              <a:buChar char="•"/>
              <a:defRPr sz="1600">
                <a:solidFill>
                  <a:schemeClr val="tx1"/>
                </a:solidFill>
                <a:latin typeface="Arial" charset="0"/>
                <a:ea typeface="华文楷体" pitchFamily="2" charset="-122"/>
              </a:defRPr>
            </a:lvl2pPr>
            <a:lvl3pPr marL="295275" indent="-149225" algn="l" defTabSz="895350">
              <a:buChar char="–"/>
              <a:defRPr sz="1600">
                <a:solidFill>
                  <a:schemeClr val="tx1"/>
                </a:solidFill>
                <a:latin typeface="Arial" charset="0"/>
                <a:ea typeface="华文楷体" pitchFamily="2" charset="-122"/>
              </a:defRPr>
            </a:lvl3pPr>
            <a:lvl4pPr marL="431800" indent="-134938" algn="l" defTabSz="895350">
              <a:buSzPct val="89000"/>
              <a:buChar char="•"/>
              <a:defRPr sz="1600">
                <a:solidFill>
                  <a:schemeClr val="tx1"/>
                </a:solidFill>
                <a:latin typeface="Arial" charset="0"/>
                <a:ea typeface="华文楷体" pitchFamily="2" charset="-122"/>
              </a:defRPr>
            </a:lvl4pPr>
            <a:lvl5pPr marL="582613" indent="-149225" algn="l" defTabSz="895350">
              <a:buChar char="–"/>
              <a:defRPr sz="1600">
                <a:solidFill>
                  <a:schemeClr val="tx1"/>
                </a:solidFill>
                <a:latin typeface="Arial" charset="0"/>
                <a:ea typeface="华文楷体" pitchFamily="2" charset="-122"/>
              </a:defRPr>
            </a:lvl5pPr>
            <a:lvl6pPr marL="1039813" indent="-149225" defTabSz="895350" fontAlgn="base">
              <a:spcBef>
                <a:spcPct val="0"/>
              </a:spcBef>
              <a:spcAft>
                <a:spcPct val="0"/>
              </a:spcAft>
              <a:buSzPct val="75000"/>
              <a:buChar char="–"/>
              <a:defRPr sz="1600">
                <a:solidFill>
                  <a:schemeClr val="tx1"/>
                </a:solidFill>
                <a:latin typeface="Arial" charset="0"/>
                <a:ea typeface="华文楷体" pitchFamily="2" charset="-122"/>
              </a:defRPr>
            </a:lvl6pPr>
            <a:lvl7pPr marL="1497013" indent="-149225" defTabSz="895350" fontAlgn="base">
              <a:spcBef>
                <a:spcPct val="0"/>
              </a:spcBef>
              <a:spcAft>
                <a:spcPct val="0"/>
              </a:spcAft>
              <a:buSzPct val="75000"/>
              <a:buChar char="–"/>
              <a:defRPr sz="1600">
                <a:solidFill>
                  <a:schemeClr val="tx1"/>
                </a:solidFill>
                <a:latin typeface="Arial" charset="0"/>
                <a:ea typeface="华文楷体" pitchFamily="2" charset="-122"/>
              </a:defRPr>
            </a:lvl7pPr>
            <a:lvl8pPr marL="1954213" indent="-149225" defTabSz="895350" fontAlgn="base">
              <a:spcBef>
                <a:spcPct val="0"/>
              </a:spcBef>
              <a:spcAft>
                <a:spcPct val="0"/>
              </a:spcAft>
              <a:buSzPct val="75000"/>
              <a:buChar char="–"/>
              <a:defRPr sz="1600">
                <a:solidFill>
                  <a:schemeClr val="tx1"/>
                </a:solidFill>
                <a:latin typeface="Arial" charset="0"/>
                <a:ea typeface="华文楷体" pitchFamily="2" charset="-122"/>
              </a:defRPr>
            </a:lvl8pPr>
            <a:lvl9pPr marL="2411413" indent="-149225" defTabSz="895350" fontAlgn="base">
              <a:spcBef>
                <a:spcPct val="0"/>
              </a:spcBef>
              <a:spcAft>
                <a:spcPct val="0"/>
              </a:spcAft>
              <a:buSzPct val="75000"/>
              <a:buChar char="–"/>
              <a:defRPr sz="1600">
                <a:solidFill>
                  <a:schemeClr val="tx1"/>
                </a:solidFill>
                <a:latin typeface="Arial" charset="0"/>
                <a:ea typeface="华文楷体" pitchFamily="2" charset="-122"/>
              </a:defRPr>
            </a:lvl9pPr>
          </a:lstStyle>
          <a:p>
            <a:r>
              <a:rPr lang="en-US" sz="1050" b="1" dirty="0">
                <a:latin typeface="+mn-lt"/>
                <a:cs typeface="+mn-cs"/>
              </a:rPr>
              <a:t>Copy</a:t>
            </a:r>
          </a:p>
        </p:txBody>
      </p:sp>
      <p:sp>
        <p:nvSpPr>
          <p:cNvPr id="32" name="Rectangle 9">
            <a:extLst>
              <a:ext uri="{FF2B5EF4-FFF2-40B4-BE49-F238E27FC236}">
                <a16:creationId xmlns:a16="http://schemas.microsoft.com/office/drawing/2014/main" id="{42ECFA85-B2B0-6B4F-8683-CB0DCE46D46E}"/>
              </a:ext>
            </a:extLst>
          </p:cNvPr>
          <p:cNvSpPr>
            <a:spLocks noChangeArrowheads="1"/>
          </p:cNvSpPr>
          <p:nvPr/>
        </p:nvSpPr>
        <p:spPr bwMode="gray">
          <a:xfrm>
            <a:off x="1251212" y="5243576"/>
            <a:ext cx="1031102"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lgn="l" defTabSz="895350">
              <a:buSzPct val="120000"/>
              <a:defRPr sz="1600">
                <a:solidFill>
                  <a:schemeClr val="tx1"/>
                </a:solidFill>
                <a:latin typeface="Arial" charset="0"/>
                <a:ea typeface="华文楷体" pitchFamily="2" charset="-122"/>
              </a:defRPr>
            </a:lvl1pPr>
            <a:lvl2pPr marL="144463" indent="-142875" algn="l" defTabSz="895350">
              <a:buSzPct val="120000"/>
              <a:buChar char="•"/>
              <a:defRPr sz="1600">
                <a:solidFill>
                  <a:schemeClr val="tx1"/>
                </a:solidFill>
                <a:latin typeface="Arial" charset="0"/>
                <a:ea typeface="华文楷体" pitchFamily="2" charset="-122"/>
              </a:defRPr>
            </a:lvl2pPr>
            <a:lvl3pPr marL="295275" indent="-149225" algn="l" defTabSz="895350">
              <a:buChar char="–"/>
              <a:defRPr sz="1600">
                <a:solidFill>
                  <a:schemeClr val="tx1"/>
                </a:solidFill>
                <a:latin typeface="Arial" charset="0"/>
                <a:ea typeface="华文楷体" pitchFamily="2" charset="-122"/>
              </a:defRPr>
            </a:lvl3pPr>
            <a:lvl4pPr marL="431800" indent="-134938" algn="l" defTabSz="895350">
              <a:buSzPct val="89000"/>
              <a:buChar char="•"/>
              <a:defRPr sz="1600">
                <a:solidFill>
                  <a:schemeClr val="tx1"/>
                </a:solidFill>
                <a:latin typeface="Arial" charset="0"/>
                <a:ea typeface="华文楷体" pitchFamily="2" charset="-122"/>
              </a:defRPr>
            </a:lvl4pPr>
            <a:lvl5pPr marL="582613" indent="-149225" algn="l" defTabSz="895350">
              <a:buChar char="–"/>
              <a:defRPr sz="1600">
                <a:solidFill>
                  <a:schemeClr val="tx1"/>
                </a:solidFill>
                <a:latin typeface="Arial" charset="0"/>
                <a:ea typeface="华文楷体" pitchFamily="2" charset="-122"/>
              </a:defRPr>
            </a:lvl5pPr>
            <a:lvl6pPr marL="1039813" indent="-149225" defTabSz="895350" fontAlgn="base">
              <a:spcBef>
                <a:spcPct val="0"/>
              </a:spcBef>
              <a:spcAft>
                <a:spcPct val="0"/>
              </a:spcAft>
              <a:buSzPct val="75000"/>
              <a:buChar char="–"/>
              <a:defRPr sz="1600">
                <a:solidFill>
                  <a:schemeClr val="tx1"/>
                </a:solidFill>
                <a:latin typeface="Arial" charset="0"/>
                <a:ea typeface="华文楷体" pitchFamily="2" charset="-122"/>
              </a:defRPr>
            </a:lvl6pPr>
            <a:lvl7pPr marL="1497013" indent="-149225" defTabSz="895350" fontAlgn="base">
              <a:spcBef>
                <a:spcPct val="0"/>
              </a:spcBef>
              <a:spcAft>
                <a:spcPct val="0"/>
              </a:spcAft>
              <a:buSzPct val="75000"/>
              <a:buChar char="–"/>
              <a:defRPr sz="1600">
                <a:solidFill>
                  <a:schemeClr val="tx1"/>
                </a:solidFill>
                <a:latin typeface="Arial" charset="0"/>
                <a:ea typeface="华文楷体" pitchFamily="2" charset="-122"/>
              </a:defRPr>
            </a:lvl7pPr>
            <a:lvl8pPr marL="1954213" indent="-149225" defTabSz="895350" fontAlgn="base">
              <a:spcBef>
                <a:spcPct val="0"/>
              </a:spcBef>
              <a:spcAft>
                <a:spcPct val="0"/>
              </a:spcAft>
              <a:buSzPct val="75000"/>
              <a:buChar char="–"/>
              <a:defRPr sz="1600">
                <a:solidFill>
                  <a:schemeClr val="tx1"/>
                </a:solidFill>
                <a:latin typeface="Arial" charset="0"/>
                <a:ea typeface="华文楷体" pitchFamily="2" charset="-122"/>
              </a:defRPr>
            </a:lvl8pPr>
            <a:lvl9pPr marL="2411413" indent="-149225" defTabSz="895350" fontAlgn="base">
              <a:spcBef>
                <a:spcPct val="0"/>
              </a:spcBef>
              <a:spcAft>
                <a:spcPct val="0"/>
              </a:spcAft>
              <a:buSzPct val="75000"/>
              <a:buChar char="–"/>
              <a:defRPr sz="1600">
                <a:solidFill>
                  <a:schemeClr val="tx1"/>
                </a:solidFill>
                <a:latin typeface="Arial" charset="0"/>
                <a:ea typeface="华文楷体" pitchFamily="2" charset="-122"/>
              </a:defRPr>
            </a:lvl9pPr>
          </a:lstStyle>
          <a:p>
            <a:r>
              <a:rPr lang="en-US" sz="1050" b="1" dirty="0">
                <a:latin typeface="+mn-lt"/>
                <a:cs typeface="+mn-cs"/>
              </a:rPr>
              <a:t>Mid-Range Products</a:t>
            </a:r>
          </a:p>
        </p:txBody>
      </p:sp>
      <p:sp>
        <p:nvSpPr>
          <p:cNvPr id="33" name="Rectangle 11">
            <a:extLst>
              <a:ext uri="{FF2B5EF4-FFF2-40B4-BE49-F238E27FC236}">
                <a16:creationId xmlns:a16="http://schemas.microsoft.com/office/drawing/2014/main" id="{999D8A54-22F1-194D-904F-7B7DC082F655}"/>
              </a:ext>
            </a:extLst>
          </p:cNvPr>
          <p:cNvSpPr>
            <a:spLocks noChangeArrowheads="1"/>
          </p:cNvSpPr>
          <p:nvPr/>
        </p:nvSpPr>
        <p:spPr bwMode="gray">
          <a:xfrm>
            <a:off x="1778969" y="4794704"/>
            <a:ext cx="863797"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lgn="l" defTabSz="895350">
              <a:buSzPct val="120000"/>
              <a:defRPr sz="1600">
                <a:solidFill>
                  <a:schemeClr val="tx1"/>
                </a:solidFill>
                <a:latin typeface="Arial" charset="0"/>
                <a:ea typeface="华文楷体" pitchFamily="2" charset="-122"/>
              </a:defRPr>
            </a:lvl1pPr>
            <a:lvl2pPr marL="144463" indent="-142875" algn="l" defTabSz="895350">
              <a:buSzPct val="120000"/>
              <a:buChar char="•"/>
              <a:defRPr sz="1600">
                <a:solidFill>
                  <a:schemeClr val="tx1"/>
                </a:solidFill>
                <a:latin typeface="Arial" charset="0"/>
                <a:ea typeface="华文楷体" pitchFamily="2" charset="-122"/>
              </a:defRPr>
            </a:lvl2pPr>
            <a:lvl3pPr marL="295275" indent="-149225" algn="l" defTabSz="895350">
              <a:buChar char="–"/>
              <a:defRPr sz="1600">
                <a:solidFill>
                  <a:schemeClr val="tx1"/>
                </a:solidFill>
                <a:latin typeface="Arial" charset="0"/>
                <a:ea typeface="华文楷体" pitchFamily="2" charset="-122"/>
              </a:defRPr>
            </a:lvl3pPr>
            <a:lvl4pPr marL="431800" indent="-134938" algn="l" defTabSz="895350">
              <a:buSzPct val="89000"/>
              <a:buChar char="•"/>
              <a:defRPr sz="1600">
                <a:solidFill>
                  <a:schemeClr val="tx1"/>
                </a:solidFill>
                <a:latin typeface="Arial" charset="0"/>
                <a:ea typeface="华文楷体" pitchFamily="2" charset="-122"/>
              </a:defRPr>
            </a:lvl4pPr>
            <a:lvl5pPr marL="582613" indent="-149225" algn="l" defTabSz="895350">
              <a:buChar char="–"/>
              <a:defRPr sz="1600">
                <a:solidFill>
                  <a:schemeClr val="tx1"/>
                </a:solidFill>
                <a:latin typeface="Arial" charset="0"/>
                <a:ea typeface="华文楷体" pitchFamily="2" charset="-122"/>
              </a:defRPr>
            </a:lvl5pPr>
            <a:lvl6pPr marL="1039813" indent="-149225" defTabSz="895350" fontAlgn="base">
              <a:spcBef>
                <a:spcPct val="0"/>
              </a:spcBef>
              <a:spcAft>
                <a:spcPct val="0"/>
              </a:spcAft>
              <a:buSzPct val="75000"/>
              <a:buChar char="–"/>
              <a:defRPr sz="1600">
                <a:solidFill>
                  <a:schemeClr val="tx1"/>
                </a:solidFill>
                <a:latin typeface="Arial" charset="0"/>
                <a:ea typeface="华文楷体" pitchFamily="2" charset="-122"/>
              </a:defRPr>
            </a:lvl6pPr>
            <a:lvl7pPr marL="1497013" indent="-149225" defTabSz="895350" fontAlgn="base">
              <a:spcBef>
                <a:spcPct val="0"/>
              </a:spcBef>
              <a:spcAft>
                <a:spcPct val="0"/>
              </a:spcAft>
              <a:buSzPct val="75000"/>
              <a:buChar char="–"/>
              <a:defRPr sz="1600">
                <a:solidFill>
                  <a:schemeClr val="tx1"/>
                </a:solidFill>
                <a:latin typeface="Arial" charset="0"/>
                <a:ea typeface="华文楷体" pitchFamily="2" charset="-122"/>
              </a:defRPr>
            </a:lvl7pPr>
            <a:lvl8pPr marL="1954213" indent="-149225" defTabSz="895350" fontAlgn="base">
              <a:spcBef>
                <a:spcPct val="0"/>
              </a:spcBef>
              <a:spcAft>
                <a:spcPct val="0"/>
              </a:spcAft>
              <a:buSzPct val="75000"/>
              <a:buChar char="–"/>
              <a:defRPr sz="1600">
                <a:solidFill>
                  <a:schemeClr val="tx1"/>
                </a:solidFill>
                <a:latin typeface="Arial" charset="0"/>
                <a:ea typeface="华文楷体" pitchFamily="2" charset="-122"/>
              </a:defRPr>
            </a:lvl8pPr>
            <a:lvl9pPr marL="2411413" indent="-149225" defTabSz="895350" fontAlgn="base">
              <a:spcBef>
                <a:spcPct val="0"/>
              </a:spcBef>
              <a:spcAft>
                <a:spcPct val="0"/>
              </a:spcAft>
              <a:buSzPct val="75000"/>
              <a:buChar char="–"/>
              <a:defRPr sz="1600">
                <a:solidFill>
                  <a:schemeClr val="tx1"/>
                </a:solidFill>
                <a:latin typeface="Arial" charset="0"/>
                <a:ea typeface="华文楷体" pitchFamily="2" charset="-122"/>
              </a:defRPr>
            </a:lvl9pPr>
          </a:lstStyle>
          <a:p>
            <a:r>
              <a:rPr lang="en-US" sz="1050" b="1" dirty="0">
                <a:latin typeface="+mn-lt"/>
                <a:cs typeface="+mn-cs"/>
              </a:rPr>
              <a:t>Leap-</a:t>
            </a:r>
          </a:p>
          <a:p>
            <a:r>
              <a:rPr lang="en-US" sz="1050" b="1" dirty="0">
                <a:latin typeface="+mn-lt"/>
                <a:cs typeface="+mn-cs"/>
              </a:rPr>
              <a:t>frogging</a:t>
            </a:r>
          </a:p>
        </p:txBody>
      </p:sp>
      <p:sp>
        <p:nvSpPr>
          <p:cNvPr id="35" name="Freeform 15">
            <a:extLst>
              <a:ext uri="{FF2B5EF4-FFF2-40B4-BE49-F238E27FC236}">
                <a16:creationId xmlns:a16="http://schemas.microsoft.com/office/drawing/2014/main" id="{60A52DB3-3022-3F4B-A147-D22FD89E9EB1}"/>
              </a:ext>
            </a:extLst>
          </p:cNvPr>
          <p:cNvSpPr>
            <a:spLocks/>
          </p:cNvSpPr>
          <p:nvPr/>
        </p:nvSpPr>
        <p:spPr bwMode="gray">
          <a:xfrm>
            <a:off x="590598" y="4802420"/>
            <a:ext cx="1451889" cy="995552"/>
          </a:xfrm>
          <a:custGeom>
            <a:avLst/>
            <a:gdLst>
              <a:gd name="T0" fmla="*/ 0 w 4995"/>
              <a:gd name="T1" fmla="*/ 871 h 871"/>
              <a:gd name="T2" fmla="*/ 819 w 4995"/>
              <a:gd name="T3" fmla="*/ 871 h 871"/>
              <a:gd name="T4" fmla="*/ 819 w 4995"/>
              <a:gd name="T5" fmla="*/ 697 h 871"/>
              <a:gd name="T6" fmla="*/ 1660 w 4995"/>
              <a:gd name="T7" fmla="*/ 697 h 871"/>
              <a:gd name="T8" fmla="*/ 1660 w 4995"/>
              <a:gd name="T9" fmla="*/ 515 h 871"/>
              <a:gd name="T10" fmla="*/ 2501 w 4995"/>
              <a:gd name="T11" fmla="*/ 515 h 871"/>
              <a:gd name="T12" fmla="*/ 2501 w 4995"/>
              <a:gd name="T13" fmla="*/ 325 h 871"/>
              <a:gd name="T14" fmla="*/ 3335 w 4995"/>
              <a:gd name="T15" fmla="*/ 325 h 871"/>
              <a:gd name="T16" fmla="*/ 3335 w 4995"/>
              <a:gd name="T17" fmla="*/ 174 h 871"/>
              <a:gd name="T18" fmla="*/ 4184 w 4995"/>
              <a:gd name="T19" fmla="*/ 174 h 871"/>
              <a:gd name="T20" fmla="*/ 4184 w 4995"/>
              <a:gd name="T21" fmla="*/ 0 h 871"/>
              <a:gd name="T22" fmla="*/ 4995 w 4995"/>
              <a:gd name="T23" fmla="*/ 0 h 871"/>
              <a:gd name="connsiteX0" fmla="*/ 0 w 8360"/>
              <a:gd name="connsiteY0" fmla="*/ 10190 h 10190"/>
              <a:gd name="connsiteX1" fmla="*/ 0 w 8360"/>
              <a:gd name="connsiteY1" fmla="*/ 10000 h 10190"/>
              <a:gd name="connsiteX2" fmla="*/ 0 w 8360"/>
              <a:gd name="connsiteY2" fmla="*/ 8002 h 10190"/>
              <a:gd name="connsiteX3" fmla="*/ 1683 w 8360"/>
              <a:gd name="connsiteY3" fmla="*/ 8002 h 10190"/>
              <a:gd name="connsiteX4" fmla="*/ 1683 w 8360"/>
              <a:gd name="connsiteY4" fmla="*/ 5913 h 10190"/>
              <a:gd name="connsiteX5" fmla="*/ 3367 w 8360"/>
              <a:gd name="connsiteY5" fmla="*/ 5913 h 10190"/>
              <a:gd name="connsiteX6" fmla="*/ 3367 w 8360"/>
              <a:gd name="connsiteY6" fmla="*/ 3731 h 10190"/>
              <a:gd name="connsiteX7" fmla="*/ 5037 w 8360"/>
              <a:gd name="connsiteY7" fmla="*/ 3731 h 10190"/>
              <a:gd name="connsiteX8" fmla="*/ 5037 w 8360"/>
              <a:gd name="connsiteY8" fmla="*/ 1998 h 10190"/>
              <a:gd name="connsiteX9" fmla="*/ 6736 w 8360"/>
              <a:gd name="connsiteY9" fmla="*/ 1998 h 10190"/>
              <a:gd name="connsiteX10" fmla="*/ 6736 w 8360"/>
              <a:gd name="connsiteY10" fmla="*/ 0 h 10190"/>
              <a:gd name="connsiteX11" fmla="*/ 8360 w 8360"/>
              <a:gd name="connsiteY11" fmla="*/ 0 h 10190"/>
              <a:gd name="connsiteX0" fmla="*/ 0 w 10000"/>
              <a:gd name="connsiteY0" fmla="*/ 10000 h 10000"/>
              <a:gd name="connsiteX1" fmla="*/ 0 w 10000"/>
              <a:gd name="connsiteY1" fmla="*/ 7509 h 10000"/>
              <a:gd name="connsiteX2" fmla="*/ 0 w 10000"/>
              <a:gd name="connsiteY2" fmla="*/ 7853 h 10000"/>
              <a:gd name="connsiteX3" fmla="*/ 2013 w 10000"/>
              <a:gd name="connsiteY3" fmla="*/ 7853 h 10000"/>
              <a:gd name="connsiteX4" fmla="*/ 2013 w 10000"/>
              <a:gd name="connsiteY4" fmla="*/ 5803 h 10000"/>
              <a:gd name="connsiteX5" fmla="*/ 4028 w 10000"/>
              <a:gd name="connsiteY5" fmla="*/ 5803 h 10000"/>
              <a:gd name="connsiteX6" fmla="*/ 4028 w 10000"/>
              <a:gd name="connsiteY6" fmla="*/ 3661 h 10000"/>
              <a:gd name="connsiteX7" fmla="*/ 6025 w 10000"/>
              <a:gd name="connsiteY7" fmla="*/ 3661 h 10000"/>
              <a:gd name="connsiteX8" fmla="*/ 6025 w 10000"/>
              <a:gd name="connsiteY8" fmla="*/ 1961 h 10000"/>
              <a:gd name="connsiteX9" fmla="*/ 8057 w 10000"/>
              <a:gd name="connsiteY9" fmla="*/ 1961 h 10000"/>
              <a:gd name="connsiteX10" fmla="*/ 8057 w 10000"/>
              <a:gd name="connsiteY10" fmla="*/ 0 h 10000"/>
              <a:gd name="connsiteX11" fmla="*/ 10000 w 10000"/>
              <a:gd name="connsiteY11" fmla="*/ 0 h 10000"/>
              <a:gd name="connsiteX0" fmla="*/ 0 w 10000"/>
              <a:gd name="connsiteY0" fmla="*/ 7757 h 7853"/>
              <a:gd name="connsiteX1" fmla="*/ 0 w 10000"/>
              <a:gd name="connsiteY1" fmla="*/ 7509 h 7853"/>
              <a:gd name="connsiteX2" fmla="*/ 0 w 10000"/>
              <a:gd name="connsiteY2" fmla="*/ 7853 h 7853"/>
              <a:gd name="connsiteX3" fmla="*/ 2013 w 10000"/>
              <a:gd name="connsiteY3" fmla="*/ 7853 h 7853"/>
              <a:gd name="connsiteX4" fmla="*/ 2013 w 10000"/>
              <a:gd name="connsiteY4" fmla="*/ 5803 h 7853"/>
              <a:gd name="connsiteX5" fmla="*/ 4028 w 10000"/>
              <a:gd name="connsiteY5" fmla="*/ 5803 h 7853"/>
              <a:gd name="connsiteX6" fmla="*/ 4028 w 10000"/>
              <a:gd name="connsiteY6" fmla="*/ 3661 h 7853"/>
              <a:gd name="connsiteX7" fmla="*/ 6025 w 10000"/>
              <a:gd name="connsiteY7" fmla="*/ 3661 h 7853"/>
              <a:gd name="connsiteX8" fmla="*/ 6025 w 10000"/>
              <a:gd name="connsiteY8" fmla="*/ 1961 h 7853"/>
              <a:gd name="connsiteX9" fmla="*/ 8057 w 10000"/>
              <a:gd name="connsiteY9" fmla="*/ 1961 h 7853"/>
              <a:gd name="connsiteX10" fmla="*/ 8057 w 10000"/>
              <a:gd name="connsiteY10" fmla="*/ 0 h 7853"/>
              <a:gd name="connsiteX11" fmla="*/ 10000 w 10000"/>
              <a:gd name="connsiteY11" fmla="*/ 0 h 7853"/>
              <a:gd name="connsiteX0" fmla="*/ 0 w 10000"/>
              <a:gd name="connsiteY0" fmla="*/ 9878 h 10000"/>
              <a:gd name="connsiteX1" fmla="*/ 0 w 10000"/>
              <a:gd name="connsiteY1" fmla="*/ 9562 h 10000"/>
              <a:gd name="connsiteX2" fmla="*/ 2052 w 10000"/>
              <a:gd name="connsiteY2" fmla="*/ 9833 h 10000"/>
              <a:gd name="connsiteX3" fmla="*/ 2013 w 10000"/>
              <a:gd name="connsiteY3" fmla="*/ 10000 h 10000"/>
              <a:gd name="connsiteX4" fmla="*/ 2013 w 10000"/>
              <a:gd name="connsiteY4" fmla="*/ 7390 h 10000"/>
              <a:gd name="connsiteX5" fmla="*/ 4028 w 10000"/>
              <a:gd name="connsiteY5" fmla="*/ 7390 h 10000"/>
              <a:gd name="connsiteX6" fmla="*/ 4028 w 10000"/>
              <a:gd name="connsiteY6" fmla="*/ 4662 h 10000"/>
              <a:gd name="connsiteX7" fmla="*/ 6025 w 10000"/>
              <a:gd name="connsiteY7" fmla="*/ 4662 h 10000"/>
              <a:gd name="connsiteX8" fmla="*/ 6025 w 10000"/>
              <a:gd name="connsiteY8" fmla="*/ 2497 h 10000"/>
              <a:gd name="connsiteX9" fmla="*/ 8057 w 10000"/>
              <a:gd name="connsiteY9" fmla="*/ 2497 h 10000"/>
              <a:gd name="connsiteX10" fmla="*/ 8057 w 10000"/>
              <a:gd name="connsiteY10" fmla="*/ 0 h 10000"/>
              <a:gd name="connsiteX11" fmla="*/ 10000 w 10000"/>
              <a:gd name="connsiteY11" fmla="*/ 0 h 10000"/>
              <a:gd name="connsiteX0" fmla="*/ 0 w 10000"/>
              <a:gd name="connsiteY0" fmla="*/ 9878 h 10062"/>
              <a:gd name="connsiteX1" fmla="*/ 2027 w 10000"/>
              <a:gd name="connsiteY1" fmla="*/ 10062 h 10062"/>
              <a:gd name="connsiteX2" fmla="*/ 2052 w 10000"/>
              <a:gd name="connsiteY2" fmla="*/ 9833 h 10062"/>
              <a:gd name="connsiteX3" fmla="*/ 2013 w 10000"/>
              <a:gd name="connsiteY3" fmla="*/ 10000 h 10062"/>
              <a:gd name="connsiteX4" fmla="*/ 2013 w 10000"/>
              <a:gd name="connsiteY4" fmla="*/ 7390 h 10062"/>
              <a:gd name="connsiteX5" fmla="*/ 4028 w 10000"/>
              <a:gd name="connsiteY5" fmla="*/ 7390 h 10062"/>
              <a:gd name="connsiteX6" fmla="*/ 4028 w 10000"/>
              <a:gd name="connsiteY6" fmla="*/ 4662 h 10062"/>
              <a:gd name="connsiteX7" fmla="*/ 6025 w 10000"/>
              <a:gd name="connsiteY7" fmla="*/ 4662 h 10062"/>
              <a:gd name="connsiteX8" fmla="*/ 6025 w 10000"/>
              <a:gd name="connsiteY8" fmla="*/ 2497 h 10062"/>
              <a:gd name="connsiteX9" fmla="*/ 8057 w 10000"/>
              <a:gd name="connsiteY9" fmla="*/ 2497 h 10062"/>
              <a:gd name="connsiteX10" fmla="*/ 8057 w 10000"/>
              <a:gd name="connsiteY10" fmla="*/ 0 h 10062"/>
              <a:gd name="connsiteX11" fmla="*/ 10000 w 10000"/>
              <a:gd name="connsiteY11" fmla="*/ 0 h 10062"/>
              <a:gd name="connsiteX0" fmla="*/ 0 w 7997"/>
              <a:gd name="connsiteY0" fmla="*/ 10128 h 10128"/>
              <a:gd name="connsiteX1" fmla="*/ 24 w 7997"/>
              <a:gd name="connsiteY1" fmla="*/ 10062 h 10128"/>
              <a:gd name="connsiteX2" fmla="*/ 49 w 7997"/>
              <a:gd name="connsiteY2" fmla="*/ 9833 h 10128"/>
              <a:gd name="connsiteX3" fmla="*/ 10 w 7997"/>
              <a:gd name="connsiteY3" fmla="*/ 10000 h 10128"/>
              <a:gd name="connsiteX4" fmla="*/ 10 w 7997"/>
              <a:gd name="connsiteY4" fmla="*/ 7390 h 10128"/>
              <a:gd name="connsiteX5" fmla="*/ 2025 w 7997"/>
              <a:gd name="connsiteY5" fmla="*/ 7390 h 10128"/>
              <a:gd name="connsiteX6" fmla="*/ 2025 w 7997"/>
              <a:gd name="connsiteY6" fmla="*/ 4662 h 10128"/>
              <a:gd name="connsiteX7" fmla="*/ 4022 w 7997"/>
              <a:gd name="connsiteY7" fmla="*/ 4662 h 10128"/>
              <a:gd name="connsiteX8" fmla="*/ 4022 w 7997"/>
              <a:gd name="connsiteY8" fmla="*/ 2497 h 10128"/>
              <a:gd name="connsiteX9" fmla="*/ 6054 w 7997"/>
              <a:gd name="connsiteY9" fmla="*/ 2497 h 10128"/>
              <a:gd name="connsiteX10" fmla="*/ 6054 w 7997"/>
              <a:gd name="connsiteY10" fmla="*/ 0 h 10128"/>
              <a:gd name="connsiteX11" fmla="*/ 7997 w 7997"/>
              <a:gd name="connsiteY11" fmla="*/ 0 h 10128"/>
              <a:gd name="connsiteX0" fmla="*/ 18 w 10018"/>
              <a:gd name="connsiteY0" fmla="*/ 10000 h 10000"/>
              <a:gd name="connsiteX1" fmla="*/ 48 w 10018"/>
              <a:gd name="connsiteY1" fmla="*/ 9935 h 10000"/>
              <a:gd name="connsiteX2" fmla="*/ 79 w 10018"/>
              <a:gd name="connsiteY2" fmla="*/ 9709 h 10000"/>
              <a:gd name="connsiteX3" fmla="*/ 0 w 10018"/>
              <a:gd name="connsiteY3" fmla="*/ 7239 h 10000"/>
              <a:gd name="connsiteX4" fmla="*/ 31 w 10018"/>
              <a:gd name="connsiteY4" fmla="*/ 7297 h 10000"/>
              <a:gd name="connsiteX5" fmla="*/ 2550 w 10018"/>
              <a:gd name="connsiteY5" fmla="*/ 7297 h 10000"/>
              <a:gd name="connsiteX6" fmla="*/ 2550 w 10018"/>
              <a:gd name="connsiteY6" fmla="*/ 4603 h 10000"/>
              <a:gd name="connsiteX7" fmla="*/ 5047 w 10018"/>
              <a:gd name="connsiteY7" fmla="*/ 4603 h 10000"/>
              <a:gd name="connsiteX8" fmla="*/ 5047 w 10018"/>
              <a:gd name="connsiteY8" fmla="*/ 2465 h 10000"/>
              <a:gd name="connsiteX9" fmla="*/ 7588 w 10018"/>
              <a:gd name="connsiteY9" fmla="*/ 2465 h 10000"/>
              <a:gd name="connsiteX10" fmla="*/ 7588 w 10018"/>
              <a:gd name="connsiteY10" fmla="*/ 0 h 10000"/>
              <a:gd name="connsiteX11" fmla="*/ 10018 w 10018"/>
              <a:gd name="connsiteY11" fmla="*/ 0 h 10000"/>
              <a:gd name="connsiteX0" fmla="*/ 18 w 10018"/>
              <a:gd name="connsiteY0" fmla="*/ 10000 h 10000"/>
              <a:gd name="connsiteX1" fmla="*/ 48 w 10018"/>
              <a:gd name="connsiteY1" fmla="*/ 9935 h 10000"/>
              <a:gd name="connsiteX2" fmla="*/ 48 w 10018"/>
              <a:gd name="connsiteY2" fmla="*/ 7239 h 10000"/>
              <a:gd name="connsiteX3" fmla="*/ 0 w 10018"/>
              <a:gd name="connsiteY3" fmla="*/ 7239 h 10000"/>
              <a:gd name="connsiteX4" fmla="*/ 31 w 10018"/>
              <a:gd name="connsiteY4" fmla="*/ 7297 h 10000"/>
              <a:gd name="connsiteX5" fmla="*/ 2550 w 10018"/>
              <a:gd name="connsiteY5" fmla="*/ 7297 h 10000"/>
              <a:gd name="connsiteX6" fmla="*/ 2550 w 10018"/>
              <a:gd name="connsiteY6" fmla="*/ 4603 h 10000"/>
              <a:gd name="connsiteX7" fmla="*/ 5047 w 10018"/>
              <a:gd name="connsiteY7" fmla="*/ 4603 h 10000"/>
              <a:gd name="connsiteX8" fmla="*/ 5047 w 10018"/>
              <a:gd name="connsiteY8" fmla="*/ 2465 h 10000"/>
              <a:gd name="connsiteX9" fmla="*/ 7588 w 10018"/>
              <a:gd name="connsiteY9" fmla="*/ 2465 h 10000"/>
              <a:gd name="connsiteX10" fmla="*/ 7588 w 10018"/>
              <a:gd name="connsiteY10" fmla="*/ 0 h 10000"/>
              <a:gd name="connsiteX11" fmla="*/ 10018 w 10018"/>
              <a:gd name="connsiteY11" fmla="*/ 0 h 10000"/>
              <a:gd name="connsiteX0" fmla="*/ 18 w 10018"/>
              <a:gd name="connsiteY0" fmla="*/ 10000 h 10000"/>
              <a:gd name="connsiteX1" fmla="*/ 79 w 10018"/>
              <a:gd name="connsiteY1" fmla="*/ 7547 h 10000"/>
              <a:gd name="connsiteX2" fmla="*/ 48 w 10018"/>
              <a:gd name="connsiteY2" fmla="*/ 7239 h 10000"/>
              <a:gd name="connsiteX3" fmla="*/ 0 w 10018"/>
              <a:gd name="connsiteY3" fmla="*/ 7239 h 10000"/>
              <a:gd name="connsiteX4" fmla="*/ 31 w 10018"/>
              <a:gd name="connsiteY4" fmla="*/ 7297 h 10000"/>
              <a:gd name="connsiteX5" fmla="*/ 2550 w 10018"/>
              <a:gd name="connsiteY5" fmla="*/ 7297 h 10000"/>
              <a:gd name="connsiteX6" fmla="*/ 2550 w 10018"/>
              <a:gd name="connsiteY6" fmla="*/ 4603 h 10000"/>
              <a:gd name="connsiteX7" fmla="*/ 5047 w 10018"/>
              <a:gd name="connsiteY7" fmla="*/ 4603 h 10000"/>
              <a:gd name="connsiteX8" fmla="*/ 5047 w 10018"/>
              <a:gd name="connsiteY8" fmla="*/ 2465 h 10000"/>
              <a:gd name="connsiteX9" fmla="*/ 7588 w 10018"/>
              <a:gd name="connsiteY9" fmla="*/ 2465 h 10000"/>
              <a:gd name="connsiteX10" fmla="*/ 7588 w 10018"/>
              <a:gd name="connsiteY10" fmla="*/ 0 h 10000"/>
              <a:gd name="connsiteX11" fmla="*/ 10018 w 10018"/>
              <a:gd name="connsiteY11" fmla="*/ 0 h 10000"/>
              <a:gd name="connsiteX0" fmla="*/ 18 w 10018"/>
              <a:gd name="connsiteY0" fmla="*/ 7447 h 7549"/>
              <a:gd name="connsiteX1" fmla="*/ 79 w 10018"/>
              <a:gd name="connsiteY1" fmla="*/ 7547 h 7549"/>
              <a:gd name="connsiteX2" fmla="*/ 48 w 10018"/>
              <a:gd name="connsiteY2" fmla="*/ 7239 h 7549"/>
              <a:gd name="connsiteX3" fmla="*/ 0 w 10018"/>
              <a:gd name="connsiteY3" fmla="*/ 7239 h 7549"/>
              <a:gd name="connsiteX4" fmla="*/ 31 w 10018"/>
              <a:gd name="connsiteY4" fmla="*/ 7297 h 7549"/>
              <a:gd name="connsiteX5" fmla="*/ 2550 w 10018"/>
              <a:gd name="connsiteY5" fmla="*/ 7297 h 7549"/>
              <a:gd name="connsiteX6" fmla="*/ 2550 w 10018"/>
              <a:gd name="connsiteY6" fmla="*/ 4603 h 7549"/>
              <a:gd name="connsiteX7" fmla="*/ 5047 w 10018"/>
              <a:gd name="connsiteY7" fmla="*/ 4603 h 7549"/>
              <a:gd name="connsiteX8" fmla="*/ 5047 w 10018"/>
              <a:gd name="connsiteY8" fmla="*/ 2465 h 7549"/>
              <a:gd name="connsiteX9" fmla="*/ 7588 w 10018"/>
              <a:gd name="connsiteY9" fmla="*/ 2465 h 7549"/>
              <a:gd name="connsiteX10" fmla="*/ 7588 w 10018"/>
              <a:gd name="connsiteY10" fmla="*/ 0 h 7549"/>
              <a:gd name="connsiteX11" fmla="*/ 10018 w 10018"/>
              <a:gd name="connsiteY11" fmla="*/ 0 h 7549"/>
              <a:gd name="connsiteX0" fmla="*/ 18 w 7583"/>
              <a:gd name="connsiteY0" fmla="*/ 10047 h 10182"/>
              <a:gd name="connsiteX1" fmla="*/ 79 w 7583"/>
              <a:gd name="connsiteY1" fmla="*/ 10179 h 10182"/>
              <a:gd name="connsiteX2" fmla="*/ 48 w 7583"/>
              <a:gd name="connsiteY2" fmla="*/ 9771 h 10182"/>
              <a:gd name="connsiteX3" fmla="*/ 0 w 7583"/>
              <a:gd name="connsiteY3" fmla="*/ 9771 h 10182"/>
              <a:gd name="connsiteX4" fmla="*/ 31 w 7583"/>
              <a:gd name="connsiteY4" fmla="*/ 9848 h 10182"/>
              <a:gd name="connsiteX5" fmla="*/ 2545 w 7583"/>
              <a:gd name="connsiteY5" fmla="*/ 9848 h 10182"/>
              <a:gd name="connsiteX6" fmla="*/ 2545 w 7583"/>
              <a:gd name="connsiteY6" fmla="*/ 6279 h 10182"/>
              <a:gd name="connsiteX7" fmla="*/ 5038 w 7583"/>
              <a:gd name="connsiteY7" fmla="*/ 6279 h 10182"/>
              <a:gd name="connsiteX8" fmla="*/ 5038 w 7583"/>
              <a:gd name="connsiteY8" fmla="*/ 3447 h 10182"/>
              <a:gd name="connsiteX9" fmla="*/ 7574 w 7583"/>
              <a:gd name="connsiteY9" fmla="*/ 3447 h 10182"/>
              <a:gd name="connsiteX10" fmla="*/ 7574 w 7583"/>
              <a:gd name="connsiteY10" fmla="*/ 182 h 10182"/>
              <a:gd name="connsiteX11" fmla="*/ 7583 w 7583"/>
              <a:gd name="connsiteY11" fmla="*/ 0 h 10182"/>
              <a:gd name="connsiteX0" fmla="*/ 24 w 10032"/>
              <a:gd name="connsiteY0" fmla="*/ 9689 h 9822"/>
              <a:gd name="connsiteX1" fmla="*/ 104 w 10032"/>
              <a:gd name="connsiteY1" fmla="*/ 9819 h 9822"/>
              <a:gd name="connsiteX2" fmla="*/ 63 w 10032"/>
              <a:gd name="connsiteY2" fmla="*/ 9418 h 9822"/>
              <a:gd name="connsiteX3" fmla="*/ 0 w 10032"/>
              <a:gd name="connsiteY3" fmla="*/ 9418 h 9822"/>
              <a:gd name="connsiteX4" fmla="*/ 41 w 10032"/>
              <a:gd name="connsiteY4" fmla="*/ 9494 h 9822"/>
              <a:gd name="connsiteX5" fmla="*/ 3356 w 10032"/>
              <a:gd name="connsiteY5" fmla="*/ 9494 h 9822"/>
              <a:gd name="connsiteX6" fmla="*/ 3356 w 10032"/>
              <a:gd name="connsiteY6" fmla="*/ 5989 h 9822"/>
              <a:gd name="connsiteX7" fmla="*/ 6644 w 10032"/>
              <a:gd name="connsiteY7" fmla="*/ 5989 h 9822"/>
              <a:gd name="connsiteX8" fmla="*/ 6644 w 10032"/>
              <a:gd name="connsiteY8" fmla="*/ 3207 h 9822"/>
              <a:gd name="connsiteX9" fmla="*/ 9988 w 10032"/>
              <a:gd name="connsiteY9" fmla="*/ 3207 h 9822"/>
              <a:gd name="connsiteX10" fmla="*/ 9988 w 10032"/>
              <a:gd name="connsiteY10" fmla="*/ 1 h 9822"/>
              <a:gd name="connsiteX11" fmla="*/ 10032 w 10032"/>
              <a:gd name="connsiteY11" fmla="*/ 3395 h 9822"/>
              <a:gd name="connsiteX0" fmla="*/ 24 w 10000"/>
              <a:gd name="connsiteY0" fmla="*/ 6600 h 6735"/>
              <a:gd name="connsiteX1" fmla="*/ 104 w 10000"/>
              <a:gd name="connsiteY1" fmla="*/ 6732 h 6735"/>
              <a:gd name="connsiteX2" fmla="*/ 63 w 10000"/>
              <a:gd name="connsiteY2" fmla="*/ 6324 h 6735"/>
              <a:gd name="connsiteX3" fmla="*/ 0 w 10000"/>
              <a:gd name="connsiteY3" fmla="*/ 6324 h 6735"/>
              <a:gd name="connsiteX4" fmla="*/ 41 w 10000"/>
              <a:gd name="connsiteY4" fmla="*/ 6401 h 6735"/>
              <a:gd name="connsiteX5" fmla="*/ 3345 w 10000"/>
              <a:gd name="connsiteY5" fmla="*/ 6401 h 6735"/>
              <a:gd name="connsiteX6" fmla="*/ 3345 w 10000"/>
              <a:gd name="connsiteY6" fmla="*/ 2833 h 6735"/>
              <a:gd name="connsiteX7" fmla="*/ 6623 w 10000"/>
              <a:gd name="connsiteY7" fmla="*/ 2833 h 6735"/>
              <a:gd name="connsiteX8" fmla="*/ 6623 w 10000"/>
              <a:gd name="connsiteY8" fmla="*/ 0 h 6735"/>
              <a:gd name="connsiteX9" fmla="*/ 9956 w 10000"/>
              <a:gd name="connsiteY9" fmla="*/ 0 h 6735"/>
              <a:gd name="connsiteX10" fmla="*/ 9988 w 10000"/>
              <a:gd name="connsiteY10" fmla="*/ 10 h 6735"/>
              <a:gd name="connsiteX11" fmla="*/ 10000 w 10000"/>
              <a:gd name="connsiteY11" fmla="*/ 192 h 6735"/>
              <a:gd name="connsiteX0" fmla="*/ 24 w 10000"/>
              <a:gd name="connsiteY0" fmla="*/ 9800 h 9800"/>
              <a:gd name="connsiteX1" fmla="*/ 82 w 10000"/>
              <a:gd name="connsiteY1" fmla="*/ 9423 h 9800"/>
              <a:gd name="connsiteX2" fmla="*/ 63 w 10000"/>
              <a:gd name="connsiteY2" fmla="*/ 9390 h 9800"/>
              <a:gd name="connsiteX3" fmla="*/ 0 w 10000"/>
              <a:gd name="connsiteY3" fmla="*/ 9390 h 9800"/>
              <a:gd name="connsiteX4" fmla="*/ 41 w 10000"/>
              <a:gd name="connsiteY4" fmla="*/ 9504 h 9800"/>
              <a:gd name="connsiteX5" fmla="*/ 3345 w 10000"/>
              <a:gd name="connsiteY5" fmla="*/ 9504 h 9800"/>
              <a:gd name="connsiteX6" fmla="*/ 3345 w 10000"/>
              <a:gd name="connsiteY6" fmla="*/ 4206 h 9800"/>
              <a:gd name="connsiteX7" fmla="*/ 6623 w 10000"/>
              <a:gd name="connsiteY7" fmla="*/ 4206 h 9800"/>
              <a:gd name="connsiteX8" fmla="*/ 6623 w 10000"/>
              <a:gd name="connsiteY8" fmla="*/ 0 h 9800"/>
              <a:gd name="connsiteX9" fmla="*/ 9956 w 10000"/>
              <a:gd name="connsiteY9" fmla="*/ 0 h 9800"/>
              <a:gd name="connsiteX10" fmla="*/ 9988 w 10000"/>
              <a:gd name="connsiteY10" fmla="*/ 15 h 9800"/>
              <a:gd name="connsiteX11" fmla="*/ 10000 w 10000"/>
              <a:gd name="connsiteY11" fmla="*/ 285 h 9800"/>
              <a:gd name="connsiteX0" fmla="*/ 46 w 10000"/>
              <a:gd name="connsiteY0" fmla="*/ 9416 h 9698"/>
              <a:gd name="connsiteX1" fmla="*/ 82 w 10000"/>
              <a:gd name="connsiteY1" fmla="*/ 9615 h 9698"/>
              <a:gd name="connsiteX2" fmla="*/ 63 w 10000"/>
              <a:gd name="connsiteY2" fmla="*/ 9582 h 9698"/>
              <a:gd name="connsiteX3" fmla="*/ 0 w 10000"/>
              <a:gd name="connsiteY3" fmla="*/ 9582 h 9698"/>
              <a:gd name="connsiteX4" fmla="*/ 41 w 10000"/>
              <a:gd name="connsiteY4" fmla="*/ 9698 h 9698"/>
              <a:gd name="connsiteX5" fmla="*/ 3345 w 10000"/>
              <a:gd name="connsiteY5" fmla="*/ 9698 h 9698"/>
              <a:gd name="connsiteX6" fmla="*/ 3345 w 10000"/>
              <a:gd name="connsiteY6" fmla="*/ 4292 h 9698"/>
              <a:gd name="connsiteX7" fmla="*/ 6623 w 10000"/>
              <a:gd name="connsiteY7" fmla="*/ 4292 h 9698"/>
              <a:gd name="connsiteX8" fmla="*/ 6623 w 10000"/>
              <a:gd name="connsiteY8" fmla="*/ 0 h 9698"/>
              <a:gd name="connsiteX9" fmla="*/ 9956 w 10000"/>
              <a:gd name="connsiteY9" fmla="*/ 0 h 9698"/>
              <a:gd name="connsiteX10" fmla="*/ 9988 w 10000"/>
              <a:gd name="connsiteY10" fmla="*/ 15 h 9698"/>
              <a:gd name="connsiteX11" fmla="*/ 10000 w 10000"/>
              <a:gd name="connsiteY11" fmla="*/ 291 h 9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0" h="9698">
                <a:moveTo>
                  <a:pt x="46" y="9416"/>
                </a:moveTo>
                <a:cubicBezTo>
                  <a:pt x="59" y="9371"/>
                  <a:pt x="69" y="9659"/>
                  <a:pt x="82" y="9615"/>
                </a:cubicBezTo>
                <a:cubicBezTo>
                  <a:pt x="95" y="9465"/>
                  <a:pt x="50" y="9733"/>
                  <a:pt x="63" y="9582"/>
                </a:cubicBezTo>
                <a:cubicBezTo>
                  <a:pt x="42" y="9692"/>
                  <a:pt x="21" y="9469"/>
                  <a:pt x="0" y="9582"/>
                </a:cubicBezTo>
                <a:cubicBezTo>
                  <a:pt x="13" y="9620"/>
                  <a:pt x="28" y="9660"/>
                  <a:pt x="41" y="9698"/>
                </a:cubicBezTo>
                <a:lnTo>
                  <a:pt x="3345" y="9698"/>
                </a:lnTo>
                <a:lnTo>
                  <a:pt x="3345" y="4292"/>
                </a:lnTo>
                <a:lnTo>
                  <a:pt x="6623" y="4292"/>
                </a:lnTo>
                <a:lnTo>
                  <a:pt x="6623" y="0"/>
                </a:lnTo>
                <a:lnTo>
                  <a:pt x="9956" y="0"/>
                </a:lnTo>
                <a:cubicBezTo>
                  <a:pt x="9967" y="4"/>
                  <a:pt x="9977" y="10"/>
                  <a:pt x="9988" y="15"/>
                </a:cubicBezTo>
                <a:cubicBezTo>
                  <a:pt x="9992" y="-78"/>
                  <a:pt x="9996" y="384"/>
                  <a:pt x="10000" y="291"/>
                </a:cubicBezTo>
              </a:path>
            </a:pathLst>
          </a:custGeom>
          <a:noFill/>
          <a:ln w="12700" cap="flat" cmpd="sng">
            <a:solidFill>
              <a:schemeClr val="accent2"/>
            </a:solidFill>
            <a:prstDash val="solid"/>
            <a:round/>
            <a:headEnd/>
            <a:tailEnd/>
          </a:ln>
          <a:effectLst/>
          <a:scene3d>
            <a:camera prst="legacyObliqueTopRight"/>
            <a:lightRig rig="legacyFlat3" dir="b"/>
          </a:scene3d>
          <a:sp3d extrusionH="430200" prstMaterial="legacyMatte">
            <a:bevelT w="13500" h="13500" prst="angle"/>
            <a:bevelB w="13500" h="13500" prst="angle"/>
            <a:extrusionClr>
              <a:schemeClr val="accent2"/>
            </a:extrusionClr>
          </a:sp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398" tIns="45204" rIns="90398" bIns="45204" anchor="ctr">
            <a:flatTx/>
          </a:bodyPr>
          <a:lstStyle/>
          <a:p>
            <a:pPr algn="ctr">
              <a:buSzPct val="75000"/>
            </a:pPr>
            <a:endParaRPr lang="en-US" dirty="0">
              <a:solidFill>
                <a:srgbClr val="000000"/>
              </a:solidFill>
              <a:latin typeface="Arial" charset="0"/>
              <a:cs typeface="+mn-cs"/>
            </a:endParaRPr>
          </a:p>
        </p:txBody>
      </p:sp>
      <p:sp>
        <p:nvSpPr>
          <p:cNvPr id="101" name="Rectangle 5">
            <a:extLst>
              <a:ext uri="{FF2B5EF4-FFF2-40B4-BE49-F238E27FC236}">
                <a16:creationId xmlns:a16="http://schemas.microsoft.com/office/drawing/2014/main" id="{D03F235E-3BB0-0F4A-A75D-84F2368C8F69}"/>
              </a:ext>
            </a:extLst>
          </p:cNvPr>
          <p:cNvSpPr>
            <a:spLocks noChangeArrowheads="1"/>
          </p:cNvSpPr>
          <p:nvPr/>
        </p:nvSpPr>
        <p:spPr bwMode="gray">
          <a:xfrm>
            <a:off x="2637045" y="3207340"/>
            <a:ext cx="188316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lgn="l" defTabSz="895350">
              <a:buSzPct val="120000"/>
              <a:defRPr sz="1600">
                <a:solidFill>
                  <a:schemeClr val="tx1"/>
                </a:solidFill>
                <a:latin typeface="Arial" charset="0"/>
                <a:ea typeface="华文楷体" pitchFamily="2" charset="-122"/>
              </a:defRPr>
            </a:lvl1pPr>
            <a:lvl2pPr marL="144463" indent="-142875" algn="l" defTabSz="895350">
              <a:buSzPct val="120000"/>
              <a:buChar char="•"/>
              <a:defRPr sz="1600">
                <a:solidFill>
                  <a:schemeClr val="tx1"/>
                </a:solidFill>
                <a:latin typeface="Arial" charset="0"/>
                <a:ea typeface="华文楷体" pitchFamily="2" charset="-122"/>
              </a:defRPr>
            </a:lvl2pPr>
            <a:lvl3pPr marL="295275" indent="-149225" algn="l" defTabSz="895350">
              <a:buChar char="–"/>
              <a:defRPr sz="1600">
                <a:solidFill>
                  <a:schemeClr val="tx1"/>
                </a:solidFill>
                <a:latin typeface="Arial" charset="0"/>
                <a:ea typeface="华文楷体" pitchFamily="2" charset="-122"/>
              </a:defRPr>
            </a:lvl3pPr>
            <a:lvl4pPr marL="431800" indent="-134938" algn="l" defTabSz="895350">
              <a:buSzPct val="89000"/>
              <a:buChar char="•"/>
              <a:defRPr sz="1600">
                <a:solidFill>
                  <a:schemeClr val="tx1"/>
                </a:solidFill>
                <a:latin typeface="Arial" charset="0"/>
                <a:ea typeface="华文楷体" pitchFamily="2" charset="-122"/>
              </a:defRPr>
            </a:lvl4pPr>
            <a:lvl5pPr marL="582613" indent="-149225" algn="l" defTabSz="895350">
              <a:buChar char="–"/>
              <a:defRPr sz="1600">
                <a:solidFill>
                  <a:schemeClr val="tx1"/>
                </a:solidFill>
                <a:latin typeface="Arial" charset="0"/>
                <a:ea typeface="华文楷体" pitchFamily="2" charset="-122"/>
              </a:defRPr>
            </a:lvl5pPr>
            <a:lvl6pPr marL="1039813" indent="-149225" defTabSz="895350" fontAlgn="base">
              <a:spcBef>
                <a:spcPct val="0"/>
              </a:spcBef>
              <a:spcAft>
                <a:spcPct val="0"/>
              </a:spcAft>
              <a:buSzPct val="75000"/>
              <a:buChar char="–"/>
              <a:defRPr sz="1600">
                <a:solidFill>
                  <a:schemeClr val="tx1"/>
                </a:solidFill>
                <a:latin typeface="Arial" charset="0"/>
                <a:ea typeface="华文楷体" pitchFamily="2" charset="-122"/>
              </a:defRPr>
            </a:lvl6pPr>
            <a:lvl7pPr marL="1497013" indent="-149225" defTabSz="895350" fontAlgn="base">
              <a:spcBef>
                <a:spcPct val="0"/>
              </a:spcBef>
              <a:spcAft>
                <a:spcPct val="0"/>
              </a:spcAft>
              <a:buSzPct val="75000"/>
              <a:buChar char="–"/>
              <a:defRPr sz="1600">
                <a:solidFill>
                  <a:schemeClr val="tx1"/>
                </a:solidFill>
                <a:latin typeface="Arial" charset="0"/>
                <a:ea typeface="华文楷体" pitchFamily="2" charset="-122"/>
              </a:defRPr>
            </a:lvl7pPr>
            <a:lvl8pPr marL="1954213" indent="-149225" defTabSz="895350" fontAlgn="base">
              <a:spcBef>
                <a:spcPct val="0"/>
              </a:spcBef>
              <a:spcAft>
                <a:spcPct val="0"/>
              </a:spcAft>
              <a:buSzPct val="75000"/>
              <a:buChar char="–"/>
              <a:defRPr sz="1600">
                <a:solidFill>
                  <a:schemeClr val="tx1"/>
                </a:solidFill>
                <a:latin typeface="Arial" charset="0"/>
                <a:ea typeface="华文楷体" pitchFamily="2" charset="-122"/>
              </a:defRPr>
            </a:lvl8pPr>
            <a:lvl9pPr marL="2411413" indent="-149225" defTabSz="895350" fontAlgn="base">
              <a:spcBef>
                <a:spcPct val="0"/>
              </a:spcBef>
              <a:spcAft>
                <a:spcPct val="0"/>
              </a:spcAft>
              <a:buSzPct val="75000"/>
              <a:buChar char="–"/>
              <a:defRPr sz="1600">
                <a:solidFill>
                  <a:schemeClr val="tx1"/>
                </a:solidFill>
                <a:latin typeface="Arial" charset="0"/>
                <a:ea typeface="华文楷体" pitchFamily="2" charset="-122"/>
              </a:defRPr>
            </a:lvl9pPr>
          </a:lstStyle>
          <a:p>
            <a:r>
              <a:rPr lang="de-DE" sz="1400" dirty="0">
                <a:latin typeface="Gill Sans MT" panose="020B0502020104020203" pitchFamily="34" charset="0"/>
              </a:rPr>
              <a:t>374 </a:t>
            </a:r>
            <a:r>
              <a:rPr lang="de-DE" sz="1400" dirty="0" err="1">
                <a:latin typeface="Gill Sans MT" panose="020B0502020104020203" pitchFamily="34" charset="0"/>
              </a:rPr>
              <a:t>million</a:t>
            </a:r>
            <a:r>
              <a:rPr lang="de-DE" sz="1400" dirty="0">
                <a:latin typeface="Gill Sans MT" panose="020B0502020104020203" pitchFamily="34" charset="0"/>
              </a:rPr>
              <a:t> </a:t>
            </a:r>
            <a:r>
              <a:rPr lang="de-DE" sz="1400" dirty="0" err="1">
                <a:latin typeface="Gill Sans MT" panose="020B0502020104020203" pitchFamily="34" charset="0"/>
              </a:rPr>
              <a:t>Middle</a:t>
            </a:r>
            <a:r>
              <a:rPr lang="de-DE" sz="1400" dirty="0">
                <a:latin typeface="Gill Sans MT" panose="020B0502020104020203" pitchFamily="34" charset="0"/>
              </a:rPr>
              <a:t> Class </a:t>
            </a:r>
            <a:r>
              <a:rPr lang="de-DE" sz="1400" dirty="0" err="1">
                <a:latin typeface="Gill Sans MT" panose="020B0502020104020203" pitchFamily="34" charset="0"/>
              </a:rPr>
              <a:t>Households</a:t>
            </a:r>
            <a:r>
              <a:rPr lang="de-DE" sz="1400" dirty="0">
                <a:latin typeface="Gill Sans MT" panose="020B0502020104020203" pitchFamily="34" charset="0"/>
              </a:rPr>
              <a:t> </a:t>
            </a:r>
            <a:r>
              <a:rPr lang="de-DE" sz="1400" dirty="0" err="1">
                <a:latin typeface="Gill Sans MT" panose="020B0502020104020203" pitchFamily="34" charset="0"/>
              </a:rPr>
              <a:t>up</a:t>
            </a:r>
            <a:r>
              <a:rPr lang="de-DE" sz="1400" dirty="0">
                <a:latin typeface="Gill Sans MT" panose="020B0502020104020203" pitchFamily="34" charset="0"/>
              </a:rPr>
              <a:t> </a:t>
            </a:r>
            <a:r>
              <a:rPr lang="de-DE" sz="1400" dirty="0" err="1">
                <a:latin typeface="Gill Sans MT" panose="020B0502020104020203" pitchFamily="34" charset="0"/>
              </a:rPr>
              <a:t>from</a:t>
            </a:r>
            <a:r>
              <a:rPr lang="de-DE" sz="1400" dirty="0">
                <a:latin typeface="Gill Sans MT" panose="020B0502020104020203" pitchFamily="34" charset="0"/>
              </a:rPr>
              <a:t> 44 </a:t>
            </a:r>
            <a:r>
              <a:rPr lang="de-DE" sz="1400" dirty="0" err="1">
                <a:latin typeface="Gill Sans MT" panose="020B0502020104020203" pitchFamily="34" charset="0"/>
              </a:rPr>
              <a:t>million</a:t>
            </a:r>
            <a:r>
              <a:rPr lang="de-DE" sz="1400" dirty="0">
                <a:latin typeface="Gill Sans MT" panose="020B0502020104020203" pitchFamily="34" charset="0"/>
              </a:rPr>
              <a:t> 10 </a:t>
            </a:r>
            <a:r>
              <a:rPr lang="de-DE" sz="1400" dirty="0" err="1">
                <a:latin typeface="Gill Sans MT" panose="020B0502020104020203" pitchFamily="34" charset="0"/>
              </a:rPr>
              <a:t>years</a:t>
            </a:r>
            <a:r>
              <a:rPr lang="de-DE" sz="1400" dirty="0">
                <a:latin typeface="Gill Sans MT" panose="020B0502020104020203" pitchFamily="34" charset="0"/>
              </a:rPr>
              <a:t> </a:t>
            </a:r>
            <a:r>
              <a:rPr lang="de-DE" sz="1400" dirty="0" err="1">
                <a:latin typeface="Gill Sans MT" panose="020B0502020104020203" pitchFamily="34" charset="0"/>
              </a:rPr>
              <a:t>ago</a:t>
            </a:r>
            <a:endParaRPr lang="en-US" sz="1400" dirty="0">
              <a:latin typeface="Gill Sans MT" panose="020B0502020104020203" pitchFamily="34" charset="0"/>
            </a:endParaRPr>
          </a:p>
        </p:txBody>
      </p:sp>
      <p:pic>
        <p:nvPicPr>
          <p:cNvPr id="5" name="Picture 4">
            <a:extLst>
              <a:ext uri="{FF2B5EF4-FFF2-40B4-BE49-F238E27FC236}">
                <a16:creationId xmlns:a16="http://schemas.microsoft.com/office/drawing/2014/main" id="{98DE3EFF-4400-1643-81C8-8611C55C50B3}"/>
              </a:ext>
            </a:extLst>
          </p:cNvPr>
          <p:cNvPicPr>
            <a:picLocks noChangeAspect="1"/>
          </p:cNvPicPr>
          <p:nvPr/>
        </p:nvPicPr>
        <p:blipFill>
          <a:blip r:embed="rId8">
            <a:extLst>
              <a:ext uri="{BEBA8EAE-BF5A-486C-A8C5-ECC9F3942E4B}">
                <a14:imgProps xmlns:a14="http://schemas.microsoft.com/office/drawing/2010/main">
                  <a14:imgLayer r:embed="rId9">
                    <a14:imgEffect>
                      <a14:saturation sat="0"/>
                    </a14:imgEffect>
                  </a14:imgLayer>
                </a14:imgProps>
              </a:ext>
            </a:extLst>
          </a:blip>
          <a:stretch>
            <a:fillRect/>
          </a:stretch>
        </p:blipFill>
        <p:spPr>
          <a:xfrm>
            <a:off x="2794809" y="4629092"/>
            <a:ext cx="1409028" cy="1409028"/>
          </a:xfrm>
          <a:prstGeom prst="rect">
            <a:avLst/>
          </a:prstGeom>
        </p:spPr>
      </p:pic>
      <p:sp>
        <p:nvSpPr>
          <p:cNvPr id="38" name="Rectangle 5">
            <a:extLst>
              <a:ext uri="{FF2B5EF4-FFF2-40B4-BE49-F238E27FC236}">
                <a16:creationId xmlns:a16="http://schemas.microsoft.com/office/drawing/2014/main" id="{0A1FA461-53B2-FA41-B432-43760772B121}"/>
              </a:ext>
            </a:extLst>
          </p:cNvPr>
          <p:cNvSpPr>
            <a:spLocks noChangeArrowheads="1"/>
          </p:cNvSpPr>
          <p:nvPr/>
        </p:nvSpPr>
        <p:spPr bwMode="gray">
          <a:xfrm>
            <a:off x="7080031" y="3207340"/>
            <a:ext cx="1734396"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lgn="l" defTabSz="895350">
              <a:buSzPct val="120000"/>
              <a:defRPr sz="1600">
                <a:solidFill>
                  <a:schemeClr val="tx1"/>
                </a:solidFill>
                <a:latin typeface="Arial" charset="0"/>
                <a:ea typeface="华文楷体" pitchFamily="2" charset="-122"/>
              </a:defRPr>
            </a:lvl1pPr>
            <a:lvl2pPr marL="144463" indent="-142875" algn="l" defTabSz="895350">
              <a:buSzPct val="120000"/>
              <a:buChar char="•"/>
              <a:defRPr sz="1600">
                <a:solidFill>
                  <a:schemeClr val="tx1"/>
                </a:solidFill>
                <a:latin typeface="Arial" charset="0"/>
                <a:ea typeface="华文楷体" pitchFamily="2" charset="-122"/>
              </a:defRPr>
            </a:lvl2pPr>
            <a:lvl3pPr marL="295275" indent="-149225" algn="l" defTabSz="895350">
              <a:buChar char="–"/>
              <a:defRPr sz="1600">
                <a:solidFill>
                  <a:schemeClr val="tx1"/>
                </a:solidFill>
                <a:latin typeface="Arial" charset="0"/>
                <a:ea typeface="华文楷体" pitchFamily="2" charset="-122"/>
              </a:defRPr>
            </a:lvl3pPr>
            <a:lvl4pPr marL="431800" indent="-134938" algn="l" defTabSz="895350">
              <a:buSzPct val="89000"/>
              <a:buChar char="•"/>
              <a:defRPr sz="1600">
                <a:solidFill>
                  <a:schemeClr val="tx1"/>
                </a:solidFill>
                <a:latin typeface="Arial" charset="0"/>
                <a:ea typeface="华文楷体" pitchFamily="2" charset="-122"/>
              </a:defRPr>
            </a:lvl4pPr>
            <a:lvl5pPr marL="582613" indent="-149225" algn="l" defTabSz="895350">
              <a:buChar char="–"/>
              <a:defRPr sz="1600">
                <a:solidFill>
                  <a:schemeClr val="tx1"/>
                </a:solidFill>
                <a:latin typeface="Arial" charset="0"/>
                <a:ea typeface="华文楷体" pitchFamily="2" charset="-122"/>
              </a:defRPr>
            </a:lvl5pPr>
            <a:lvl6pPr marL="1039813" indent="-149225" defTabSz="895350" fontAlgn="base">
              <a:spcBef>
                <a:spcPct val="0"/>
              </a:spcBef>
              <a:spcAft>
                <a:spcPct val="0"/>
              </a:spcAft>
              <a:buSzPct val="75000"/>
              <a:buChar char="–"/>
              <a:defRPr sz="1600">
                <a:solidFill>
                  <a:schemeClr val="tx1"/>
                </a:solidFill>
                <a:latin typeface="Arial" charset="0"/>
                <a:ea typeface="华文楷体" pitchFamily="2" charset="-122"/>
              </a:defRPr>
            </a:lvl6pPr>
            <a:lvl7pPr marL="1497013" indent="-149225" defTabSz="895350" fontAlgn="base">
              <a:spcBef>
                <a:spcPct val="0"/>
              </a:spcBef>
              <a:spcAft>
                <a:spcPct val="0"/>
              </a:spcAft>
              <a:buSzPct val="75000"/>
              <a:buChar char="–"/>
              <a:defRPr sz="1600">
                <a:solidFill>
                  <a:schemeClr val="tx1"/>
                </a:solidFill>
                <a:latin typeface="Arial" charset="0"/>
                <a:ea typeface="华文楷体" pitchFamily="2" charset="-122"/>
              </a:defRPr>
            </a:lvl7pPr>
            <a:lvl8pPr marL="1954213" indent="-149225" defTabSz="895350" fontAlgn="base">
              <a:spcBef>
                <a:spcPct val="0"/>
              </a:spcBef>
              <a:spcAft>
                <a:spcPct val="0"/>
              </a:spcAft>
              <a:buSzPct val="75000"/>
              <a:buChar char="–"/>
              <a:defRPr sz="1600">
                <a:solidFill>
                  <a:schemeClr val="tx1"/>
                </a:solidFill>
                <a:latin typeface="Arial" charset="0"/>
                <a:ea typeface="华文楷体" pitchFamily="2" charset="-122"/>
              </a:defRPr>
            </a:lvl8pPr>
            <a:lvl9pPr marL="2411413" indent="-149225" defTabSz="895350" fontAlgn="base">
              <a:spcBef>
                <a:spcPct val="0"/>
              </a:spcBef>
              <a:spcAft>
                <a:spcPct val="0"/>
              </a:spcAft>
              <a:buSzPct val="75000"/>
              <a:buChar char="–"/>
              <a:defRPr sz="1600">
                <a:solidFill>
                  <a:schemeClr val="tx1"/>
                </a:solidFill>
                <a:latin typeface="Arial" charset="0"/>
                <a:ea typeface="华文楷体" pitchFamily="2" charset="-122"/>
              </a:defRPr>
            </a:lvl9pPr>
          </a:lstStyle>
          <a:p>
            <a:r>
              <a:rPr lang="en-US" sz="1400" dirty="0">
                <a:latin typeface="Gill Sans MT" panose="020B0502020104020203" pitchFamily="34" charset="0"/>
              </a:rPr>
              <a:t> “One Road – One Belt” opening up 63% of global population</a:t>
            </a:r>
          </a:p>
        </p:txBody>
      </p:sp>
      <p:pic>
        <p:nvPicPr>
          <p:cNvPr id="8" name="Picture 7">
            <a:extLst>
              <a:ext uri="{FF2B5EF4-FFF2-40B4-BE49-F238E27FC236}">
                <a16:creationId xmlns:a16="http://schemas.microsoft.com/office/drawing/2014/main" id="{CE6435C4-4B5B-0E41-97EA-20C287A1196B}"/>
              </a:ext>
            </a:extLst>
          </p:cNvPr>
          <p:cNvPicPr>
            <a:picLocks noChangeAspect="1"/>
          </p:cNvPicPr>
          <p:nvPr/>
        </p:nvPicPr>
        <p:blipFill>
          <a:blip r:embed="rId10"/>
          <a:stretch>
            <a:fillRect/>
          </a:stretch>
        </p:blipFill>
        <p:spPr>
          <a:xfrm>
            <a:off x="6990448" y="4609502"/>
            <a:ext cx="1841474" cy="1144810"/>
          </a:xfrm>
          <a:prstGeom prst="rect">
            <a:avLst/>
          </a:prstGeom>
        </p:spPr>
      </p:pic>
      <p:pic>
        <p:nvPicPr>
          <p:cNvPr id="10" name="Picture 9">
            <a:extLst>
              <a:ext uri="{FF2B5EF4-FFF2-40B4-BE49-F238E27FC236}">
                <a16:creationId xmlns:a16="http://schemas.microsoft.com/office/drawing/2014/main" id="{C84C4E7B-1AB5-2443-B6D7-38FE5207F307}"/>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Lst>
          </a:blip>
          <a:stretch>
            <a:fillRect/>
          </a:stretch>
        </p:blipFill>
        <p:spPr>
          <a:xfrm>
            <a:off x="4906843" y="4609502"/>
            <a:ext cx="1538031" cy="1593960"/>
          </a:xfrm>
          <a:prstGeom prst="rect">
            <a:avLst/>
          </a:prstGeom>
        </p:spPr>
      </p:pic>
      <p:sp>
        <p:nvSpPr>
          <p:cNvPr id="40" name="Rectangle 5">
            <a:extLst>
              <a:ext uri="{FF2B5EF4-FFF2-40B4-BE49-F238E27FC236}">
                <a16:creationId xmlns:a16="http://schemas.microsoft.com/office/drawing/2014/main" id="{A3391AF1-181F-8346-BB45-DD82FE3839EA}"/>
              </a:ext>
            </a:extLst>
          </p:cNvPr>
          <p:cNvSpPr>
            <a:spLocks noChangeArrowheads="1"/>
          </p:cNvSpPr>
          <p:nvPr/>
        </p:nvSpPr>
        <p:spPr bwMode="gray">
          <a:xfrm>
            <a:off x="4894357" y="3177635"/>
            <a:ext cx="1734396"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lgn="l" defTabSz="895350">
              <a:buSzPct val="120000"/>
              <a:defRPr sz="1600">
                <a:solidFill>
                  <a:schemeClr val="tx1"/>
                </a:solidFill>
                <a:latin typeface="Arial" charset="0"/>
                <a:ea typeface="华文楷体" pitchFamily="2" charset="-122"/>
              </a:defRPr>
            </a:lvl1pPr>
            <a:lvl2pPr marL="144463" indent="-142875" algn="l" defTabSz="895350">
              <a:buSzPct val="120000"/>
              <a:buChar char="•"/>
              <a:defRPr sz="1600">
                <a:solidFill>
                  <a:schemeClr val="tx1"/>
                </a:solidFill>
                <a:latin typeface="Arial" charset="0"/>
                <a:ea typeface="华文楷体" pitchFamily="2" charset="-122"/>
              </a:defRPr>
            </a:lvl2pPr>
            <a:lvl3pPr marL="295275" indent="-149225" algn="l" defTabSz="895350">
              <a:buChar char="–"/>
              <a:defRPr sz="1600">
                <a:solidFill>
                  <a:schemeClr val="tx1"/>
                </a:solidFill>
                <a:latin typeface="Arial" charset="0"/>
                <a:ea typeface="华文楷体" pitchFamily="2" charset="-122"/>
              </a:defRPr>
            </a:lvl3pPr>
            <a:lvl4pPr marL="431800" indent="-134938" algn="l" defTabSz="895350">
              <a:buSzPct val="89000"/>
              <a:buChar char="•"/>
              <a:defRPr sz="1600">
                <a:solidFill>
                  <a:schemeClr val="tx1"/>
                </a:solidFill>
                <a:latin typeface="Arial" charset="0"/>
                <a:ea typeface="华文楷体" pitchFamily="2" charset="-122"/>
              </a:defRPr>
            </a:lvl4pPr>
            <a:lvl5pPr marL="582613" indent="-149225" algn="l" defTabSz="895350">
              <a:buChar char="–"/>
              <a:defRPr sz="1600">
                <a:solidFill>
                  <a:schemeClr val="tx1"/>
                </a:solidFill>
                <a:latin typeface="Arial" charset="0"/>
                <a:ea typeface="华文楷体" pitchFamily="2" charset="-122"/>
              </a:defRPr>
            </a:lvl5pPr>
            <a:lvl6pPr marL="1039813" indent="-149225" defTabSz="895350" fontAlgn="base">
              <a:spcBef>
                <a:spcPct val="0"/>
              </a:spcBef>
              <a:spcAft>
                <a:spcPct val="0"/>
              </a:spcAft>
              <a:buSzPct val="75000"/>
              <a:buChar char="–"/>
              <a:defRPr sz="1600">
                <a:solidFill>
                  <a:schemeClr val="tx1"/>
                </a:solidFill>
                <a:latin typeface="Arial" charset="0"/>
                <a:ea typeface="华文楷体" pitchFamily="2" charset="-122"/>
              </a:defRPr>
            </a:lvl6pPr>
            <a:lvl7pPr marL="1497013" indent="-149225" defTabSz="895350" fontAlgn="base">
              <a:spcBef>
                <a:spcPct val="0"/>
              </a:spcBef>
              <a:spcAft>
                <a:spcPct val="0"/>
              </a:spcAft>
              <a:buSzPct val="75000"/>
              <a:buChar char="–"/>
              <a:defRPr sz="1600">
                <a:solidFill>
                  <a:schemeClr val="tx1"/>
                </a:solidFill>
                <a:latin typeface="Arial" charset="0"/>
                <a:ea typeface="华文楷体" pitchFamily="2" charset="-122"/>
              </a:defRPr>
            </a:lvl7pPr>
            <a:lvl8pPr marL="1954213" indent="-149225" defTabSz="895350" fontAlgn="base">
              <a:spcBef>
                <a:spcPct val="0"/>
              </a:spcBef>
              <a:spcAft>
                <a:spcPct val="0"/>
              </a:spcAft>
              <a:buSzPct val="75000"/>
              <a:buChar char="–"/>
              <a:defRPr sz="1600">
                <a:solidFill>
                  <a:schemeClr val="tx1"/>
                </a:solidFill>
                <a:latin typeface="Arial" charset="0"/>
                <a:ea typeface="华文楷体" pitchFamily="2" charset="-122"/>
              </a:defRPr>
            </a:lvl8pPr>
            <a:lvl9pPr marL="2411413" indent="-149225" defTabSz="895350" fontAlgn="base">
              <a:spcBef>
                <a:spcPct val="0"/>
              </a:spcBef>
              <a:spcAft>
                <a:spcPct val="0"/>
              </a:spcAft>
              <a:buSzPct val="75000"/>
              <a:buChar char="–"/>
              <a:defRPr sz="1600">
                <a:solidFill>
                  <a:schemeClr val="tx1"/>
                </a:solidFill>
                <a:latin typeface="Arial" charset="0"/>
                <a:ea typeface="华文楷体" pitchFamily="2" charset="-122"/>
              </a:defRPr>
            </a:lvl9pPr>
          </a:lstStyle>
          <a:p>
            <a:r>
              <a:rPr lang="en-US" sz="1400" dirty="0">
                <a:latin typeface="Gill Sans MT" panose="020B0502020104020203" pitchFamily="34" charset="0"/>
              </a:rPr>
              <a:t>Average annual salary increased by 10X in last 20 years  fueling consumption</a:t>
            </a:r>
          </a:p>
        </p:txBody>
      </p:sp>
      <p:sp>
        <p:nvSpPr>
          <p:cNvPr id="41" name="McK 5. Source">
            <a:extLst>
              <a:ext uri="{FF2B5EF4-FFF2-40B4-BE49-F238E27FC236}">
                <a16:creationId xmlns:a16="http://schemas.microsoft.com/office/drawing/2014/main" id="{F40749A1-65A4-F247-AF28-6BA412253048}"/>
              </a:ext>
            </a:extLst>
          </p:cNvPr>
          <p:cNvSpPr>
            <a:spLocks noChangeArrowheads="1"/>
          </p:cNvSpPr>
          <p:nvPr>
            <p:custDataLst>
              <p:tags r:id="rId4"/>
            </p:custDataLst>
          </p:nvPr>
        </p:nvSpPr>
        <p:spPr bwMode="auto">
          <a:xfrm>
            <a:off x="365125" y="6445578"/>
            <a:ext cx="8449302" cy="3077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ctr">
            <a:spAutoFit/>
          </a:bodyPr>
          <a:lstStyle/>
          <a:p>
            <a:pPr defTabSz="802620">
              <a:tabLst>
                <a:tab pos="549311" algn="l"/>
              </a:tabLst>
            </a:pPr>
            <a:r>
              <a:rPr lang="de" sz="1000" dirty="0">
                <a:solidFill>
                  <a:srgbClr val="000000"/>
                </a:solidFill>
                <a:ea typeface="宋体" pitchFamily="2" charset="-122"/>
                <a:cs typeface="Arial" pitchFamily="34" charset="0"/>
              </a:rPr>
              <a:t>Source: The Economist; World Bank; </a:t>
            </a:r>
            <a:r>
              <a:rPr lang="de" sz="1000" dirty="0" err="1">
                <a:solidFill>
                  <a:srgbClr val="000000"/>
                </a:solidFill>
                <a:ea typeface="宋体" pitchFamily="2" charset="-122"/>
                <a:cs typeface="Arial" pitchFamily="34" charset="0"/>
              </a:rPr>
              <a:t>Qilin</a:t>
            </a:r>
            <a:r>
              <a:rPr lang="de" sz="1000" dirty="0">
                <a:solidFill>
                  <a:srgbClr val="000000"/>
                </a:solidFill>
                <a:ea typeface="宋体" pitchFamily="2" charset="-122"/>
                <a:cs typeface="Arial" pitchFamily="34" charset="0"/>
              </a:rPr>
              <a:t> Capital </a:t>
            </a:r>
            <a:r>
              <a:rPr lang="de" sz="1000" dirty="0" err="1">
                <a:solidFill>
                  <a:srgbClr val="000000"/>
                </a:solidFill>
                <a:ea typeface="宋体" pitchFamily="2" charset="-122"/>
                <a:cs typeface="Arial" pitchFamily="34" charset="0"/>
              </a:rPr>
              <a:t>Analys</a:t>
            </a:r>
            <a:r>
              <a:rPr lang="de-DE" sz="1000" dirty="0" err="1">
                <a:solidFill>
                  <a:srgbClr val="000000"/>
                </a:solidFill>
                <a:ea typeface="宋体" pitchFamily="2" charset="-122"/>
                <a:cs typeface="Arial" pitchFamily="34" charset="0"/>
              </a:rPr>
              <a:t>is</a:t>
            </a:r>
            <a:endParaRPr lang="de" sz="1000" dirty="0">
              <a:solidFill>
                <a:srgbClr val="000000"/>
              </a:solidFill>
              <a:ea typeface="宋体" pitchFamily="2" charset="-122"/>
              <a:cs typeface="Arial" pitchFamily="34" charset="0"/>
            </a:endParaRPr>
          </a:p>
          <a:p>
            <a:pPr defTabSz="802620">
              <a:tabLst>
                <a:tab pos="549311" algn="l"/>
              </a:tabLst>
            </a:pPr>
            <a:endParaRPr lang="de" sz="1000" dirty="0">
              <a:solidFill>
                <a:srgbClr val="000000"/>
              </a:solidFill>
              <a:ea typeface="宋体" pitchFamily="2" charset="-122"/>
              <a:cs typeface="Arial" pitchFamily="34" charset="0"/>
            </a:endParaRPr>
          </a:p>
        </p:txBody>
      </p:sp>
      <p:sp>
        <p:nvSpPr>
          <p:cNvPr id="39" name="TextBox 21">
            <a:extLst>
              <a:ext uri="{FF2B5EF4-FFF2-40B4-BE49-F238E27FC236}">
                <a16:creationId xmlns:a16="http://schemas.microsoft.com/office/drawing/2014/main" id="{EC795D8A-7088-4AEB-9E32-E9FC648D7A27}"/>
              </a:ext>
            </a:extLst>
          </p:cNvPr>
          <p:cNvSpPr txBox="1">
            <a:spLocks/>
          </p:cNvSpPr>
          <p:nvPr>
            <p:custDataLst>
              <p:tags r:id="rId5"/>
            </p:custDataLst>
          </p:nvPr>
        </p:nvSpPr>
        <p:spPr>
          <a:xfrm flipH="1">
            <a:off x="6986512" y="1757318"/>
            <a:ext cx="1952597" cy="293869"/>
          </a:xfrm>
          <a:prstGeom prst="rect">
            <a:avLst/>
          </a:prstGeom>
        </p:spPr>
        <p:txBody>
          <a:bodyPr vert="horz" wrap="square" lIns="0" tIns="0" rIns="0" bIns="0" rtlCol="0" anchor="b"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28600" indent="-228600"/>
            <a:r>
              <a:rPr lang="en-US" sz="1512" dirty="0">
                <a:latin typeface="Gill Sans MT" panose="020B0502020104020203" pitchFamily="34" charset="0"/>
              </a:rPr>
              <a:t>4. “</a:t>
            </a:r>
            <a:r>
              <a:rPr lang="en-US" sz="1512" dirty="0" err="1">
                <a:latin typeface="Gill Sans MT" panose="020B0502020104020203" pitchFamily="34" charset="0"/>
              </a:rPr>
              <a:t>Landgrabbing</a:t>
            </a:r>
            <a:r>
              <a:rPr lang="en-US" sz="1512" dirty="0">
                <a:latin typeface="Gill Sans MT" panose="020B0502020104020203" pitchFamily="34" charset="0"/>
              </a:rPr>
              <a:t>“ </a:t>
            </a:r>
            <a:br>
              <a:rPr lang="en-US" sz="1512" dirty="0">
                <a:latin typeface="Gill Sans MT" panose="020B0502020104020203" pitchFamily="34" charset="0"/>
              </a:rPr>
            </a:br>
            <a:r>
              <a:rPr lang="en-US" sz="1512" dirty="0">
                <a:latin typeface="Gill Sans MT" panose="020B0502020104020203" pitchFamily="34" charset="0"/>
              </a:rPr>
              <a:t>with New Silk Road</a:t>
            </a:r>
          </a:p>
        </p:txBody>
      </p:sp>
      <p:cxnSp>
        <p:nvCxnSpPr>
          <p:cNvPr id="12" name="Gerade Verbindung mit Pfeil 11">
            <a:extLst>
              <a:ext uri="{FF2B5EF4-FFF2-40B4-BE49-F238E27FC236}">
                <a16:creationId xmlns:a16="http://schemas.microsoft.com/office/drawing/2014/main" id="{48573426-3445-4451-B1B3-35F0B8799D4D}"/>
              </a:ext>
            </a:extLst>
          </p:cNvPr>
          <p:cNvCxnSpPr>
            <a:cxnSpLocks/>
          </p:cNvCxnSpPr>
          <p:nvPr/>
        </p:nvCxnSpPr>
        <p:spPr bwMode="auto">
          <a:xfrm flipV="1">
            <a:off x="924471" y="5009652"/>
            <a:ext cx="163915" cy="86260"/>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4" name="Bogen 13">
            <a:extLst>
              <a:ext uri="{FF2B5EF4-FFF2-40B4-BE49-F238E27FC236}">
                <a16:creationId xmlns:a16="http://schemas.microsoft.com/office/drawing/2014/main" id="{2B2E665E-44A3-4322-B2FF-7E2F0731F643}"/>
              </a:ext>
            </a:extLst>
          </p:cNvPr>
          <p:cNvSpPr/>
          <p:nvPr/>
        </p:nvSpPr>
        <p:spPr bwMode="auto">
          <a:xfrm rot="17526421">
            <a:off x="549229" y="5140751"/>
            <a:ext cx="936172" cy="746196"/>
          </a:xfrm>
          <a:prstGeom prst="arc">
            <a:avLst>
              <a:gd name="adj1" fmla="val 16200000"/>
              <a:gd name="adj2" fmla="val 19985010"/>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Gill Sans MT Light" pitchFamily="34" charset="0"/>
            </a:endParaRPr>
          </a:p>
        </p:txBody>
      </p:sp>
      <p:cxnSp>
        <p:nvCxnSpPr>
          <p:cNvPr id="42" name="Gerade Verbindung mit Pfeil 41">
            <a:extLst>
              <a:ext uri="{FF2B5EF4-FFF2-40B4-BE49-F238E27FC236}">
                <a16:creationId xmlns:a16="http://schemas.microsoft.com/office/drawing/2014/main" id="{8951942C-E04B-4E44-8481-2C37A3A62539}"/>
              </a:ext>
            </a:extLst>
          </p:cNvPr>
          <p:cNvCxnSpPr>
            <a:cxnSpLocks/>
          </p:cNvCxnSpPr>
          <p:nvPr/>
        </p:nvCxnSpPr>
        <p:spPr bwMode="auto">
          <a:xfrm flipV="1">
            <a:off x="1459279" y="4440418"/>
            <a:ext cx="163915" cy="86260"/>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43" name="Bogen 42">
            <a:extLst>
              <a:ext uri="{FF2B5EF4-FFF2-40B4-BE49-F238E27FC236}">
                <a16:creationId xmlns:a16="http://schemas.microsoft.com/office/drawing/2014/main" id="{0B694743-7B24-4F7A-9228-BA29694D1F3F}"/>
              </a:ext>
            </a:extLst>
          </p:cNvPr>
          <p:cNvSpPr/>
          <p:nvPr/>
        </p:nvSpPr>
        <p:spPr bwMode="auto">
          <a:xfrm rot="17526421">
            <a:off x="1084037" y="4571517"/>
            <a:ext cx="936172" cy="746196"/>
          </a:xfrm>
          <a:prstGeom prst="arc">
            <a:avLst>
              <a:gd name="adj1" fmla="val 16200000"/>
              <a:gd name="adj2" fmla="val 19985010"/>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Gill Sans MT Light" pitchFamily="34" charset="0"/>
            </a:endParaRPr>
          </a:p>
        </p:txBody>
      </p:sp>
      <p:sp>
        <p:nvSpPr>
          <p:cNvPr id="45" name="Rectangle 5">
            <a:extLst>
              <a:ext uri="{FF2B5EF4-FFF2-40B4-BE49-F238E27FC236}">
                <a16:creationId xmlns:a16="http://schemas.microsoft.com/office/drawing/2014/main" id="{9E66BA54-2693-5B4E-8D48-54407FDE622F}"/>
              </a:ext>
            </a:extLst>
          </p:cNvPr>
          <p:cNvSpPr>
            <a:spLocks noChangeArrowheads="1"/>
          </p:cNvSpPr>
          <p:nvPr/>
        </p:nvSpPr>
        <p:spPr bwMode="gray">
          <a:xfrm>
            <a:off x="465045" y="3207340"/>
            <a:ext cx="1883161"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lgn="l" defTabSz="895350">
              <a:buSzPct val="120000"/>
              <a:defRPr sz="1600">
                <a:solidFill>
                  <a:schemeClr val="tx1"/>
                </a:solidFill>
                <a:latin typeface="Arial" charset="0"/>
                <a:ea typeface="华文楷体" pitchFamily="2" charset="-122"/>
              </a:defRPr>
            </a:lvl1pPr>
            <a:lvl2pPr marL="144463" indent="-142875" algn="l" defTabSz="895350">
              <a:buSzPct val="120000"/>
              <a:buChar char="•"/>
              <a:defRPr sz="1600">
                <a:solidFill>
                  <a:schemeClr val="tx1"/>
                </a:solidFill>
                <a:latin typeface="Arial" charset="0"/>
                <a:ea typeface="华文楷体" pitchFamily="2" charset="-122"/>
              </a:defRPr>
            </a:lvl2pPr>
            <a:lvl3pPr marL="295275" indent="-149225" algn="l" defTabSz="895350">
              <a:buChar char="–"/>
              <a:defRPr sz="1600">
                <a:solidFill>
                  <a:schemeClr val="tx1"/>
                </a:solidFill>
                <a:latin typeface="Arial" charset="0"/>
                <a:ea typeface="华文楷体" pitchFamily="2" charset="-122"/>
              </a:defRPr>
            </a:lvl3pPr>
            <a:lvl4pPr marL="431800" indent="-134938" algn="l" defTabSz="895350">
              <a:buSzPct val="89000"/>
              <a:buChar char="•"/>
              <a:defRPr sz="1600">
                <a:solidFill>
                  <a:schemeClr val="tx1"/>
                </a:solidFill>
                <a:latin typeface="Arial" charset="0"/>
                <a:ea typeface="华文楷体" pitchFamily="2" charset="-122"/>
              </a:defRPr>
            </a:lvl4pPr>
            <a:lvl5pPr marL="582613" indent="-149225" algn="l" defTabSz="895350">
              <a:buChar char="–"/>
              <a:defRPr sz="1600">
                <a:solidFill>
                  <a:schemeClr val="tx1"/>
                </a:solidFill>
                <a:latin typeface="Arial" charset="0"/>
                <a:ea typeface="华文楷体" pitchFamily="2" charset="-122"/>
              </a:defRPr>
            </a:lvl5pPr>
            <a:lvl6pPr marL="1039813" indent="-149225" defTabSz="895350" fontAlgn="base">
              <a:spcBef>
                <a:spcPct val="0"/>
              </a:spcBef>
              <a:spcAft>
                <a:spcPct val="0"/>
              </a:spcAft>
              <a:buSzPct val="75000"/>
              <a:buChar char="–"/>
              <a:defRPr sz="1600">
                <a:solidFill>
                  <a:schemeClr val="tx1"/>
                </a:solidFill>
                <a:latin typeface="Arial" charset="0"/>
                <a:ea typeface="华文楷体" pitchFamily="2" charset="-122"/>
              </a:defRPr>
            </a:lvl6pPr>
            <a:lvl7pPr marL="1497013" indent="-149225" defTabSz="895350" fontAlgn="base">
              <a:spcBef>
                <a:spcPct val="0"/>
              </a:spcBef>
              <a:spcAft>
                <a:spcPct val="0"/>
              </a:spcAft>
              <a:buSzPct val="75000"/>
              <a:buChar char="–"/>
              <a:defRPr sz="1600">
                <a:solidFill>
                  <a:schemeClr val="tx1"/>
                </a:solidFill>
                <a:latin typeface="Arial" charset="0"/>
                <a:ea typeface="华文楷体" pitchFamily="2" charset="-122"/>
              </a:defRPr>
            </a:lvl7pPr>
            <a:lvl8pPr marL="1954213" indent="-149225" defTabSz="895350" fontAlgn="base">
              <a:spcBef>
                <a:spcPct val="0"/>
              </a:spcBef>
              <a:spcAft>
                <a:spcPct val="0"/>
              </a:spcAft>
              <a:buSzPct val="75000"/>
              <a:buChar char="–"/>
              <a:defRPr sz="1600">
                <a:solidFill>
                  <a:schemeClr val="tx1"/>
                </a:solidFill>
                <a:latin typeface="Arial" charset="0"/>
                <a:ea typeface="华文楷体" pitchFamily="2" charset="-122"/>
              </a:defRPr>
            </a:lvl8pPr>
            <a:lvl9pPr marL="2411413" indent="-149225" defTabSz="895350" fontAlgn="base">
              <a:spcBef>
                <a:spcPct val="0"/>
              </a:spcBef>
              <a:spcAft>
                <a:spcPct val="0"/>
              </a:spcAft>
              <a:buSzPct val="75000"/>
              <a:buChar char="–"/>
              <a:defRPr sz="1600">
                <a:solidFill>
                  <a:schemeClr val="tx1"/>
                </a:solidFill>
                <a:latin typeface="Arial" charset="0"/>
                <a:ea typeface="华文楷体" pitchFamily="2" charset="-122"/>
              </a:defRPr>
            </a:lvl9pPr>
          </a:lstStyle>
          <a:p>
            <a:r>
              <a:rPr lang="de-DE" sz="1400" dirty="0">
                <a:latin typeface="Gill Sans MT" panose="020B0502020104020203" pitchFamily="34" charset="0"/>
              </a:rPr>
              <a:t>900 </a:t>
            </a:r>
            <a:r>
              <a:rPr lang="de-DE" sz="1400" dirty="0" err="1">
                <a:latin typeface="Gill Sans MT" panose="020B0502020104020203" pitchFamily="34" charset="0"/>
              </a:rPr>
              <a:t>million</a:t>
            </a:r>
            <a:r>
              <a:rPr lang="de-DE" sz="1400" dirty="0">
                <a:latin typeface="Gill Sans MT" panose="020B0502020104020203" pitchFamily="34" charset="0"/>
              </a:rPr>
              <a:t> Chinese digital </a:t>
            </a:r>
            <a:r>
              <a:rPr lang="de-DE" sz="1400" dirty="0" err="1">
                <a:latin typeface="Gill Sans MT" panose="020B0502020104020203" pitchFamily="34" charset="0"/>
              </a:rPr>
              <a:t>payment</a:t>
            </a:r>
            <a:r>
              <a:rPr lang="de-DE" sz="1400" dirty="0">
                <a:latin typeface="Gill Sans MT" panose="020B0502020104020203" pitchFamily="34" charset="0"/>
              </a:rPr>
              <a:t> </a:t>
            </a:r>
            <a:r>
              <a:rPr lang="de-DE" sz="1400" dirty="0" err="1">
                <a:latin typeface="Gill Sans MT" panose="020B0502020104020203" pitchFamily="34" charset="0"/>
              </a:rPr>
              <a:t>users</a:t>
            </a:r>
            <a:r>
              <a:rPr lang="de-DE" sz="1400" dirty="0">
                <a:latin typeface="Gill Sans MT" panose="020B0502020104020203" pitchFamily="34" charset="0"/>
              </a:rPr>
              <a:t> versus 30 </a:t>
            </a:r>
            <a:r>
              <a:rPr lang="de-DE" sz="1400" dirty="0" err="1">
                <a:latin typeface="Gill Sans MT" panose="020B0502020104020203" pitchFamily="34" charset="0"/>
              </a:rPr>
              <a:t>million</a:t>
            </a:r>
            <a:r>
              <a:rPr lang="de-DE" sz="1400" dirty="0">
                <a:latin typeface="Gill Sans MT" panose="020B0502020104020203" pitchFamily="34" charset="0"/>
              </a:rPr>
              <a:t> in </a:t>
            </a:r>
            <a:r>
              <a:rPr lang="de-DE" sz="1400" dirty="0" err="1">
                <a:latin typeface="Gill Sans MT" panose="020B0502020104020203" pitchFamily="34" charset="0"/>
              </a:rPr>
              <a:t>the</a:t>
            </a:r>
            <a:r>
              <a:rPr lang="de-DE" sz="1400" dirty="0">
                <a:latin typeface="Gill Sans MT" panose="020B0502020104020203" pitchFamily="34" charset="0"/>
              </a:rPr>
              <a:t> US</a:t>
            </a:r>
            <a:endParaRPr lang="en-US" sz="1400" dirty="0">
              <a:latin typeface="Gill Sans MT" panose="020B0502020104020203" pitchFamily="34" charset="0"/>
            </a:endParaRPr>
          </a:p>
        </p:txBody>
      </p:sp>
    </p:spTree>
    <p:extLst>
      <p:ext uri="{BB962C8B-B14F-4D97-AF65-F5344CB8AC3E}">
        <p14:creationId xmlns:p14="http://schemas.microsoft.com/office/powerpoint/2010/main" val="19493420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69B3F9E0-1549-524A-BE94-A8E40FA69E41}"/>
              </a:ext>
            </a:extLst>
          </p:cNvPr>
          <p:cNvSpPr/>
          <p:nvPr/>
        </p:nvSpPr>
        <p:spPr bwMode="auto">
          <a:xfrm>
            <a:off x="6019230" y="1819194"/>
            <a:ext cx="2089607" cy="4221550"/>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Gill Sans MT Light" pitchFamily="34" charset="0"/>
            </a:endParaRPr>
          </a:p>
        </p:txBody>
      </p:sp>
      <p:sp>
        <p:nvSpPr>
          <p:cNvPr id="2" name="Titel 1">
            <a:extLst>
              <a:ext uri="{FF2B5EF4-FFF2-40B4-BE49-F238E27FC236}">
                <a16:creationId xmlns:a16="http://schemas.microsoft.com/office/drawing/2014/main" id="{D37ECAB2-339A-4860-81CA-16CA6EA1F888}"/>
              </a:ext>
            </a:extLst>
          </p:cNvPr>
          <p:cNvSpPr>
            <a:spLocks noGrp="1"/>
          </p:cNvSpPr>
          <p:nvPr>
            <p:ph type="title"/>
          </p:nvPr>
        </p:nvSpPr>
        <p:spPr>
          <a:xfrm>
            <a:off x="376883" y="437254"/>
            <a:ext cx="7584059" cy="976165"/>
          </a:xfrm>
        </p:spPr>
        <p:txBody>
          <a:bodyPr/>
          <a:lstStyle/>
          <a:p>
            <a:r>
              <a:rPr lang="en-US" sz="3100" kern="1200" dirty="0">
                <a:solidFill>
                  <a:srgbClr val="005B99"/>
                </a:solidFill>
              </a:rPr>
              <a:t>China leapfrogs traditional business models to become an industry "shaper" </a:t>
            </a:r>
          </a:p>
        </p:txBody>
      </p:sp>
      <p:sp>
        <p:nvSpPr>
          <p:cNvPr id="81" name="Rectangle 31">
            <a:extLst>
              <a:ext uri="{FF2B5EF4-FFF2-40B4-BE49-F238E27FC236}">
                <a16:creationId xmlns:a16="http://schemas.microsoft.com/office/drawing/2014/main" id="{3FD79C80-B6D0-D440-8D4D-C80BF8D1842F}"/>
              </a:ext>
            </a:extLst>
          </p:cNvPr>
          <p:cNvSpPr>
            <a:spLocks noChangeArrowheads="1"/>
          </p:cNvSpPr>
          <p:nvPr>
            <p:custDataLst>
              <p:tags r:id="rId1"/>
            </p:custDataLst>
          </p:nvPr>
        </p:nvSpPr>
        <p:spPr bwMode="auto">
          <a:xfrm>
            <a:off x="6132153" y="1858636"/>
            <a:ext cx="909002" cy="182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marL="342900" indent="-342900" algn="l" defTabSz="895350" eaLnBrk="0" hangingPunct="0">
              <a:buClr>
                <a:schemeClr val="tx2"/>
              </a:buClr>
              <a:defRPr sz="1600">
                <a:solidFill>
                  <a:schemeClr val="tx1"/>
                </a:solidFill>
                <a:latin typeface="Arial" pitchFamily="34" charset="0"/>
              </a:defRPr>
            </a:lvl1pPr>
            <a:lvl2pPr marL="742950" indent="-741363" algn="l" defTabSz="895350" eaLnBrk="0" hangingPunct="0">
              <a:buClr>
                <a:schemeClr val="tx2"/>
              </a:buClr>
              <a:buSzPct val="125000"/>
              <a:buFont typeface="Arial" pitchFamily="34" charset="0"/>
              <a:buChar char="▪"/>
              <a:defRPr sz="1600">
                <a:solidFill>
                  <a:schemeClr val="tx1"/>
                </a:solidFill>
                <a:latin typeface="Arial" pitchFamily="34" charset="0"/>
              </a:defRPr>
            </a:lvl2pPr>
            <a:lvl3pPr marL="1143000" indent="-947738" algn="l" defTabSz="895350" eaLnBrk="0" hangingPunct="0">
              <a:buClr>
                <a:schemeClr val="tx2"/>
              </a:buClr>
              <a:buSzPct val="120000"/>
              <a:buFont typeface="Arial" pitchFamily="34" charset="0"/>
              <a:buChar char="–"/>
              <a:defRPr sz="1600">
                <a:solidFill>
                  <a:schemeClr val="tx1"/>
                </a:solidFill>
                <a:latin typeface="Arial" pitchFamily="34" charset="0"/>
              </a:defRPr>
            </a:lvl3pPr>
            <a:lvl4pPr marL="1600200" indent="-1141413" algn="l" defTabSz="895350" eaLnBrk="0" hangingPunct="0">
              <a:buClr>
                <a:schemeClr val="tx2"/>
              </a:buClr>
              <a:buSzPct val="120000"/>
              <a:buFont typeface="Arial" pitchFamily="34" charset="0"/>
              <a:buChar char="▫"/>
              <a:defRPr sz="1600">
                <a:solidFill>
                  <a:schemeClr val="tx1"/>
                </a:solidFill>
                <a:latin typeface="Arial" pitchFamily="34" charset="0"/>
              </a:defRPr>
            </a:lvl4pPr>
            <a:lvl5pPr marL="2057400" indent="-1441450" algn="l" defTabSz="895350" eaLnBrk="0" hangingPunct="0">
              <a:buClr>
                <a:schemeClr val="tx2"/>
              </a:buClr>
              <a:buSzPct val="89000"/>
              <a:buFont typeface="Arial" pitchFamily="34" charset="0"/>
              <a:buChar char="-"/>
              <a:defRPr sz="1600">
                <a:solidFill>
                  <a:schemeClr val="tx1"/>
                </a:solidFill>
                <a:latin typeface="Arial" pitchFamily="34" charset="0"/>
              </a:defRPr>
            </a:lvl5pPr>
            <a:lvl6pPr marL="2514600" indent="-1441450"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1441450"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1441450"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1441450" defTabSz="8953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r>
              <a:rPr lang="en-US" altLang="ko-KR" sz="1400" dirty="0">
                <a:latin typeface="Gill Sans MT" panose="020B0502020104020203" pitchFamily="34" charset="0"/>
                <a:ea typeface="Gulim" pitchFamily="34" charset="-127"/>
              </a:rPr>
              <a:t>Leapfrogging </a:t>
            </a:r>
          </a:p>
        </p:txBody>
      </p:sp>
      <p:sp>
        <p:nvSpPr>
          <p:cNvPr id="85" name="Rectangle 9">
            <a:extLst>
              <a:ext uri="{FF2B5EF4-FFF2-40B4-BE49-F238E27FC236}">
                <a16:creationId xmlns:a16="http://schemas.microsoft.com/office/drawing/2014/main" id="{CA6AC990-3528-7A4D-BEC8-B5A325F212B6}"/>
              </a:ext>
            </a:extLst>
          </p:cNvPr>
          <p:cNvSpPr>
            <a:spLocks noChangeArrowheads="1"/>
          </p:cNvSpPr>
          <p:nvPr/>
        </p:nvSpPr>
        <p:spPr bwMode="gray">
          <a:xfrm>
            <a:off x="6123287" y="2193537"/>
            <a:ext cx="1940580" cy="36625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spAutoFit/>
          </a:bodyPr>
          <a:lstStyle>
            <a:lvl1pPr algn="l" defTabSz="895350">
              <a:buSzPct val="120000"/>
              <a:defRPr sz="1600">
                <a:solidFill>
                  <a:schemeClr val="tx1"/>
                </a:solidFill>
                <a:latin typeface="Arial" charset="0"/>
                <a:ea typeface="华文楷体" pitchFamily="2" charset="-122"/>
              </a:defRPr>
            </a:lvl1pPr>
            <a:lvl2pPr marL="144463" indent="-142875" algn="l" defTabSz="895350">
              <a:buSzPct val="120000"/>
              <a:buChar char="•"/>
              <a:defRPr sz="1600">
                <a:solidFill>
                  <a:schemeClr val="tx1"/>
                </a:solidFill>
                <a:latin typeface="Arial" charset="0"/>
                <a:ea typeface="华文楷体" pitchFamily="2" charset="-122"/>
              </a:defRPr>
            </a:lvl2pPr>
            <a:lvl3pPr marL="295275" indent="-149225" algn="l" defTabSz="895350">
              <a:buChar char="–"/>
              <a:defRPr sz="1600">
                <a:solidFill>
                  <a:schemeClr val="tx1"/>
                </a:solidFill>
                <a:latin typeface="Arial" charset="0"/>
                <a:ea typeface="华文楷体" pitchFamily="2" charset="-122"/>
              </a:defRPr>
            </a:lvl3pPr>
            <a:lvl4pPr marL="431800" indent="-134938" algn="l" defTabSz="895350">
              <a:buSzPct val="89000"/>
              <a:buChar char="•"/>
              <a:defRPr sz="1600">
                <a:solidFill>
                  <a:schemeClr val="tx1"/>
                </a:solidFill>
                <a:latin typeface="Arial" charset="0"/>
                <a:ea typeface="华文楷体" pitchFamily="2" charset="-122"/>
              </a:defRPr>
            </a:lvl4pPr>
            <a:lvl5pPr marL="582613" indent="-149225" algn="l" defTabSz="895350">
              <a:buChar char="–"/>
              <a:defRPr sz="1600">
                <a:solidFill>
                  <a:schemeClr val="tx1"/>
                </a:solidFill>
                <a:latin typeface="Arial" charset="0"/>
                <a:ea typeface="华文楷体" pitchFamily="2" charset="-122"/>
              </a:defRPr>
            </a:lvl5pPr>
            <a:lvl6pPr marL="1039813" indent="-149225" defTabSz="895350" fontAlgn="base">
              <a:spcBef>
                <a:spcPct val="0"/>
              </a:spcBef>
              <a:spcAft>
                <a:spcPct val="0"/>
              </a:spcAft>
              <a:buSzPct val="75000"/>
              <a:buChar char="–"/>
              <a:defRPr sz="1600">
                <a:solidFill>
                  <a:schemeClr val="tx1"/>
                </a:solidFill>
                <a:latin typeface="Arial" charset="0"/>
                <a:ea typeface="华文楷体" pitchFamily="2" charset="-122"/>
              </a:defRPr>
            </a:lvl6pPr>
            <a:lvl7pPr marL="1497013" indent="-149225" defTabSz="895350" fontAlgn="base">
              <a:spcBef>
                <a:spcPct val="0"/>
              </a:spcBef>
              <a:spcAft>
                <a:spcPct val="0"/>
              </a:spcAft>
              <a:buSzPct val="75000"/>
              <a:buChar char="–"/>
              <a:defRPr sz="1600">
                <a:solidFill>
                  <a:schemeClr val="tx1"/>
                </a:solidFill>
                <a:latin typeface="Arial" charset="0"/>
                <a:ea typeface="华文楷体" pitchFamily="2" charset="-122"/>
              </a:defRPr>
            </a:lvl7pPr>
            <a:lvl8pPr marL="1954213" indent="-149225" defTabSz="895350" fontAlgn="base">
              <a:spcBef>
                <a:spcPct val="0"/>
              </a:spcBef>
              <a:spcAft>
                <a:spcPct val="0"/>
              </a:spcAft>
              <a:buSzPct val="75000"/>
              <a:buChar char="–"/>
              <a:defRPr sz="1600">
                <a:solidFill>
                  <a:schemeClr val="tx1"/>
                </a:solidFill>
                <a:latin typeface="Arial" charset="0"/>
                <a:ea typeface="华文楷体" pitchFamily="2" charset="-122"/>
              </a:defRPr>
            </a:lvl8pPr>
            <a:lvl9pPr marL="2411413" indent="-149225" defTabSz="895350" fontAlgn="base">
              <a:spcBef>
                <a:spcPct val="0"/>
              </a:spcBef>
              <a:spcAft>
                <a:spcPct val="0"/>
              </a:spcAft>
              <a:buSzPct val="75000"/>
              <a:buChar char="–"/>
              <a:defRPr sz="1600">
                <a:solidFill>
                  <a:schemeClr val="tx1"/>
                </a:solidFill>
                <a:latin typeface="Arial" charset="0"/>
                <a:ea typeface="华文楷体" pitchFamily="2" charset="-122"/>
              </a:defRPr>
            </a:lvl9pPr>
          </a:lstStyle>
          <a:p>
            <a:r>
              <a:rPr lang="en-US" sz="1200" dirty="0">
                <a:latin typeface="+mn-lt"/>
              </a:rPr>
              <a:t>China has moved from cash to digital payments over the past 10 years.</a:t>
            </a:r>
          </a:p>
          <a:p>
            <a:r>
              <a:rPr lang="en-US" sz="1200" dirty="0">
                <a:latin typeface="+mn-lt"/>
              </a:rPr>
              <a:t>
More than 900 million Chinese use digital payment methods such as Alipay and WeChat, while in the US only 30 million users with Apple Pay.</a:t>
            </a:r>
            <a:br>
              <a:rPr lang="en-US" sz="1200" dirty="0">
                <a:latin typeface="+mn-lt"/>
              </a:rPr>
            </a:br>
            <a:endParaRPr lang="en-US" sz="1200" dirty="0">
              <a:latin typeface="+mn-lt"/>
            </a:endParaRPr>
          </a:p>
          <a:p>
            <a:r>
              <a:rPr lang="en-US" sz="1200" dirty="0">
                <a:latin typeface="+mn-lt"/>
              </a:rPr>
              <a:t>Other "Leapfrogging" examples</a:t>
            </a:r>
          </a:p>
          <a:p>
            <a:pPr marL="171450" indent="-171450">
              <a:buFont typeface="Arial" panose="020B0604020202020204" pitchFamily="34" charset="0"/>
              <a:buChar char="•"/>
            </a:pPr>
            <a:r>
              <a:rPr lang="en-US" sz="1200" dirty="0">
                <a:latin typeface="+mn-lt"/>
              </a:rPr>
              <a:t>E-commerce vs. brick-and-mortar retail 
High-speed trains vs. regional trains 
Mobile phones vs. landlines
Electric vehicles vs. internal combustion engines</a:t>
            </a:r>
            <a:endParaRPr lang="en-US" sz="1100" dirty="0">
              <a:latin typeface="+mn-lt"/>
            </a:endParaRPr>
          </a:p>
          <a:p>
            <a:endParaRPr lang="de-DE" sz="1100" dirty="0">
              <a:latin typeface="+mn-lt"/>
            </a:endParaRPr>
          </a:p>
          <a:p>
            <a:endParaRPr lang="en-US" sz="1100" dirty="0">
              <a:latin typeface="+mn-lt"/>
            </a:endParaRPr>
          </a:p>
        </p:txBody>
      </p:sp>
      <p:sp>
        <p:nvSpPr>
          <p:cNvPr id="86" name="McK 5. Source">
            <a:extLst>
              <a:ext uri="{FF2B5EF4-FFF2-40B4-BE49-F238E27FC236}">
                <a16:creationId xmlns:a16="http://schemas.microsoft.com/office/drawing/2014/main" id="{28C75A9B-F5E5-3C44-942D-0F9DEB95AF3B}"/>
              </a:ext>
            </a:extLst>
          </p:cNvPr>
          <p:cNvSpPr>
            <a:spLocks noChangeArrowheads="1"/>
          </p:cNvSpPr>
          <p:nvPr>
            <p:custDataLst>
              <p:tags r:id="rId2"/>
            </p:custDataLst>
          </p:nvPr>
        </p:nvSpPr>
        <p:spPr bwMode="auto">
          <a:xfrm>
            <a:off x="471805" y="6333884"/>
            <a:ext cx="8449302" cy="2798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ctr">
            <a:spAutoFit/>
          </a:bodyPr>
          <a:lstStyle/>
          <a:p>
            <a:pPr defTabSz="802620">
              <a:tabLst>
                <a:tab pos="549311" algn="l"/>
              </a:tabLst>
            </a:pPr>
            <a:r>
              <a:rPr lang="de" sz="923">
                <a:solidFill>
                  <a:srgbClr val="000000"/>
                </a:solidFill>
                <a:ea typeface="宋体" pitchFamily="2" charset="-122"/>
                <a:cs typeface="Arial" pitchFamily="34" charset="0"/>
              </a:rPr>
              <a:t>Quelle: Brookings Institute; China Internet Network Information Center (CNNIC); Emarketer; Qilin Capital Analys</a:t>
            </a:r>
            <a:r>
              <a:rPr lang="de-DE" sz="923">
                <a:solidFill>
                  <a:srgbClr val="000000"/>
                </a:solidFill>
                <a:ea typeface="宋体" pitchFamily="2" charset="-122"/>
                <a:cs typeface="Arial" pitchFamily="34" charset="0"/>
              </a:rPr>
              <a:t>e</a:t>
            </a:r>
          </a:p>
          <a:p>
            <a:pPr defTabSz="802620">
              <a:tabLst>
                <a:tab pos="549311" algn="l"/>
              </a:tabLst>
            </a:pPr>
            <a:endParaRPr lang="de" sz="896">
              <a:solidFill>
                <a:srgbClr val="000000"/>
              </a:solidFill>
              <a:ea typeface="宋体" pitchFamily="2" charset="-122"/>
              <a:cs typeface="Arial" pitchFamily="34" charset="0"/>
            </a:endParaRPr>
          </a:p>
        </p:txBody>
      </p:sp>
      <p:pic>
        <p:nvPicPr>
          <p:cNvPr id="9" name="Picture 8">
            <a:extLst>
              <a:ext uri="{FF2B5EF4-FFF2-40B4-BE49-F238E27FC236}">
                <a16:creationId xmlns:a16="http://schemas.microsoft.com/office/drawing/2014/main" id="{03DA7737-A751-C74A-B3E1-79712C330F18}"/>
              </a:ext>
            </a:extLst>
          </p:cNvPr>
          <p:cNvPicPr>
            <a:picLocks noChangeAspect="1"/>
          </p:cNvPicPr>
          <p:nvPr/>
        </p:nvPicPr>
        <p:blipFill rotWithShape="1">
          <a:blip r:embed="rId4"/>
          <a:srcRect t="765" b="1"/>
          <a:stretch/>
        </p:blipFill>
        <p:spPr>
          <a:xfrm>
            <a:off x="354305" y="2096655"/>
            <a:ext cx="5478547" cy="3811668"/>
          </a:xfrm>
          <a:prstGeom prst="rect">
            <a:avLst/>
          </a:prstGeom>
        </p:spPr>
      </p:pic>
      <p:sp>
        <p:nvSpPr>
          <p:cNvPr id="3" name="Rectangle 2">
            <a:extLst>
              <a:ext uri="{FF2B5EF4-FFF2-40B4-BE49-F238E27FC236}">
                <a16:creationId xmlns:a16="http://schemas.microsoft.com/office/drawing/2014/main" id="{84DC8F18-F1F7-3141-A9C4-8259D797A915}"/>
              </a:ext>
            </a:extLst>
          </p:cNvPr>
          <p:cNvSpPr/>
          <p:nvPr/>
        </p:nvSpPr>
        <p:spPr>
          <a:xfrm>
            <a:off x="392792" y="1650306"/>
            <a:ext cx="3482556" cy="307777"/>
          </a:xfrm>
          <a:prstGeom prst="rect">
            <a:avLst/>
          </a:prstGeom>
        </p:spPr>
        <p:txBody>
          <a:bodyPr wrap="none">
            <a:spAutoFit/>
          </a:bodyPr>
          <a:lstStyle/>
          <a:p>
            <a:r>
              <a:rPr lang="en-US" sz="1400" dirty="0">
                <a:latin typeface="Gill Sans MT" panose="020B0502020104020203" pitchFamily="34" charset="77"/>
              </a:rPr>
              <a:t>Example: Digital payment with mobile phones</a:t>
            </a:r>
            <a:endParaRPr lang="de-DE" sz="1400" dirty="0">
              <a:latin typeface="Gill Sans MT" panose="020B0502020104020203" pitchFamily="34" charset="77"/>
            </a:endParaRPr>
          </a:p>
        </p:txBody>
      </p:sp>
    </p:spTree>
    <p:extLst>
      <p:ext uri="{BB962C8B-B14F-4D97-AF65-F5344CB8AC3E}">
        <p14:creationId xmlns:p14="http://schemas.microsoft.com/office/powerpoint/2010/main" val="23056374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CEC187-DAAB-8242-8DAD-D9C209948A6A}"/>
              </a:ext>
            </a:extLst>
          </p:cNvPr>
          <p:cNvSpPr>
            <a:spLocks noGrp="1"/>
          </p:cNvSpPr>
          <p:nvPr>
            <p:ph type="title"/>
          </p:nvPr>
        </p:nvSpPr>
        <p:spPr>
          <a:xfrm>
            <a:off x="375825" y="639624"/>
            <a:ext cx="7966587" cy="475258"/>
          </a:xfrm>
        </p:spPr>
        <p:txBody>
          <a:bodyPr/>
          <a:lstStyle/>
          <a:p>
            <a:r>
              <a:rPr lang="en-US" sz="3100" kern="1200" dirty="0">
                <a:solidFill>
                  <a:srgbClr val="005B99"/>
                </a:solidFill>
              </a:rPr>
              <a:t>China's middle class is growing rapidly</a:t>
            </a:r>
          </a:p>
        </p:txBody>
      </p:sp>
      <p:sp>
        <p:nvSpPr>
          <p:cNvPr id="24" name="Textfeld 3">
            <a:extLst>
              <a:ext uri="{FF2B5EF4-FFF2-40B4-BE49-F238E27FC236}">
                <a16:creationId xmlns:a16="http://schemas.microsoft.com/office/drawing/2014/main" id="{A90877C7-889D-1E49-B5E8-A2857C476CAC}"/>
              </a:ext>
            </a:extLst>
          </p:cNvPr>
          <p:cNvSpPr txBox="1"/>
          <p:nvPr/>
        </p:nvSpPr>
        <p:spPr>
          <a:xfrm>
            <a:off x="406963" y="6453506"/>
            <a:ext cx="3936437" cy="246221"/>
          </a:xfrm>
          <a:prstGeom prst="rect">
            <a:avLst/>
          </a:prstGeom>
          <a:noFill/>
        </p:spPr>
        <p:txBody>
          <a:bodyPr wrap="square" rtlCol="0">
            <a:spAutoFit/>
          </a:bodyPr>
          <a:lstStyle/>
          <a:p>
            <a:r>
              <a:rPr lang="en-US" sz="1000" dirty="0">
                <a:latin typeface="+mn-lt"/>
              </a:rPr>
              <a:t>Source: McKinsey Global Institute, </a:t>
            </a:r>
            <a:r>
              <a:rPr lang="en-US" sz="1000" dirty="0" err="1">
                <a:latin typeface="+mn-lt"/>
              </a:rPr>
              <a:t>Qilin</a:t>
            </a:r>
            <a:r>
              <a:rPr lang="en-US" sz="1000" dirty="0">
                <a:latin typeface="+mn-lt"/>
              </a:rPr>
              <a:t> Capital analysis</a:t>
            </a:r>
          </a:p>
        </p:txBody>
      </p:sp>
      <p:pic>
        <p:nvPicPr>
          <p:cNvPr id="45" name="Picture 44">
            <a:extLst>
              <a:ext uri="{FF2B5EF4-FFF2-40B4-BE49-F238E27FC236}">
                <a16:creationId xmlns:a16="http://schemas.microsoft.com/office/drawing/2014/main" id="{EB223C31-B571-C141-BD59-F11F45702F92}"/>
              </a:ext>
            </a:extLst>
          </p:cNvPr>
          <p:cNvPicPr>
            <a:picLocks noChangeAspect="1"/>
          </p:cNvPicPr>
          <p:nvPr/>
        </p:nvPicPr>
        <p:blipFill rotWithShape="1">
          <a:blip r:embed="rId6"/>
          <a:srcRect t="26740" b="15258"/>
          <a:stretch/>
        </p:blipFill>
        <p:spPr>
          <a:xfrm>
            <a:off x="566301" y="2726544"/>
            <a:ext cx="6923405" cy="3217056"/>
          </a:xfrm>
          <a:prstGeom prst="rect">
            <a:avLst/>
          </a:prstGeom>
        </p:spPr>
      </p:pic>
      <p:sp>
        <p:nvSpPr>
          <p:cNvPr id="4" name="TextBox 11">
            <a:extLst>
              <a:ext uri="{FF2B5EF4-FFF2-40B4-BE49-F238E27FC236}">
                <a16:creationId xmlns:a16="http://schemas.microsoft.com/office/drawing/2014/main" id="{AB65C47F-D3E6-B746-B930-BF1326680F39}"/>
              </a:ext>
            </a:extLst>
          </p:cNvPr>
          <p:cNvSpPr txBox="1">
            <a:spLocks/>
          </p:cNvSpPr>
          <p:nvPr>
            <p:custDataLst>
              <p:tags r:id="rId1"/>
            </p:custDataLst>
          </p:nvPr>
        </p:nvSpPr>
        <p:spPr>
          <a:xfrm>
            <a:off x="2349515" y="1972270"/>
            <a:ext cx="1142717" cy="923330"/>
          </a:xfrm>
          <a:prstGeom prst="rect">
            <a:avLst/>
          </a:prstGeom>
        </p:spPr>
        <p:txBody>
          <a:bodyPr vert="horz" wrap="square" lIns="0" tIns="0" rIns="0" bIns="0" rtlCol="0" anchor="b"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latin typeface="Gill Sans MT" panose="020B0502020104020203" pitchFamily="34" charset="0"/>
              </a:rPr>
              <a:t>Annual disposable household income in RMB
</a:t>
            </a:r>
          </a:p>
          <a:p>
            <a:endParaRPr lang="en-US" sz="1200" dirty="0">
              <a:latin typeface="Gill Sans MT" panose="020B0502020104020203" pitchFamily="34" charset="0"/>
            </a:endParaRPr>
          </a:p>
        </p:txBody>
      </p:sp>
      <p:sp>
        <p:nvSpPr>
          <p:cNvPr id="5" name="TextBox 20">
            <a:extLst>
              <a:ext uri="{FF2B5EF4-FFF2-40B4-BE49-F238E27FC236}">
                <a16:creationId xmlns:a16="http://schemas.microsoft.com/office/drawing/2014/main" id="{F91FAC10-49EA-294D-8922-A58A2C2288C1}"/>
              </a:ext>
            </a:extLst>
          </p:cNvPr>
          <p:cNvSpPr txBox="1">
            <a:spLocks/>
          </p:cNvSpPr>
          <p:nvPr>
            <p:custDataLst>
              <p:tags r:id="rId2"/>
            </p:custDataLst>
          </p:nvPr>
        </p:nvSpPr>
        <p:spPr>
          <a:xfrm>
            <a:off x="4282919" y="2458877"/>
            <a:ext cx="741580" cy="218760"/>
          </a:xfrm>
          <a:prstGeom prst="rect">
            <a:avLst/>
          </a:prstGeom>
        </p:spPr>
        <p:txBody>
          <a:bodyPr vert="horz" wrap="square" lIns="0" tIns="0" rIns="0" bIns="0" rtlCol="0" anchor="b"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de" sz="1200" dirty="0">
              <a:latin typeface="Gill Sans MT" panose="020B0502020104020203" pitchFamily="34" charset="0"/>
            </a:endParaRPr>
          </a:p>
        </p:txBody>
      </p:sp>
      <p:cxnSp>
        <p:nvCxnSpPr>
          <p:cNvPr id="6" name="Straight Arrow Connector 36">
            <a:extLst>
              <a:ext uri="{FF2B5EF4-FFF2-40B4-BE49-F238E27FC236}">
                <a16:creationId xmlns:a16="http://schemas.microsoft.com/office/drawing/2014/main" id="{28FE6F13-38B8-7E40-A49C-33BB300256E4}"/>
              </a:ext>
            </a:extLst>
          </p:cNvPr>
          <p:cNvCxnSpPr>
            <a:cxnSpLocks/>
          </p:cNvCxnSpPr>
          <p:nvPr/>
        </p:nvCxnSpPr>
        <p:spPr>
          <a:xfrm>
            <a:off x="4523972" y="2687656"/>
            <a:ext cx="739975"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111">
            <a:extLst>
              <a:ext uri="{FF2B5EF4-FFF2-40B4-BE49-F238E27FC236}">
                <a16:creationId xmlns:a16="http://schemas.microsoft.com/office/drawing/2014/main" id="{FBC65ABF-DA67-5243-AA7E-FF4FB493EA30}"/>
              </a:ext>
            </a:extLst>
          </p:cNvPr>
          <p:cNvSpPr txBox="1">
            <a:spLocks/>
          </p:cNvSpPr>
          <p:nvPr>
            <p:custDataLst>
              <p:tags r:id="rId3"/>
            </p:custDataLst>
          </p:nvPr>
        </p:nvSpPr>
        <p:spPr>
          <a:xfrm>
            <a:off x="4284497" y="1954848"/>
            <a:ext cx="3351810" cy="738664"/>
          </a:xfrm>
          <a:prstGeom prst="rect">
            <a:avLst/>
          </a:prstGeom>
        </p:spPr>
        <p:txBody>
          <a:bodyPr vert="horz" wrap="square" lIns="0" tIns="0" rIns="0" bIns="0" rtlCol="0" anchor="b" anchorCtr="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dirty="0">
                <a:latin typeface="Gill Sans MT" panose="020B0502020104020203" pitchFamily="34" charset="0"/>
              </a:rPr>
              <a:t>Urban population in China
in millions</a:t>
            </a:r>
          </a:p>
          <a:p>
            <a:endParaRPr lang="en-US" sz="1200" dirty="0">
              <a:latin typeface="Gill Sans MT" panose="020B0502020104020203" pitchFamily="34" charset="0"/>
            </a:endParaRPr>
          </a:p>
          <a:p>
            <a:r>
              <a:rPr lang="de" sz="1200" dirty="0">
                <a:latin typeface="Gill Sans MT" panose="020B0502020104020203" pitchFamily="34" charset="0"/>
              </a:rPr>
              <a:t>2010 </a:t>
            </a:r>
          </a:p>
        </p:txBody>
      </p:sp>
      <p:sp>
        <p:nvSpPr>
          <p:cNvPr id="8" name="TextBox 112">
            <a:extLst>
              <a:ext uri="{FF2B5EF4-FFF2-40B4-BE49-F238E27FC236}">
                <a16:creationId xmlns:a16="http://schemas.microsoft.com/office/drawing/2014/main" id="{E5865C8E-BDA6-3A44-BE06-825C0A7C7FC3}"/>
              </a:ext>
            </a:extLst>
          </p:cNvPr>
          <p:cNvSpPr txBox="1">
            <a:spLocks/>
          </p:cNvSpPr>
          <p:nvPr>
            <p:custDataLst>
              <p:tags r:id="rId4"/>
            </p:custDataLst>
          </p:nvPr>
        </p:nvSpPr>
        <p:spPr>
          <a:xfrm>
            <a:off x="6370524" y="2451874"/>
            <a:ext cx="741580" cy="218760"/>
          </a:xfrm>
          <a:prstGeom prst="rect">
            <a:avLst/>
          </a:prstGeom>
        </p:spPr>
        <p:txBody>
          <a:bodyPr vert="horz" wrap="square" lIns="0" tIns="0" rIns="0" bIns="0" rtlCol="0" anchor="b"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de" sz="1200" dirty="0">
                <a:latin typeface="Gill Sans MT" panose="020B0502020104020203" pitchFamily="34" charset="0"/>
              </a:rPr>
              <a:t>2018</a:t>
            </a:r>
          </a:p>
        </p:txBody>
      </p:sp>
      <p:cxnSp>
        <p:nvCxnSpPr>
          <p:cNvPr id="9" name="Straight Arrow Connector 97">
            <a:extLst>
              <a:ext uri="{FF2B5EF4-FFF2-40B4-BE49-F238E27FC236}">
                <a16:creationId xmlns:a16="http://schemas.microsoft.com/office/drawing/2014/main" id="{B5B53324-9373-B643-8037-4B6152DD6501}"/>
              </a:ext>
            </a:extLst>
          </p:cNvPr>
          <p:cNvCxnSpPr>
            <a:cxnSpLocks/>
          </p:cNvCxnSpPr>
          <p:nvPr/>
        </p:nvCxnSpPr>
        <p:spPr>
          <a:xfrm>
            <a:off x="4292284" y="2687656"/>
            <a:ext cx="2448692" cy="0"/>
          </a:xfrm>
          <a:prstGeom prst="straightConnector1">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Geschweifte Klammer rechts 5">
            <a:extLst>
              <a:ext uri="{FF2B5EF4-FFF2-40B4-BE49-F238E27FC236}">
                <a16:creationId xmlns:a16="http://schemas.microsoft.com/office/drawing/2014/main" id="{7E557538-F25B-3E41-9398-CC0642100905}"/>
              </a:ext>
            </a:extLst>
          </p:cNvPr>
          <p:cNvSpPr/>
          <p:nvPr/>
        </p:nvSpPr>
        <p:spPr bwMode="auto">
          <a:xfrm>
            <a:off x="4609097" y="3763099"/>
            <a:ext cx="209388" cy="716271"/>
          </a:xfrm>
          <a:prstGeom prst="rightBrace">
            <a:avLst/>
          </a:prstGeom>
          <a:solidFill>
            <a:srgbClr val="E6E6E6"/>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defTabSz="914377"/>
            <a:endParaRPr lang="de-DE" sz="1050">
              <a:latin typeface="Gill Sans MT Light" pitchFamily="34" charset="0"/>
            </a:endParaRPr>
          </a:p>
        </p:txBody>
      </p:sp>
      <p:sp>
        <p:nvSpPr>
          <p:cNvPr id="12" name="Textfeld 6">
            <a:extLst>
              <a:ext uri="{FF2B5EF4-FFF2-40B4-BE49-F238E27FC236}">
                <a16:creationId xmlns:a16="http://schemas.microsoft.com/office/drawing/2014/main" id="{517E579F-A243-5C46-803A-7FBEEED08BBE}"/>
              </a:ext>
            </a:extLst>
          </p:cNvPr>
          <p:cNvSpPr txBox="1"/>
          <p:nvPr/>
        </p:nvSpPr>
        <p:spPr>
          <a:xfrm>
            <a:off x="4774953" y="3914619"/>
            <a:ext cx="1449120" cy="461665"/>
          </a:xfrm>
          <a:prstGeom prst="rect">
            <a:avLst/>
          </a:prstGeom>
          <a:noFill/>
        </p:spPr>
        <p:txBody>
          <a:bodyPr wrap="square" rtlCol="0">
            <a:spAutoFit/>
          </a:bodyPr>
          <a:lstStyle/>
          <a:p>
            <a:r>
              <a:rPr lang="de-DE" dirty="0">
                <a:latin typeface="+mn-lt"/>
              </a:rPr>
              <a:t>44 Mill./</a:t>
            </a:r>
          </a:p>
          <a:p>
            <a:r>
              <a:rPr lang="de-DE" dirty="0">
                <a:latin typeface="+mn-lt"/>
              </a:rPr>
              <a:t>7%</a:t>
            </a:r>
          </a:p>
        </p:txBody>
      </p:sp>
      <p:sp>
        <p:nvSpPr>
          <p:cNvPr id="13" name="Geschweifte Klammer rechts 16">
            <a:extLst>
              <a:ext uri="{FF2B5EF4-FFF2-40B4-BE49-F238E27FC236}">
                <a16:creationId xmlns:a16="http://schemas.microsoft.com/office/drawing/2014/main" id="{6A1156D5-9AA8-0849-86F6-FBAB75A3619F}"/>
              </a:ext>
            </a:extLst>
          </p:cNvPr>
          <p:cNvSpPr/>
          <p:nvPr/>
        </p:nvSpPr>
        <p:spPr bwMode="auto">
          <a:xfrm>
            <a:off x="7320663" y="3763099"/>
            <a:ext cx="209388" cy="716255"/>
          </a:xfrm>
          <a:prstGeom prst="rightBrace">
            <a:avLst/>
          </a:prstGeom>
          <a:solidFill>
            <a:srgbClr val="E6E6E6"/>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defTabSz="914377"/>
            <a:endParaRPr lang="de-DE" sz="1050">
              <a:latin typeface="Gill Sans MT Light" pitchFamily="34" charset="0"/>
            </a:endParaRPr>
          </a:p>
        </p:txBody>
      </p:sp>
      <p:sp>
        <p:nvSpPr>
          <p:cNvPr id="14" name="Textfeld 17">
            <a:extLst>
              <a:ext uri="{FF2B5EF4-FFF2-40B4-BE49-F238E27FC236}">
                <a16:creationId xmlns:a16="http://schemas.microsoft.com/office/drawing/2014/main" id="{CB797CC9-7E1F-404D-8810-9594D7251EAF}"/>
              </a:ext>
            </a:extLst>
          </p:cNvPr>
          <p:cNvSpPr txBox="1"/>
          <p:nvPr/>
        </p:nvSpPr>
        <p:spPr>
          <a:xfrm>
            <a:off x="7479636" y="3921505"/>
            <a:ext cx="1015707" cy="461665"/>
          </a:xfrm>
          <a:prstGeom prst="rect">
            <a:avLst/>
          </a:prstGeom>
          <a:noFill/>
        </p:spPr>
        <p:txBody>
          <a:bodyPr wrap="square" rtlCol="0">
            <a:spAutoFit/>
          </a:bodyPr>
          <a:lstStyle/>
          <a:p>
            <a:r>
              <a:rPr lang="de-DE" dirty="0">
                <a:latin typeface="+mn-lt"/>
              </a:rPr>
              <a:t>374 Mill./</a:t>
            </a:r>
          </a:p>
          <a:p>
            <a:r>
              <a:rPr lang="de-DE" dirty="0">
                <a:latin typeface="+mn-lt"/>
              </a:rPr>
              <a:t>46%</a:t>
            </a:r>
          </a:p>
        </p:txBody>
      </p:sp>
      <p:sp>
        <p:nvSpPr>
          <p:cNvPr id="16" name="Textfeld 19">
            <a:extLst>
              <a:ext uri="{FF2B5EF4-FFF2-40B4-BE49-F238E27FC236}">
                <a16:creationId xmlns:a16="http://schemas.microsoft.com/office/drawing/2014/main" id="{59664834-15F4-9343-83BC-BB469A39DB58}"/>
              </a:ext>
            </a:extLst>
          </p:cNvPr>
          <p:cNvSpPr txBox="1"/>
          <p:nvPr/>
        </p:nvSpPr>
        <p:spPr>
          <a:xfrm>
            <a:off x="1574030" y="3938497"/>
            <a:ext cx="915833" cy="461665"/>
          </a:xfrm>
          <a:prstGeom prst="rect">
            <a:avLst/>
          </a:prstGeom>
          <a:solidFill>
            <a:schemeClr val="bg1"/>
          </a:solidFill>
        </p:spPr>
        <p:txBody>
          <a:bodyPr wrap="square" rtlCol="0">
            <a:spAutoFit/>
          </a:bodyPr>
          <a:lstStyle>
            <a:defPPr>
              <a:defRPr lang="de-DE"/>
            </a:defPPr>
            <a:lvl1pPr>
              <a:defRPr>
                <a:latin typeface="+mn-lt"/>
              </a:defRPr>
            </a:lvl1pPr>
          </a:lstStyle>
          <a:p>
            <a:r>
              <a:rPr lang="en-US" dirty="0"/>
              <a:t>Middle class</a:t>
            </a:r>
          </a:p>
        </p:txBody>
      </p:sp>
      <p:sp>
        <p:nvSpPr>
          <p:cNvPr id="37" name="Textfeld 9">
            <a:extLst>
              <a:ext uri="{FF2B5EF4-FFF2-40B4-BE49-F238E27FC236}">
                <a16:creationId xmlns:a16="http://schemas.microsoft.com/office/drawing/2014/main" id="{01BF1DFB-5362-B946-9FCB-DA12BC7156CA}"/>
              </a:ext>
            </a:extLst>
          </p:cNvPr>
          <p:cNvSpPr txBox="1"/>
          <p:nvPr/>
        </p:nvSpPr>
        <p:spPr>
          <a:xfrm>
            <a:off x="409454" y="2860874"/>
            <a:ext cx="1142717" cy="259045"/>
          </a:xfrm>
          <a:prstGeom prst="rect">
            <a:avLst/>
          </a:prstGeom>
          <a:solidFill>
            <a:schemeClr val="bg1"/>
          </a:solidFill>
        </p:spPr>
        <p:txBody>
          <a:bodyPr wrap="square" rtlCol="0">
            <a:spAutoFit/>
          </a:bodyPr>
          <a:lstStyle/>
          <a:p>
            <a:pPr>
              <a:lnSpc>
                <a:spcPts val="1333"/>
              </a:lnSpc>
            </a:pPr>
            <a:r>
              <a:rPr lang="de-DE" dirty="0">
                <a:latin typeface="+mn-lt"/>
              </a:rPr>
              <a:t>Rich</a:t>
            </a:r>
          </a:p>
        </p:txBody>
      </p:sp>
      <p:sp>
        <p:nvSpPr>
          <p:cNvPr id="38" name="Textfeld 20">
            <a:extLst>
              <a:ext uri="{FF2B5EF4-FFF2-40B4-BE49-F238E27FC236}">
                <a16:creationId xmlns:a16="http://schemas.microsoft.com/office/drawing/2014/main" id="{AD9B1F01-D291-1542-BA52-CA25BF20FE2C}"/>
              </a:ext>
            </a:extLst>
          </p:cNvPr>
          <p:cNvSpPr txBox="1"/>
          <p:nvPr/>
        </p:nvSpPr>
        <p:spPr>
          <a:xfrm>
            <a:off x="409454" y="3237539"/>
            <a:ext cx="1159485" cy="259045"/>
          </a:xfrm>
          <a:prstGeom prst="rect">
            <a:avLst/>
          </a:prstGeom>
          <a:solidFill>
            <a:schemeClr val="bg1"/>
          </a:solidFill>
        </p:spPr>
        <p:txBody>
          <a:bodyPr wrap="square" rtlCol="0">
            <a:spAutoFit/>
          </a:bodyPr>
          <a:lstStyle/>
          <a:p>
            <a:pPr>
              <a:lnSpc>
                <a:spcPts val="1333"/>
              </a:lnSpc>
            </a:pPr>
            <a:r>
              <a:rPr lang="de-DE" dirty="0" err="1">
                <a:latin typeface="+mn-lt"/>
              </a:rPr>
              <a:t>Affluent</a:t>
            </a:r>
            <a:endParaRPr lang="de-DE" dirty="0">
              <a:latin typeface="+mn-lt"/>
            </a:endParaRPr>
          </a:p>
        </p:txBody>
      </p:sp>
      <p:sp>
        <p:nvSpPr>
          <p:cNvPr id="39" name="Textfeld 21">
            <a:extLst>
              <a:ext uri="{FF2B5EF4-FFF2-40B4-BE49-F238E27FC236}">
                <a16:creationId xmlns:a16="http://schemas.microsoft.com/office/drawing/2014/main" id="{D7A7D142-189A-964D-9845-6E6754BDA5A6}"/>
              </a:ext>
            </a:extLst>
          </p:cNvPr>
          <p:cNvSpPr txBox="1"/>
          <p:nvPr/>
        </p:nvSpPr>
        <p:spPr>
          <a:xfrm>
            <a:off x="409454" y="3614204"/>
            <a:ext cx="1159485" cy="425758"/>
          </a:xfrm>
          <a:prstGeom prst="rect">
            <a:avLst/>
          </a:prstGeom>
          <a:solidFill>
            <a:schemeClr val="bg1"/>
          </a:solidFill>
        </p:spPr>
        <p:txBody>
          <a:bodyPr wrap="square" rtlCol="0">
            <a:spAutoFit/>
          </a:bodyPr>
          <a:lstStyle/>
          <a:p>
            <a:pPr>
              <a:lnSpc>
                <a:spcPts val="1333"/>
              </a:lnSpc>
            </a:pPr>
            <a:r>
              <a:rPr lang="en-US">
                <a:latin typeface="+mn-lt"/>
              </a:rPr>
              <a:t>Upper middle-class</a:t>
            </a:r>
          </a:p>
        </p:txBody>
      </p:sp>
      <p:sp>
        <p:nvSpPr>
          <p:cNvPr id="40" name="Textfeld 22">
            <a:extLst>
              <a:ext uri="{FF2B5EF4-FFF2-40B4-BE49-F238E27FC236}">
                <a16:creationId xmlns:a16="http://schemas.microsoft.com/office/drawing/2014/main" id="{1B63A1DD-5C8E-2C42-B701-1B259E585121}"/>
              </a:ext>
            </a:extLst>
          </p:cNvPr>
          <p:cNvSpPr txBox="1"/>
          <p:nvPr/>
        </p:nvSpPr>
        <p:spPr>
          <a:xfrm>
            <a:off x="381000" y="5165219"/>
            <a:ext cx="1159485" cy="259045"/>
          </a:xfrm>
          <a:prstGeom prst="rect">
            <a:avLst/>
          </a:prstGeom>
          <a:solidFill>
            <a:schemeClr val="bg1"/>
          </a:solidFill>
        </p:spPr>
        <p:txBody>
          <a:bodyPr wrap="square" rtlCol="0">
            <a:spAutoFit/>
          </a:bodyPr>
          <a:lstStyle/>
          <a:p>
            <a:pPr>
              <a:lnSpc>
                <a:spcPts val="1333"/>
              </a:lnSpc>
            </a:pPr>
            <a:r>
              <a:rPr lang="en-US">
                <a:latin typeface="+mn-lt"/>
              </a:rPr>
              <a:t>Lower class</a:t>
            </a:r>
          </a:p>
        </p:txBody>
      </p:sp>
      <p:sp>
        <p:nvSpPr>
          <p:cNvPr id="41" name="Textfeld 23">
            <a:extLst>
              <a:ext uri="{FF2B5EF4-FFF2-40B4-BE49-F238E27FC236}">
                <a16:creationId xmlns:a16="http://schemas.microsoft.com/office/drawing/2014/main" id="{051089F6-4ADD-9043-BE7D-CB9B65E986D8}"/>
              </a:ext>
            </a:extLst>
          </p:cNvPr>
          <p:cNvSpPr txBox="1"/>
          <p:nvPr/>
        </p:nvSpPr>
        <p:spPr>
          <a:xfrm>
            <a:off x="409454" y="4131209"/>
            <a:ext cx="1159485" cy="425758"/>
          </a:xfrm>
          <a:prstGeom prst="rect">
            <a:avLst/>
          </a:prstGeom>
          <a:solidFill>
            <a:schemeClr val="bg1"/>
          </a:solidFill>
        </p:spPr>
        <p:txBody>
          <a:bodyPr wrap="square" rtlCol="0">
            <a:spAutoFit/>
          </a:bodyPr>
          <a:lstStyle/>
          <a:p>
            <a:pPr>
              <a:lnSpc>
                <a:spcPts val="1333"/>
              </a:lnSpc>
            </a:pPr>
            <a:r>
              <a:rPr lang="en-US">
                <a:latin typeface="+mn-lt"/>
              </a:rPr>
              <a:t>Lower middle class</a:t>
            </a:r>
          </a:p>
        </p:txBody>
      </p:sp>
      <p:sp>
        <p:nvSpPr>
          <p:cNvPr id="42" name="Textfeld 24">
            <a:extLst>
              <a:ext uri="{FF2B5EF4-FFF2-40B4-BE49-F238E27FC236}">
                <a16:creationId xmlns:a16="http://schemas.microsoft.com/office/drawing/2014/main" id="{D491E736-239D-A248-B616-474F869A285A}"/>
              </a:ext>
            </a:extLst>
          </p:cNvPr>
          <p:cNvSpPr txBox="1"/>
          <p:nvPr/>
        </p:nvSpPr>
        <p:spPr>
          <a:xfrm>
            <a:off x="409454" y="5541884"/>
            <a:ext cx="1159485" cy="259045"/>
          </a:xfrm>
          <a:prstGeom prst="rect">
            <a:avLst/>
          </a:prstGeom>
          <a:solidFill>
            <a:schemeClr val="bg1"/>
          </a:solidFill>
        </p:spPr>
        <p:txBody>
          <a:bodyPr wrap="square" rtlCol="0">
            <a:spAutoFit/>
          </a:bodyPr>
          <a:lstStyle/>
          <a:p>
            <a:pPr>
              <a:lnSpc>
                <a:spcPts val="1333"/>
              </a:lnSpc>
            </a:pPr>
            <a:r>
              <a:rPr lang="de-DE" dirty="0">
                <a:latin typeface="+mn-lt"/>
              </a:rPr>
              <a:t>Poor</a:t>
            </a:r>
          </a:p>
        </p:txBody>
      </p:sp>
      <p:sp>
        <p:nvSpPr>
          <p:cNvPr id="43" name="Textfeld 25">
            <a:extLst>
              <a:ext uri="{FF2B5EF4-FFF2-40B4-BE49-F238E27FC236}">
                <a16:creationId xmlns:a16="http://schemas.microsoft.com/office/drawing/2014/main" id="{B98B2B61-F4AF-B846-A8CE-442CE9ECABF6}"/>
              </a:ext>
            </a:extLst>
          </p:cNvPr>
          <p:cNvSpPr txBox="1"/>
          <p:nvPr/>
        </p:nvSpPr>
        <p:spPr>
          <a:xfrm>
            <a:off x="409454" y="4648214"/>
            <a:ext cx="1159485" cy="425758"/>
          </a:xfrm>
          <a:prstGeom prst="rect">
            <a:avLst/>
          </a:prstGeom>
          <a:solidFill>
            <a:schemeClr val="bg1"/>
          </a:solidFill>
        </p:spPr>
        <p:txBody>
          <a:bodyPr wrap="square" rtlCol="0">
            <a:spAutoFit/>
          </a:bodyPr>
          <a:lstStyle/>
          <a:p>
            <a:pPr>
              <a:lnSpc>
                <a:spcPts val="1333"/>
              </a:lnSpc>
            </a:pPr>
            <a:r>
              <a:rPr lang="en-US">
                <a:latin typeface="+mn-lt"/>
              </a:rPr>
              <a:t>Aspiring </a:t>
            </a:r>
          </a:p>
          <a:p>
            <a:pPr>
              <a:lnSpc>
                <a:spcPts val="1333"/>
              </a:lnSpc>
            </a:pPr>
            <a:r>
              <a:rPr lang="en-US">
                <a:latin typeface="+mn-lt"/>
              </a:rPr>
              <a:t>middle class </a:t>
            </a:r>
          </a:p>
        </p:txBody>
      </p:sp>
      <p:sp>
        <p:nvSpPr>
          <p:cNvPr id="44" name="Geschweifte Klammer rechts 18">
            <a:extLst>
              <a:ext uri="{FF2B5EF4-FFF2-40B4-BE49-F238E27FC236}">
                <a16:creationId xmlns:a16="http://schemas.microsoft.com/office/drawing/2014/main" id="{C2C22906-D430-264F-B3E4-A908911177CD}"/>
              </a:ext>
            </a:extLst>
          </p:cNvPr>
          <p:cNvSpPr/>
          <p:nvPr/>
        </p:nvSpPr>
        <p:spPr bwMode="auto">
          <a:xfrm>
            <a:off x="1423388" y="3727436"/>
            <a:ext cx="209388" cy="716271"/>
          </a:xfrm>
          <a:prstGeom prst="rightBrac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defTabSz="914377">
              <a:lnSpc>
                <a:spcPts val="1333"/>
              </a:lnSpc>
            </a:pPr>
            <a:endParaRPr lang="de-DE" sz="1050">
              <a:latin typeface="Gill Sans MT Light" pitchFamily="34" charset="0"/>
            </a:endParaRPr>
          </a:p>
        </p:txBody>
      </p:sp>
    </p:spTree>
    <p:extLst>
      <p:ext uri="{BB962C8B-B14F-4D97-AF65-F5344CB8AC3E}">
        <p14:creationId xmlns:p14="http://schemas.microsoft.com/office/powerpoint/2010/main" val="1175251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1941" y="436782"/>
            <a:ext cx="8207583" cy="976165"/>
          </a:xfrm>
        </p:spPr>
        <p:txBody>
          <a:bodyPr/>
          <a:lstStyle/>
          <a:p>
            <a:r>
              <a:rPr lang="en-US" sz="3100" kern="1200" dirty="0">
                <a:solidFill>
                  <a:srgbClr val="005B99"/>
                </a:solidFill>
              </a:rPr>
              <a:t>China's economy is embarking on a V shaped transformation</a:t>
            </a:r>
          </a:p>
        </p:txBody>
      </p:sp>
      <p:sp>
        <p:nvSpPr>
          <p:cNvPr id="4" name="Rounded Rectangle 3"/>
          <p:cNvSpPr>
            <a:spLocks/>
          </p:cNvSpPr>
          <p:nvPr/>
        </p:nvSpPr>
        <p:spPr>
          <a:xfrm>
            <a:off x="5767707" y="4513166"/>
            <a:ext cx="2914898" cy="1780747"/>
          </a:xfrm>
          <a:prstGeom prst="roundRect">
            <a:avLst>
              <a:gd name="adj" fmla="val 5183"/>
            </a:avLst>
          </a:prstGeom>
          <a:noFill/>
          <a:ln w="9525">
            <a:noFill/>
            <a:miter lim="800000"/>
            <a:headEnd/>
            <a:tailEnd/>
          </a:ln>
          <a:effectLst/>
        </p:spPr>
        <p:txBody>
          <a:bodyPr wrap="square" lIns="163342" tIns="64316" rIns="64316" bIns="64316" anchor="ctr" anchorCtr="0">
            <a:noAutofit/>
          </a:bodyPr>
          <a:lstStyle/>
          <a:p>
            <a:pPr defTabSz="799665" fontAlgn="auto">
              <a:spcBef>
                <a:spcPts val="0"/>
              </a:spcBef>
              <a:spcAft>
                <a:spcPts val="0"/>
              </a:spcAft>
              <a:buClr>
                <a:srgbClr val="1F497D"/>
              </a:buClr>
            </a:pPr>
            <a:endParaRPr lang="en-US" sz="1790" b="1" dirty="0">
              <a:solidFill>
                <a:srgbClr val="9BBB59">
                  <a:lumMod val="75000"/>
                </a:srgbClr>
              </a:solidFill>
              <a:latin typeface="Arial" charset="0"/>
            </a:endParaRPr>
          </a:p>
        </p:txBody>
      </p:sp>
      <p:sp>
        <p:nvSpPr>
          <p:cNvPr id="5" name="Oval 4"/>
          <p:cNvSpPr/>
          <p:nvPr/>
        </p:nvSpPr>
        <p:spPr>
          <a:xfrm>
            <a:off x="6322401" y="1664150"/>
            <a:ext cx="1992090" cy="2158224"/>
          </a:xfrm>
          <a:prstGeom prst="ellipse">
            <a:avLst/>
          </a:prstGeom>
          <a:solidFill>
            <a:schemeClr val="bg1"/>
          </a:solidFill>
          <a:ln>
            <a:noFill/>
          </a:ln>
          <a:effectLst>
            <a:outerShdw blurRad="292100" dist="139700" dir="2700000" algn="tl" rotWithShape="0">
              <a:srgbClr val="333333">
                <a:alpha val="65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80040" tIns="40015" rIns="80040" bIns="40015" rtlCol="0" anchor="ctr"/>
          <a:lstStyle/>
          <a:p>
            <a:pPr algn="ctr" defTabSz="876226" fontAlgn="auto">
              <a:spcBef>
                <a:spcPts val="0"/>
              </a:spcBef>
              <a:spcAft>
                <a:spcPts val="0"/>
              </a:spcAft>
            </a:pPr>
            <a:endParaRPr lang="en-US" sz="1790" dirty="0">
              <a:solidFill>
                <a:prstClr val="black"/>
              </a:solidFill>
            </a:endParaRPr>
          </a:p>
        </p:txBody>
      </p:sp>
      <p:sp>
        <p:nvSpPr>
          <p:cNvPr id="6" name="Oval 5"/>
          <p:cNvSpPr/>
          <p:nvPr/>
        </p:nvSpPr>
        <p:spPr>
          <a:xfrm>
            <a:off x="6322401" y="1664150"/>
            <a:ext cx="1992090" cy="2158224"/>
          </a:xfrm>
          <a:prstGeom prst="ellipse">
            <a:avLst/>
          </a:prstGeom>
          <a:solidFill>
            <a:srgbClr val="C00000">
              <a:alpha val="47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0040" tIns="40015" rIns="80040" bIns="40015" rtlCol="0" anchor="ctr"/>
          <a:lstStyle/>
          <a:p>
            <a:pPr algn="ctr" defTabSz="876226" fontAlgn="auto">
              <a:spcBef>
                <a:spcPts val="0"/>
              </a:spcBef>
              <a:spcAft>
                <a:spcPts val="0"/>
              </a:spcAft>
            </a:pPr>
            <a:endParaRPr lang="en-US" sz="1790" dirty="0">
              <a:solidFill>
                <a:prstClr val="black"/>
              </a:solidFill>
            </a:endParaRPr>
          </a:p>
        </p:txBody>
      </p:sp>
      <p:sp>
        <p:nvSpPr>
          <p:cNvPr id="7" name="Oval 6"/>
          <p:cNvSpPr/>
          <p:nvPr/>
        </p:nvSpPr>
        <p:spPr>
          <a:xfrm>
            <a:off x="6509213" y="1866657"/>
            <a:ext cx="1618474" cy="175345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0040" tIns="40015" rIns="80040" bIns="40015" rtlCol="0" anchor="ctr"/>
          <a:lstStyle/>
          <a:p>
            <a:pPr algn="ctr" defTabSz="876226" fontAlgn="auto">
              <a:spcBef>
                <a:spcPts val="0"/>
              </a:spcBef>
              <a:spcAft>
                <a:spcPts val="0"/>
              </a:spcAft>
            </a:pPr>
            <a:endParaRPr lang="en-US" sz="1790" dirty="0">
              <a:solidFill>
                <a:prstClr val="black"/>
              </a:solidFill>
            </a:endParaRPr>
          </a:p>
        </p:txBody>
      </p:sp>
      <p:sp>
        <p:nvSpPr>
          <p:cNvPr id="8" name="Oval 7"/>
          <p:cNvSpPr/>
          <p:nvPr/>
        </p:nvSpPr>
        <p:spPr>
          <a:xfrm>
            <a:off x="6693291" y="2065962"/>
            <a:ext cx="1250323" cy="1354597"/>
          </a:xfrm>
          <a:prstGeom prst="ellipse">
            <a:avLst/>
          </a:prstGeom>
          <a:solidFill>
            <a:srgbClr val="C00000">
              <a:alpha val="47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0040" tIns="40015" rIns="80040" bIns="40015" rtlCol="0" anchor="ctr"/>
          <a:lstStyle/>
          <a:p>
            <a:pPr algn="ctr" defTabSz="876226" fontAlgn="auto">
              <a:spcBef>
                <a:spcPts val="0"/>
              </a:spcBef>
              <a:spcAft>
                <a:spcPts val="0"/>
              </a:spcAft>
            </a:pPr>
            <a:endParaRPr lang="en-US" sz="1790" dirty="0">
              <a:solidFill>
                <a:prstClr val="black"/>
              </a:solidFill>
            </a:endParaRPr>
          </a:p>
        </p:txBody>
      </p:sp>
      <p:sp>
        <p:nvSpPr>
          <p:cNvPr id="9" name="Oval 8"/>
          <p:cNvSpPr/>
          <p:nvPr/>
        </p:nvSpPr>
        <p:spPr>
          <a:xfrm>
            <a:off x="6877617" y="2265781"/>
            <a:ext cx="881671" cy="955201"/>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0040" tIns="40015" rIns="80040" bIns="40015" rtlCol="0" anchor="ctr"/>
          <a:lstStyle/>
          <a:p>
            <a:pPr algn="ctr" defTabSz="876226" fontAlgn="auto">
              <a:spcBef>
                <a:spcPts val="0"/>
              </a:spcBef>
              <a:spcAft>
                <a:spcPts val="0"/>
              </a:spcAft>
            </a:pPr>
            <a:endParaRPr lang="en-US" sz="1790" dirty="0">
              <a:solidFill>
                <a:prstClr val="black"/>
              </a:solidFill>
            </a:endParaRPr>
          </a:p>
        </p:txBody>
      </p:sp>
      <p:sp>
        <p:nvSpPr>
          <p:cNvPr id="10" name="Oval 9"/>
          <p:cNvSpPr/>
          <p:nvPr/>
        </p:nvSpPr>
        <p:spPr>
          <a:xfrm>
            <a:off x="7087547" y="2493087"/>
            <a:ext cx="461835" cy="500350"/>
          </a:xfrm>
          <a:prstGeom prst="ellipse">
            <a:avLst/>
          </a:prstGeom>
          <a:solidFill>
            <a:srgbClr val="C00000">
              <a:alpha val="47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0040" tIns="40015" rIns="80040" bIns="40015" rtlCol="0" anchor="ctr"/>
          <a:lstStyle/>
          <a:p>
            <a:pPr algn="ctr" defTabSz="876226" fontAlgn="auto">
              <a:spcBef>
                <a:spcPts val="0"/>
              </a:spcBef>
              <a:spcAft>
                <a:spcPts val="0"/>
              </a:spcAft>
            </a:pPr>
            <a:endParaRPr lang="en-US" sz="1790" dirty="0">
              <a:solidFill>
                <a:prstClr val="black"/>
              </a:solidFill>
            </a:endParaRPr>
          </a:p>
        </p:txBody>
      </p:sp>
      <p:sp>
        <p:nvSpPr>
          <p:cNvPr id="11" name="Rectangle 35"/>
          <p:cNvSpPr txBox="1"/>
          <p:nvPr/>
        </p:nvSpPr>
        <p:spPr>
          <a:xfrm>
            <a:off x="6589680" y="2489812"/>
            <a:ext cx="1493178" cy="550920"/>
          </a:xfrm>
          <a:prstGeom prst="rect">
            <a:avLst/>
          </a:prstGeom>
          <a:solidFill>
            <a:srgbClr val="FFFFFF">
              <a:alpha val="52157"/>
            </a:srgbClr>
          </a:solidFill>
          <a:ln w="9525">
            <a:noFill/>
            <a:miter lim="800000"/>
            <a:headEnd/>
            <a:tailEnd/>
          </a:ln>
          <a:effectLst/>
        </p:spPr>
        <p:txBody>
          <a:bodyPr vert="horz" wrap="square" lIns="0" tIns="0" rIns="0" bIns="0" numCol="1" anchor="ctr" anchorCtr="1"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buClr>
                <a:srgbClr val="1F497D"/>
              </a:buClr>
            </a:pPr>
            <a:r>
              <a:rPr lang="en-US" sz="1790" b="1" dirty="0"/>
              <a:t>Goal:</a:t>
            </a:r>
          </a:p>
          <a:p>
            <a:pPr algn="ctr" fontAlgn="auto">
              <a:spcBef>
                <a:spcPts val="0"/>
              </a:spcBef>
              <a:spcAft>
                <a:spcPts val="0"/>
              </a:spcAft>
              <a:buClr>
                <a:srgbClr val="1F497D"/>
              </a:buClr>
            </a:pPr>
            <a:r>
              <a:rPr lang="en-US" sz="1790" b="1" dirty="0"/>
              <a:t>Shrink to Grow</a:t>
            </a:r>
          </a:p>
        </p:txBody>
      </p:sp>
      <p:sp>
        <p:nvSpPr>
          <p:cNvPr id="12" name="Right Triangle 6"/>
          <p:cNvSpPr/>
          <p:nvPr/>
        </p:nvSpPr>
        <p:spPr>
          <a:xfrm rot="19324011">
            <a:off x="2549256" y="2395703"/>
            <a:ext cx="4043224" cy="971981"/>
          </a:xfrm>
          <a:custGeom>
            <a:avLst/>
            <a:gdLst/>
            <a:ahLst/>
            <a:cxnLst/>
            <a:rect l="l" t="t" r="r" b="b"/>
            <a:pathLst>
              <a:path w="3297140" h="2559365">
                <a:moveTo>
                  <a:pt x="2599118" y="0"/>
                </a:moveTo>
                <a:lnTo>
                  <a:pt x="2772633" y="315911"/>
                </a:lnTo>
                <a:lnTo>
                  <a:pt x="2772944" y="315911"/>
                </a:lnTo>
                <a:lnTo>
                  <a:pt x="3297140" y="1282064"/>
                </a:lnTo>
                <a:lnTo>
                  <a:pt x="2772944" y="2248216"/>
                </a:lnTo>
                <a:lnTo>
                  <a:pt x="2772399" y="2248216"/>
                </a:lnTo>
                <a:lnTo>
                  <a:pt x="2601499" y="2559365"/>
                </a:lnTo>
                <a:lnTo>
                  <a:pt x="2601499" y="2248216"/>
                </a:lnTo>
                <a:lnTo>
                  <a:pt x="0" y="2248216"/>
                </a:lnTo>
                <a:lnTo>
                  <a:pt x="0" y="315911"/>
                </a:lnTo>
                <a:lnTo>
                  <a:pt x="2599118" y="315911"/>
                </a:lnTo>
                <a:close/>
              </a:path>
            </a:pathLst>
          </a:custGeom>
          <a:solidFill>
            <a:schemeClr val="accent2"/>
          </a:solidFill>
          <a:ln w="6350" cap="rnd">
            <a:noFill/>
            <a:round/>
            <a:headEnd/>
            <a:tailEnd/>
          </a:ln>
          <a:effectLst>
            <a:outerShdw blurRad="50800" dist="38100" dir="2700000" algn="tl" rotWithShape="0">
              <a:prstClr val="black">
                <a:alpha val="40000"/>
              </a:prstClr>
            </a:outerShdw>
          </a:effectLst>
        </p:spPr>
        <p:txBody>
          <a:bodyPr lIns="80040" tIns="40015" rIns="80040" bIns="40015"/>
          <a:lstStyle/>
          <a:p>
            <a:pPr defTabSz="876226" fontAlgn="auto">
              <a:spcBef>
                <a:spcPts val="0"/>
              </a:spcBef>
              <a:spcAft>
                <a:spcPts val="0"/>
              </a:spcAft>
            </a:pPr>
            <a:endParaRPr lang="en-US" sz="1790" b="1" dirty="0">
              <a:solidFill>
                <a:prstClr val="black"/>
              </a:solidFill>
              <a:latin typeface="Arial" charset="0"/>
            </a:endParaRPr>
          </a:p>
        </p:txBody>
      </p:sp>
      <p:sp>
        <p:nvSpPr>
          <p:cNvPr id="13" name="Rectangle 286"/>
          <p:cNvSpPr txBox="1">
            <a:spLocks noChangeArrowheads="1"/>
          </p:cNvSpPr>
          <p:nvPr/>
        </p:nvSpPr>
        <p:spPr bwMode="auto">
          <a:xfrm rot="19189632">
            <a:off x="3164416" y="3102833"/>
            <a:ext cx="1674867" cy="4634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buClr>
                <a:srgbClr val="1F497D"/>
              </a:buClr>
            </a:pPr>
            <a:r>
              <a:rPr lang="en-US" sz="1506" b="1" dirty="0">
                <a:solidFill>
                  <a:prstClr val="white"/>
                </a:solidFill>
              </a:rPr>
              <a:t>“Building the Future”</a:t>
            </a:r>
          </a:p>
        </p:txBody>
      </p:sp>
      <p:sp>
        <p:nvSpPr>
          <p:cNvPr id="14" name="Freeform 4"/>
          <p:cNvSpPr>
            <a:spLocks/>
          </p:cNvSpPr>
          <p:nvPr/>
        </p:nvSpPr>
        <p:spPr bwMode="auto">
          <a:xfrm rot="1984686">
            <a:off x="630809" y="3108900"/>
            <a:ext cx="2845619" cy="1042104"/>
          </a:xfrm>
          <a:custGeom>
            <a:avLst/>
            <a:gdLst>
              <a:gd name="T0" fmla="*/ 0 w 10000"/>
              <a:gd name="T1" fmla="*/ 2147483647 h 10286"/>
              <a:gd name="T2" fmla="*/ 2147483647 w 10000"/>
              <a:gd name="T3" fmla="*/ 2147483647 h 10286"/>
              <a:gd name="T4" fmla="*/ 2147483647 w 10000"/>
              <a:gd name="T5" fmla="*/ 0 h 10286"/>
              <a:gd name="T6" fmla="*/ 2147483647 w 10000"/>
              <a:gd name="T7" fmla="*/ 2147483647 h 10286"/>
              <a:gd name="T8" fmla="*/ 2147483647 w 10000"/>
              <a:gd name="T9" fmla="*/ 2147483647 h 10286"/>
              <a:gd name="T10" fmla="*/ 2147483647 w 10000"/>
              <a:gd name="T11" fmla="*/ 2147483647 h 10286"/>
              <a:gd name="T12" fmla="*/ 0 w 10000"/>
              <a:gd name="T13" fmla="*/ 2147483647 h 10286"/>
              <a:gd name="T14" fmla="*/ 0 w 10000"/>
              <a:gd name="T15" fmla="*/ 2147483647 h 10286"/>
              <a:gd name="T16" fmla="*/ 0 w 10000"/>
              <a:gd name="T17" fmla="*/ 2147483647 h 102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000"/>
              <a:gd name="T28" fmla="*/ 0 h 10286"/>
              <a:gd name="T29" fmla="*/ 10000 w 10000"/>
              <a:gd name="T30" fmla="*/ 10286 h 102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000" h="10286">
                <a:moveTo>
                  <a:pt x="0" y="1721"/>
                </a:moveTo>
                <a:lnTo>
                  <a:pt x="7498" y="1721"/>
                </a:lnTo>
                <a:lnTo>
                  <a:pt x="7498" y="0"/>
                </a:lnTo>
                <a:lnTo>
                  <a:pt x="10000" y="5107"/>
                </a:lnTo>
                <a:lnTo>
                  <a:pt x="7498" y="10286"/>
                </a:lnTo>
                <a:lnTo>
                  <a:pt x="7498" y="8555"/>
                </a:lnTo>
                <a:lnTo>
                  <a:pt x="0" y="8555"/>
                </a:lnTo>
                <a:lnTo>
                  <a:pt x="0" y="5107"/>
                </a:lnTo>
                <a:lnTo>
                  <a:pt x="0" y="1721"/>
                </a:lnTo>
              </a:path>
            </a:pathLst>
          </a:custGeom>
          <a:solidFill>
            <a:schemeClr val="bg1">
              <a:lumMod val="85000"/>
            </a:schemeClr>
          </a:solidFill>
          <a:ln w="6350" cap="rnd">
            <a:noFill/>
            <a:round/>
            <a:headEnd/>
            <a:tailEnd/>
          </a:ln>
          <a:effectLst>
            <a:outerShdw blurRad="50800" dist="38100" dir="2700000" algn="tl" rotWithShape="0">
              <a:prstClr val="black">
                <a:alpha val="40000"/>
              </a:prstClr>
            </a:outerShdw>
          </a:effectLst>
        </p:spPr>
        <p:txBody>
          <a:bodyPr lIns="80040" tIns="40015" rIns="80040" bIns="40015"/>
          <a:lstStyle/>
          <a:p>
            <a:pPr defTabSz="876226" fontAlgn="auto">
              <a:spcBef>
                <a:spcPts val="0"/>
              </a:spcBef>
              <a:spcAft>
                <a:spcPts val="0"/>
              </a:spcAft>
            </a:pPr>
            <a:endParaRPr lang="en-US" sz="1790" b="1" dirty="0">
              <a:solidFill>
                <a:prstClr val="black"/>
              </a:solidFill>
              <a:latin typeface="Calibri"/>
            </a:endParaRPr>
          </a:p>
        </p:txBody>
      </p:sp>
      <p:sp>
        <p:nvSpPr>
          <p:cNvPr id="15" name="Rectangle 286"/>
          <p:cNvSpPr txBox="1">
            <a:spLocks noChangeArrowheads="1"/>
          </p:cNvSpPr>
          <p:nvPr/>
        </p:nvSpPr>
        <p:spPr bwMode="auto">
          <a:xfrm rot="1958323">
            <a:off x="997065" y="3273891"/>
            <a:ext cx="1788938" cy="4634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1F497D"/>
              </a:buClr>
            </a:pPr>
            <a:r>
              <a:rPr lang="en-US" sz="1506" b="1" dirty="0"/>
              <a:t>“Restructuring of the Supply Side”</a:t>
            </a:r>
          </a:p>
        </p:txBody>
      </p:sp>
      <p:sp>
        <p:nvSpPr>
          <p:cNvPr id="16" name="Rectangle 25"/>
          <p:cNvSpPr txBox="1"/>
          <p:nvPr/>
        </p:nvSpPr>
        <p:spPr>
          <a:xfrm>
            <a:off x="567059" y="4708308"/>
            <a:ext cx="2645418" cy="129266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3118" indent="-153118" fontAlgn="auto">
              <a:spcBef>
                <a:spcPts val="0"/>
              </a:spcBef>
              <a:spcAft>
                <a:spcPts val="0"/>
              </a:spcAft>
              <a:buClr>
                <a:srgbClr val="1A6E5E"/>
              </a:buClr>
              <a:buFont typeface="Wingdings" pitchFamily="2" charset="2"/>
              <a:buChar char="§"/>
            </a:pPr>
            <a:r>
              <a:rPr lang="en-US" b="1" dirty="0">
                <a:solidFill>
                  <a:prstClr val="black"/>
                </a:solidFill>
              </a:rPr>
              <a:t>Traditional</a:t>
            </a:r>
            <a:r>
              <a:rPr lang="en-US" dirty="0">
                <a:solidFill>
                  <a:prstClr val="black"/>
                </a:solidFill>
              </a:rPr>
              <a:t> industries like steel, coal and textiles</a:t>
            </a:r>
          </a:p>
          <a:p>
            <a:pPr marL="153118" indent="-153118" fontAlgn="auto">
              <a:spcBef>
                <a:spcPts val="0"/>
              </a:spcBef>
              <a:spcAft>
                <a:spcPts val="0"/>
              </a:spcAft>
              <a:buClr>
                <a:srgbClr val="1A6E5E"/>
              </a:buClr>
              <a:buFont typeface="Wingdings" pitchFamily="2" charset="2"/>
              <a:buChar char="§"/>
            </a:pPr>
            <a:r>
              <a:rPr lang="en-US" b="1" dirty="0">
                <a:solidFill>
                  <a:prstClr val="black"/>
                </a:solidFill>
              </a:rPr>
              <a:t>Massive restructuring </a:t>
            </a:r>
            <a:r>
              <a:rPr lang="en-US" dirty="0">
                <a:solidFill>
                  <a:prstClr val="black"/>
                </a:solidFill>
              </a:rPr>
              <a:t>and trimming of overcapacities</a:t>
            </a:r>
          </a:p>
          <a:p>
            <a:pPr marL="153118" indent="-153118" fontAlgn="auto">
              <a:spcBef>
                <a:spcPts val="0"/>
              </a:spcBef>
              <a:spcAft>
                <a:spcPts val="0"/>
              </a:spcAft>
              <a:buClr>
                <a:srgbClr val="1A6E5E"/>
              </a:buClr>
              <a:buFont typeface="Wingdings" pitchFamily="2" charset="2"/>
              <a:buChar char="§"/>
            </a:pPr>
            <a:r>
              <a:rPr lang="en-US" b="1" dirty="0">
                <a:solidFill>
                  <a:prstClr val="black"/>
                </a:solidFill>
              </a:rPr>
              <a:t>Retrain 5-6 million state workers </a:t>
            </a:r>
            <a:r>
              <a:rPr lang="en-US" dirty="0">
                <a:solidFill>
                  <a:prstClr val="black"/>
                </a:solidFill>
              </a:rPr>
              <a:t>mostly from manufacturing and state-owned enterprises in the next 2-3 years</a:t>
            </a:r>
          </a:p>
        </p:txBody>
      </p:sp>
      <p:sp>
        <p:nvSpPr>
          <p:cNvPr id="17" name="Rectangle 25"/>
          <p:cNvSpPr txBox="1"/>
          <p:nvPr/>
        </p:nvSpPr>
        <p:spPr>
          <a:xfrm>
            <a:off x="3446978" y="4708301"/>
            <a:ext cx="3062235" cy="14773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3118" lvl="2" indent="-153118" fontAlgn="auto">
              <a:spcBef>
                <a:spcPts val="0"/>
              </a:spcBef>
              <a:spcAft>
                <a:spcPts val="0"/>
              </a:spcAft>
              <a:buClr>
                <a:srgbClr val="1A6E5E"/>
              </a:buClr>
              <a:buSzTx/>
              <a:buFont typeface="Wingdings" pitchFamily="2" charset="2"/>
              <a:buChar char="§"/>
            </a:pPr>
            <a:r>
              <a:rPr lang="en-US" b="1" dirty="0">
                <a:solidFill>
                  <a:prstClr val="black"/>
                </a:solidFill>
              </a:rPr>
              <a:t>Modern fast-growing </a:t>
            </a:r>
            <a:r>
              <a:rPr lang="en-US" dirty="0">
                <a:solidFill>
                  <a:prstClr val="black"/>
                </a:solidFill>
              </a:rPr>
              <a:t>industries like high-tech, healthcare, education, tourism, and internet</a:t>
            </a:r>
          </a:p>
          <a:p>
            <a:pPr marL="153118" lvl="2" indent="-153118" fontAlgn="auto">
              <a:spcBef>
                <a:spcPts val="0"/>
              </a:spcBef>
              <a:spcAft>
                <a:spcPts val="0"/>
              </a:spcAft>
              <a:buClr>
                <a:srgbClr val="1A6E5E"/>
              </a:buClr>
              <a:buSzTx/>
              <a:buFont typeface="Wingdings" pitchFamily="2" charset="2"/>
              <a:buChar char="§"/>
            </a:pPr>
            <a:r>
              <a:rPr lang="en-US" dirty="0">
                <a:solidFill>
                  <a:prstClr val="black"/>
                </a:solidFill>
              </a:rPr>
              <a:t>Higher </a:t>
            </a:r>
            <a:r>
              <a:rPr lang="en-US" b="1" dirty="0">
                <a:solidFill>
                  <a:prstClr val="black"/>
                </a:solidFill>
              </a:rPr>
              <a:t>service</a:t>
            </a:r>
            <a:r>
              <a:rPr lang="en-US" dirty="0">
                <a:solidFill>
                  <a:prstClr val="black"/>
                </a:solidFill>
              </a:rPr>
              <a:t> components, increased Chinese </a:t>
            </a:r>
            <a:r>
              <a:rPr lang="en-US" b="1" dirty="0">
                <a:solidFill>
                  <a:prstClr val="black"/>
                </a:solidFill>
              </a:rPr>
              <a:t>technology</a:t>
            </a:r>
            <a:r>
              <a:rPr lang="en-US" dirty="0">
                <a:solidFill>
                  <a:prstClr val="black"/>
                </a:solidFill>
              </a:rPr>
              <a:t> inside, driven by </a:t>
            </a:r>
            <a:r>
              <a:rPr lang="en-US" b="1" dirty="0">
                <a:solidFill>
                  <a:prstClr val="black"/>
                </a:solidFill>
              </a:rPr>
              <a:t>consumption</a:t>
            </a:r>
          </a:p>
          <a:p>
            <a:pPr marL="153118" lvl="2" indent="-153118" fontAlgn="auto">
              <a:spcBef>
                <a:spcPts val="0"/>
              </a:spcBef>
              <a:spcAft>
                <a:spcPts val="0"/>
              </a:spcAft>
              <a:buClr>
                <a:srgbClr val="1A6E5E"/>
              </a:buClr>
              <a:buSzTx/>
              <a:buFont typeface="Wingdings" pitchFamily="2" charset="2"/>
              <a:buChar char="§"/>
            </a:pPr>
            <a:r>
              <a:rPr lang="en-US" dirty="0">
                <a:solidFill>
                  <a:prstClr val="black"/>
                </a:solidFill>
              </a:rPr>
              <a:t>Support for </a:t>
            </a:r>
            <a:r>
              <a:rPr lang="en-US" b="1" dirty="0">
                <a:solidFill>
                  <a:prstClr val="black"/>
                </a:solidFill>
              </a:rPr>
              <a:t>innovation</a:t>
            </a:r>
            <a:r>
              <a:rPr lang="en-US" dirty="0">
                <a:solidFill>
                  <a:prstClr val="black"/>
                </a:solidFill>
              </a:rPr>
              <a:t> by boosting R&amp;D</a:t>
            </a:r>
          </a:p>
          <a:p>
            <a:pPr marL="153118" lvl="2" indent="-153118" fontAlgn="auto">
              <a:spcBef>
                <a:spcPts val="0"/>
              </a:spcBef>
              <a:spcAft>
                <a:spcPts val="0"/>
              </a:spcAft>
              <a:buClr>
                <a:srgbClr val="1A6E5E"/>
              </a:buClr>
              <a:buSzTx/>
              <a:buFont typeface="Wingdings" pitchFamily="2" charset="2"/>
              <a:buChar char="§"/>
            </a:pPr>
            <a:r>
              <a:rPr lang="en-US" dirty="0">
                <a:solidFill>
                  <a:prstClr val="black"/>
                </a:solidFill>
              </a:rPr>
              <a:t>Increased investment and reform of education system</a:t>
            </a:r>
          </a:p>
          <a:p>
            <a:pPr marL="153118" indent="-153118" fontAlgn="auto">
              <a:spcBef>
                <a:spcPts val="0"/>
              </a:spcBef>
              <a:spcAft>
                <a:spcPts val="0"/>
              </a:spcAft>
              <a:buClr>
                <a:srgbClr val="1A6E5E"/>
              </a:buClr>
              <a:buFont typeface="Wingdings" pitchFamily="2" charset="2"/>
              <a:buChar char="§"/>
            </a:pPr>
            <a:endParaRPr lang="en-US" b="1" dirty="0">
              <a:solidFill>
                <a:srgbClr val="1F497D"/>
              </a:solidFill>
            </a:endParaRPr>
          </a:p>
        </p:txBody>
      </p:sp>
      <p:sp>
        <p:nvSpPr>
          <p:cNvPr id="18" name="Rectangle 5"/>
          <p:cNvSpPr txBox="1"/>
          <p:nvPr/>
        </p:nvSpPr>
        <p:spPr>
          <a:xfrm>
            <a:off x="7006411" y="4732185"/>
            <a:ext cx="1505754"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87" lvl="1" indent="0" fontAlgn="auto">
              <a:spcBef>
                <a:spcPts val="0"/>
              </a:spcBef>
              <a:spcAft>
                <a:spcPts val="0"/>
              </a:spcAft>
              <a:buClr>
                <a:srgbClr val="1A6E5E"/>
              </a:buClr>
              <a:buNone/>
            </a:pPr>
            <a:r>
              <a:rPr lang="en-US" b="1" dirty="0">
                <a:solidFill>
                  <a:prstClr val="black"/>
                </a:solidFill>
              </a:rPr>
              <a:t>Unprecedented transition from old to next generation economy with 1.4 billion people</a:t>
            </a:r>
          </a:p>
        </p:txBody>
      </p:sp>
      <p:sp>
        <p:nvSpPr>
          <p:cNvPr id="19" name="McK 4. Footnote"/>
          <p:cNvSpPr txBox="1">
            <a:spLocks noChangeArrowheads="1"/>
          </p:cNvSpPr>
          <p:nvPr/>
        </p:nvSpPr>
        <p:spPr bwMode="auto">
          <a:xfrm>
            <a:off x="496272" y="6419409"/>
            <a:ext cx="5916299" cy="144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fontAlgn="auto">
              <a:spcBef>
                <a:spcPts val="0"/>
              </a:spcBef>
              <a:spcAft>
                <a:spcPts val="0"/>
              </a:spcAft>
            </a:pPr>
            <a:r>
              <a:rPr lang="en-US" sz="942" dirty="0">
                <a:solidFill>
                  <a:prstClr val="black"/>
                </a:solidFill>
              </a:rPr>
              <a:t>Source: </a:t>
            </a:r>
            <a:r>
              <a:rPr lang="en-US" sz="942" dirty="0" err="1">
                <a:solidFill>
                  <a:prstClr val="black"/>
                </a:solidFill>
              </a:rPr>
              <a:t>Qilin</a:t>
            </a:r>
            <a:r>
              <a:rPr lang="en-US" sz="942" dirty="0">
                <a:solidFill>
                  <a:prstClr val="black"/>
                </a:solidFill>
              </a:rPr>
              <a:t> Capital</a:t>
            </a:r>
          </a:p>
        </p:txBody>
      </p:sp>
      <p:sp>
        <p:nvSpPr>
          <p:cNvPr id="29" name="Rectangle 35">
            <a:extLst>
              <a:ext uri="{FF2B5EF4-FFF2-40B4-BE49-F238E27FC236}">
                <a16:creationId xmlns:a16="http://schemas.microsoft.com/office/drawing/2014/main" id="{2651CAF5-6C90-2542-8E0A-44E71582558C}"/>
              </a:ext>
            </a:extLst>
          </p:cNvPr>
          <p:cNvSpPr txBox="1"/>
          <p:nvPr/>
        </p:nvSpPr>
        <p:spPr>
          <a:xfrm>
            <a:off x="3649455" y="1318325"/>
            <a:ext cx="1493178" cy="4924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1"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fontAlgn="auto">
              <a:spcBef>
                <a:spcPts val="0"/>
              </a:spcBef>
              <a:spcAft>
                <a:spcPts val="0"/>
              </a:spcAft>
              <a:buClr>
                <a:srgbClr val="1F497D"/>
              </a:buClr>
            </a:pPr>
            <a:r>
              <a:rPr lang="en-US" sz="1600" b="1" dirty="0">
                <a:solidFill>
                  <a:schemeClr val="bg1"/>
                </a:solidFill>
              </a:rPr>
              <a:t>Increasing </a:t>
            </a:r>
          </a:p>
          <a:p>
            <a:pPr algn="ctr" fontAlgn="auto">
              <a:spcBef>
                <a:spcPts val="0"/>
              </a:spcBef>
              <a:spcAft>
                <a:spcPts val="0"/>
              </a:spcAft>
              <a:buClr>
                <a:srgbClr val="1F497D"/>
              </a:buClr>
            </a:pPr>
            <a:r>
              <a:rPr lang="en-US" sz="1600" b="1" dirty="0">
                <a:solidFill>
                  <a:schemeClr val="bg1"/>
                </a:solidFill>
              </a:rPr>
              <a:t>GDP</a:t>
            </a:r>
          </a:p>
        </p:txBody>
      </p:sp>
    </p:spTree>
    <p:extLst>
      <p:ext uri="{BB962C8B-B14F-4D97-AF65-F5344CB8AC3E}">
        <p14:creationId xmlns:p14="http://schemas.microsoft.com/office/powerpoint/2010/main" val="2192861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1">
            <a:extLst>
              <a:ext uri="{FF2B5EF4-FFF2-40B4-BE49-F238E27FC236}">
                <a16:creationId xmlns:a16="http://schemas.microsoft.com/office/drawing/2014/main" id="{48426197-D19A-584C-BEB1-A4DF748159FF}"/>
              </a:ext>
            </a:extLst>
          </p:cNvPr>
          <p:cNvSpPr txBox="1">
            <a:spLocks/>
          </p:cNvSpPr>
          <p:nvPr/>
        </p:nvSpPr>
        <p:spPr bwMode="auto">
          <a:xfrm>
            <a:off x="375975" y="619821"/>
            <a:ext cx="7382314" cy="976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0" rIns="91424" bIns="0" numCol="1" anchor="t" anchorCtr="0" compatLnSpc="1">
            <a:prstTxWarp prst="textNoShape">
              <a:avLst/>
            </a:prstTxWarp>
            <a:spAutoFit/>
          </a:bodyPr>
          <a:lstStyle>
            <a:lvl1pPr algn="l" rtl="0" eaLnBrk="1" fontAlgn="base" hangingPunct="1">
              <a:lnSpc>
                <a:spcPct val="105000"/>
              </a:lnSpc>
              <a:spcBef>
                <a:spcPct val="0"/>
              </a:spcBef>
              <a:spcAft>
                <a:spcPct val="0"/>
              </a:spcAft>
              <a:defRPr sz="3200">
                <a:solidFill>
                  <a:srgbClr val="2A547E"/>
                </a:solidFill>
                <a:latin typeface="+mj-lt"/>
                <a:ea typeface="+mj-ea"/>
                <a:cs typeface="+mj-cs"/>
              </a:defRPr>
            </a:lvl1pPr>
            <a:lvl2pPr algn="l" rtl="0" eaLnBrk="1" fontAlgn="base" hangingPunct="1">
              <a:lnSpc>
                <a:spcPct val="105000"/>
              </a:lnSpc>
              <a:spcBef>
                <a:spcPct val="0"/>
              </a:spcBef>
              <a:spcAft>
                <a:spcPct val="0"/>
              </a:spcAft>
              <a:defRPr sz="3200">
                <a:solidFill>
                  <a:srgbClr val="2A547E"/>
                </a:solidFill>
                <a:latin typeface="Gill Sans MT Light" pitchFamily="34" charset="0"/>
              </a:defRPr>
            </a:lvl2pPr>
            <a:lvl3pPr algn="l" rtl="0" eaLnBrk="1" fontAlgn="base" hangingPunct="1">
              <a:lnSpc>
                <a:spcPct val="105000"/>
              </a:lnSpc>
              <a:spcBef>
                <a:spcPct val="0"/>
              </a:spcBef>
              <a:spcAft>
                <a:spcPct val="0"/>
              </a:spcAft>
              <a:defRPr sz="3200">
                <a:solidFill>
                  <a:srgbClr val="2A547E"/>
                </a:solidFill>
                <a:latin typeface="Gill Sans MT Light" pitchFamily="34" charset="0"/>
              </a:defRPr>
            </a:lvl3pPr>
            <a:lvl4pPr algn="l" rtl="0" eaLnBrk="1" fontAlgn="base" hangingPunct="1">
              <a:lnSpc>
                <a:spcPct val="105000"/>
              </a:lnSpc>
              <a:spcBef>
                <a:spcPct val="0"/>
              </a:spcBef>
              <a:spcAft>
                <a:spcPct val="0"/>
              </a:spcAft>
              <a:defRPr sz="3200">
                <a:solidFill>
                  <a:srgbClr val="2A547E"/>
                </a:solidFill>
                <a:latin typeface="Gill Sans MT Light" pitchFamily="34" charset="0"/>
              </a:defRPr>
            </a:lvl4pPr>
            <a:lvl5pPr algn="l" rtl="0" eaLnBrk="1" fontAlgn="base" hangingPunct="1">
              <a:lnSpc>
                <a:spcPct val="105000"/>
              </a:lnSpc>
              <a:spcBef>
                <a:spcPct val="0"/>
              </a:spcBef>
              <a:spcAft>
                <a:spcPct val="0"/>
              </a:spcAft>
              <a:defRPr sz="3200">
                <a:solidFill>
                  <a:srgbClr val="2A547E"/>
                </a:solidFill>
                <a:latin typeface="Gill Sans MT Light" pitchFamily="34" charset="0"/>
              </a:defRPr>
            </a:lvl5pPr>
            <a:lvl6pPr marL="457115" algn="l" rtl="0" eaLnBrk="1" fontAlgn="base" hangingPunct="1">
              <a:lnSpc>
                <a:spcPct val="105000"/>
              </a:lnSpc>
              <a:spcBef>
                <a:spcPct val="0"/>
              </a:spcBef>
              <a:spcAft>
                <a:spcPct val="0"/>
              </a:spcAft>
              <a:defRPr sz="3200">
                <a:solidFill>
                  <a:srgbClr val="2A547E"/>
                </a:solidFill>
                <a:latin typeface="Gill Sans MT Light" pitchFamily="34" charset="0"/>
              </a:defRPr>
            </a:lvl6pPr>
            <a:lvl7pPr marL="914226" algn="l" rtl="0" eaLnBrk="1" fontAlgn="base" hangingPunct="1">
              <a:lnSpc>
                <a:spcPct val="105000"/>
              </a:lnSpc>
              <a:spcBef>
                <a:spcPct val="0"/>
              </a:spcBef>
              <a:spcAft>
                <a:spcPct val="0"/>
              </a:spcAft>
              <a:defRPr sz="3200">
                <a:solidFill>
                  <a:srgbClr val="2A547E"/>
                </a:solidFill>
                <a:latin typeface="Gill Sans MT Light" pitchFamily="34" charset="0"/>
              </a:defRPr>
            </a:lvl7pPr>
            <a:lvl8pPr marL="1371341" algn="l" rtl="0" eaLnBrk="1" fontAlgn="base" hangingPunct="1">
              <a:lnSpc>
                <a:spcPct val="105000"/>
              </a:lnSpc>
              <a:spcBef>
                <a:spcPct val="0"/>
              </a:spcBef>
              <a:spcAft>
                <a:spcPct val="0"/>
              </a:spcAft>
              <a:defRPr sz="3200">
                <a:solidFill>
                  <a:srgbClr val="2A547E"/>
                </a:solidFill>
                <a:latin typeface="Gill Sans MT Light" pitchFamily="34" charset="0"/>
              </a:defRPr>
            </a:lvl8pPr>
            <a:lvl9pPr marL="1828454" algn="l" rtl="0" eaLnBrk="1" fontAlgn="base" hangingPunct="1">
              <a:lnSpc>
                <a:spcPct val="105000"/>
              </a:lnSpc>
              <a:spcBef>
                <a:spcPct val="0"/>
              </a:spcBef>
              <a:spcAft>
                <a:spcPct val="0"/>
              </a:spcAft>
              <a:defRPr sz="3200">
                <a:solidFill>
                  <a:srgbClr val="2A547E"/>
                </a:solidFill>
                <a:latin typeface="Gill Sans MT Light" pitchFamily="34" charset="0"/>
              </a:defRPr>
            </a:lvl9pPr>
          </a:lstStyle>
          <a:p>
            <a:r>
              <a:rPr lang="en-GB" altLang="zh-CN" sz="3100" dirty="0">
                <a:solidFill>
                  <a:srgbClr val="005B99"/>
                </a:solidFill>
              </a:rPr>
              <a:t>Chinese equities are significantly cheaper that of  the US </a:t>
            </a:r>
            <a:endParaRPr lang="en-US" sz="3100" dirty="0">
              <a:solidFill>
                <a:srgbClr val="005B99"/>
              </a:solidFill>
            </a:endParaRPr>
          </a:p>
        </p:txBody>
      </p:sp>
      <p:sp>
        <p:nvSpPr>
          <p:cNvPr id="11" name="Textfeld 8">
            <a:extLst>
              <a:ext uri="{FF2B5EF4-FFF2-40B4-BE49-F238E27FC236}">
                <a16:creationId xmlns:a16="http://schemas.microsoft.com/office/drawing/2014/main" id="{AB527DA0-4D7C-7648-A5D6-C12951F0FF81}"/>
              </a:ext>
            </a:extLst>
          </p:cNvPr>
          <p:cNvSpPr txBox="1"/>
          <p:nvPr/>
        </p:nvSpPr>
        <p:spPr>
          <a:xfrm>
            <a:off x="372508" y="1632852"/>
            <a:ext cx="5777495"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i="0" u="none" strike="noStrike" kern="1200" cap="none" spc="0" normalizeH="0" baseline="0" noProof="0" dirty="0">
                <a:ln>
                  <a:noFill/>
                </a:ln>
                <a:solidFill>
                  <a:srgbClr val="000000"/>
                </a:solidFill>
                <a:effectLst/>
                <a:uLnTx/>
                <a:uFillTx/>
                <a:latin typeface="Gill Sans MT" pitchFamily="34" charset="0"/>
              </a:rPr>
              <a:t>Comparison of P/</a:t>
            </a:r>
            <a:r>
              <a:rPr lang="en-US" sz="1400" dirty="0">
                <a:solidFill>
                  <a:srgbClr val="000000"/>
                </a:solidFill>
                <a:latin typeface="Gill Sans MT" pitchFamily="34" charset="0"/>
              </a:rPr>
              <a:t>E Ratio of </a:t>
            </a:r>
            <a:r>
              <a:rPr kumimoji="0" lang="en-US" sz="1400" i="0" u="none" strike="noStrike" kern="1200" cap="none" spc="0" normalizeH="0" baseline="0" noProof="0" dirty="0">
                <a:ln>
                  <a:noFill/>
                </a:ln>
                <a:solidFill>
                  <a:srgbClr val="000000"/>
                </a:solidFill>
                <a:effectLst/>
                <a:uLnTx/>
                <a:uFillTx/>
                <a:latin typeface="Gill Sans MT" pitchFamily="34" charset="0"/>
              </a:rPr>
              <a:t>S&amp;P 500 and CSI 300 in last 8 years</a:t>
            </a:r>
          </a:p>
        </p:txBody>
      </p:sp>
      <p:sp>
        <p:nvSpPr>
          <p:cNvPr id="12" name="McK 5. Source">
            <a:extLst>
              <a:ext uri="{FF2B5EF4-FFF2-40B4-BE49-F238E27FC236}">
                <a16:creationId xmlns:a16="http://schemas.microsoft.com/office/drawing/2014/main" id="{25133379-D36E-B24D-9AF7-7822C0A91853}"/>
              </a:ext>
            </a:extLst>
          </p:cNvPr>
          <p:cNvSpPr>
            <a:spLocks noChangeArrowheads="1"/>
          </p:cNvSpPr>
          <p:nvPr>
            <p:custDataLst>
              <p:tags r:id="rId1"/>
            </p:custDataLst>
          </p:nvPr>
        </p:nvSpPr>
        <p:spPr bwMode="gray">
          <a:xfrm>
            <a:off x="469201" y="6428586"/>
            <a:ext cx="646353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ctr">
            <a:spAutoFit/>
          </a:bodyPr>
          <a:lstStyle/>
          <a:p>
            <a:pPr marL="593029" indent="-593029" defTabSz="871035" fontAlgn="auto">
              <a:spcBef>
                <a:spcPts val="0"/>
              </a:spcBef>
              <a:spcAft>
                <a:spcPts val="0"/>
              </a:spcAft>
              <a:tabLst>
                <a:tab pos="596126" algn="l"/>
              </a:tabLst>
            </a:pPr>
            <a:r>
              <a:rPr lang="en-GB" altLang="zh-CN" sz="1000" dirty="0">
                <a:solidFill>
                  <a:srgbClr val="000000"/>
                </a:solidFill>
                <a:cs typeface="SimSun" charset="0"/>
              </a:rPr>
              <a:t>Source: Wind, </a:t>
            </a:r>
            <a:r>
              <a:rPr lang="en-GB" altLang="zh-CN" sz="1000" dirty="0" err="1">
                <a:solidFill>
                  <a:srgbClr val="000000"/>
                </a:solidFill>
                <a:cs typeface="SimSun" charset="0"/>
              </a:rPr>
              <a:t>Qilin</a:t>
            </a:r>
            <a:r>
              <a:rPr lang="en-GB" altLang="zh-CN" sz="1000" dirty="0">
                <a:solidFill>
                  <a:srgbClr val="000000"/>
                </a:solidFill>
                <a:cs typeface="SimSun" charset="0"/>
              </a:rPr>
              <a:t> Capital Analysis</a:t>
            </a:r>
          </a:p>
        </p:txBody>
      </p:sp>
      <p:pic>
        <p:nvPicPr>
          <p:cNvPr id="2" name="Picture 1">
            <a:extLst>
              <a:ext uri="{FF2B5EF4-FFF2-40B4-BE49-F238E27FC236}">
                <a16:creationId xmlns:a16="http://schemas.microsoft.com/office/drawing/2014/main" id="{4AC81A1D-38A7-B140-BC89-9F428117D173}"/>
              </a:ext>
            </a:extLst>
          </p:cNvPr>
          <p:cNvPicPr>
            <a:picLocks noChangeAspect="1"/>
          </p:cNvPicPr>
          <p:nvPr/>
        </p:nvPicPr>
        <p:blipFill>
          <a:blip r:embed="rId4"/>
          <a:stretch>
            <a:fillRect/>
          </a:stretch>
        </p:blipFill>
        <p:spPr>
          <a:xfrm>
            <a:off x="372745" y="2095709"/>
            <a:ext cx="7433335" cy="3903049"/>
          </a:xfrm>
          <a:prstGeom prst="rect">
            <a:avLst/>
          </a:prstGeom>
        </p:spPr>
      </p:pic>
    </p:spTree>
    <p:extLst>
      <p:ext uri="{BB962C8B-B14F-4D97-AF65-F5344CB8AC3E}">
        <p14:creationId xmlns:p14="http://schemas.microsoft.com/office/powerpoint/2010/main" val="23597123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图表 2">
            <a:extLst>
              <a:ext uri="{FF2B5EF4-FFF2-40B4-BE49-F238E27FC236}">
                <a16:creationId xmlns:a16="http://schemas.microsoft.com/office/drawing/2014/main" id="{C0AB0E79-0408-40CA-902B-FA29B69F59E0}"/>
              </a:ext>
            </a:extLst>
          </p:cNvPr>
          <p:cNvGraphicFramePr>
            <a:graphicFrameLocks/>
          </p:cNvGraphicFramePr>
          <p:nvPr>
            <p:extLst>
              <p:ext uri="{D42A27DB-BD31-4B8C-83A1-F6EECF244321}">
                <p14:modId xmlns:p14="http://schemas.microsoft.com/office/powerpoint/2010/main" val="969608689"/>
              </p:ext>
            </p:extLst>
          </p:nvPr>
        </p:nvGraphicFramePr>
        <p:xfrm>
          <a:off x="504825" y="2083451"/>
          <a:ext cx="6168268" cy="4064936"/>
        </p:xfrm>
        <a:graphic>
          <a:graphicData uri="http://schemas.openxmlformats.org/drawingml/2006/chart">
            <c:chart xmlns:c="http://schemas.openxmlformats.org/drawingml/2006/chart" xmlns:r="http://schemas.openxmlformats.org/officeDocument/2006/relationships" r:id="rId4"/>
          </a:graphicData>
        </a:graphic>
      </p:graphicFrame>
      <p:sp>
        <p:nvSpPr>
          <p:cNvPr id="12" name="McK 5. Source">
            <a:extLst>
              <a:ext uri="{FF2B5EF4-FFF2-40B4-BE49-F238E27FC236}">
                <a16:creationId xmlns:a16="http://schemas.microsoft.com/office/drawing/2014/main" id="{25133379-D36E-B24D-9AF7-7822C0A91853}"/>
              </a:ext>
            </a:extLst>
          </p:cNvPr>
          <p:cNvSpPr>
            <a:spLocks noChangeArrowheads="1"/>
          </p:cNvSpPr>
          <p:nvPr>
            <p:custDataLst>
              <p:tags r:id="rId1"/>
            </p:custDataLst>
          </p:nvPr>
        </p:nvSpPr>
        <p:spPr bwMode="gray">
          <a:xfrm>
            <a:off x="469201" y="6428586"/>
            <a:ext cx="646353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ctr">
            <a:spAutoFit/>
          </a:bodyPr>
          <a:lstStyle/>
          <a:p>
            <a:pPr marL="593029" indent="-593029" defTabSz="871035" fontAlgn="auto">
              <a:spcBef>
                <a:spcPts val="0"/>
              </a:spcBef>
              <a:spcAft>
                <a:spcPts val="0"/>
              </a:spcAft>
              <a:tabLst>
                <a:tab pos="596126" algn="l"/>
              </a:tabLst>
            </a:pPr>
            <a:r>
              <a:rPr lang="en-GB" altLang="zh-CN" sz="1000" dirty="0">
                <a:solidFill>
                  <a:srgbClr val="000000"/>
                </a:solidFill>
                <a:cs typeface="SimSun" charset="0"/>
              </a:rPr>
              <a:t>Source: Wind, </a:t>
            </a:r>
            <a:r>
              <a:rPr lang="en-GB" altLang="zh-CN" sz="1000" dirty="0" err="1">
                <a:solidFill>
                  <a:srgbClr val="000000"/>
                </a:solidFill>
                <a:cs typeface="SimSun" charset="0"/>
              </a:rPr>
              <a:t>Qilin</a:t>
            </a:r>
            <a:r>
              <a:rPr lang="en-GB" altLang="zh-CN" sz="1000" dirty="0">
                <a:solidFill>
                  <a:srgbClr val="000000"/>
                </a:solidFill>
                <a:cs typeface="SimSun" charset="0"/>
              </a:rPr>
              <a:t> Capital Analysis</a:t>
            </a:r>
          </a:p>
        </p:txBody>
      </p:sp>
      <p:sp>
        <p:nvSpPr>
          <p:cNvPr id="14" name="Textfeld 15">
            <a:extLst>
              <a:ext uri="{FF2B5EF4-FFF2-40B4-BE49-F238E27FC236}">
                <a16:creationId xmlns:a16="http://schemas.microsoft.com/office/drawing/2014/main" id="{6CF7C7E6-C02C-204E-8D32-BB0439147B90}"/>
              </a:ext>
            </a:extLst>
          </p:cNvPr>
          <p:cNvSpPr txBox="1"/>
          <p:nvPr/>
        </p:nvSpPr>
        <p:spPr>
          <a:xfrm>
            <a:off x="7093272" y="3299604"/>
            <a:ext cx="1713362" cy="27699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
                <a:srgbClr val="6E848E"/>
              </a:buClr>
              <a:buSzPct val="120000"/>
              <a:buFontTx/>
              <a:buNone/>
              <a:tabLst/>
              <a:defRPr/>
            </a:pPr>
            <a:r>
              <a:rPr kumimoji="0" lang="en-US" sz="1200" b="0" i="0" u="none" strike="noStrike" kern="1200" cap="none" spc="0" normalizeH="0" baseline="0" noProof="0" dirty="0">
                <a:ln>
                  <a:noFill/>
                </a:ln>
                <a:solidFill>
                  <a:srgbClr val="000000"/>
                </a:solidFill>
                <a:effectLst/>
                <a:uLnTx/>
                <a:uFillTx/>
              </a:rPr>
              <a:t>CSI 300</a:t>
            </a:r>
          </a:p>
        </p:txBody>
      </p:sp>
      <p:cxnSp>
        <p:nvCxnSpPr>
          <p:cNvPr id="15" name="Gerade Verbindung 6">
            <a:extLst>
              <a:ext uri="{FF2B5EF4-FFF2-40B4-BE49-F238E27FC236}">
                <a16:creationId xmlns:a16="http://schemas.microsoft.com/office/drawing/2014/main" id="{3A02DE0E-EC7B-2646-9CB5-8852616BD8CE}"/>
              </a:ext>
            </a:extLst>
          </p:cNvPr>
          <p:cNvCxnSpPr/>
          <p:nvPr/>
        </p:nvCxnSpPr>
        <p:spPr bwMode="auto">
          <a:xfrm>
            <a:off x="6828795" y="3438105"/>
            <a:ext cx="241540" cy="0"/>
          </a:xfrm>
          <a:prstGeom prst="line">
            <a:avLst/>
          </a:prstGeom>
          <a:solidFill>
            <a:schemeClr val="accent1"/>
          </a:solidFill>
          <a:ln w="38100" cap="flat" cmpd="sng" algn="ctr">
            <a:solidFill>
              <a:srgbClr val="4372C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Rectangle 6">
            <a:extLst>
              <a:ext uri="{FF2B5EF4-FFF2-40B4-BE49-F238E27FC236}">
                <a16:creationId xmlns:a16="http://schemas.microsoft.com/office/drawing/2014/main" id="{D15A89D7-F018-8C4E-8214-D8A8F1890845}"/>
              </a:ext>
            </a:extLst>
          </p:cNvPr>
          <p:cNvSpPr/>
          <p:nvPr/>
        </p:nvSpPr>
        <p:spPr bwMode="auto">
          <a:xfrm flipV="1">
            <a:off x="6787419" y="2783612"/>
            <a:ext cx="264477" cy="45719"/>
          </a:xfrm>
          <a:prstGeom prst="rect">
            <a:avLst/>
          </a:prstGeom>
          <a:solidFill>
            <a:srgbClr val="B4C8E8"/>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Gill Sans MT Light" pitchFamily="34" charset="0"/>
            </a:endParaRPr>
          </a:p>
        </p:txBody>
      </p:sp>
      <p:sp>
        <p:nvSpPr>
          <p:cNvPr id="16" name="Textfeld 15">
            <a:extLst>
              <a:ext uri="{FF2B5EF4-FFF2-40B4-BE49-F238E27FC236}">
                <a16:creationId xmlns:a16="http://schemas.microsoft.com/office/drawing/2014/main" id="{30BCDE8D-01C4-B448-8CED-703310466102}"/>
              </a:ext>
            </a:extLst>
          </p:cNvPr>
          <p:cNvSpPr txBox="1"/>
          <p:nvPr/>
        </p:nvSpPr>
        <p:spPr>
          <a:xfrm>
            <a:off x="7051896" y="2640064"/>
            <a:ext cx="1713362" cy="646331"/>
          </a:xfrm>
          <a:prstGeom prst="rect">
            <a:avLst/>
          </a:prstGeom>
          <a:noFill/>
        </p:spPr>
        <p:txBody>
          <a:bodyPr wrap="square" rtlCol="0">
            <a:spAutoFit/>
          </a:bodyPr>
          <a:lstStyle/>
          <a:p>
            <a:pPr>
              <a:buClr>
                <a:srgbClr val="6E848E"/>
              </a:buClr>
              <a:buSzPct val="120000"/>
              <a:defRPr/>
            </a:pPr>
            <a:r>
              <a:rPr lang="en-US" dirty="0"/>
              <a:t>China GDP </a:t>
            </a:r>
          </a:p>
          <a:p>
            <a:pPr>
              <a:buClr>
                <a:srgbClr val="6E848E"/>
              </a:buClr>
              <a:buSzPct val="120000"/>
              <a:defRPr/>
            </a:pPr>
            <a:r>
              <a:rPr lang="en-US" dirty="0"/>
              <a:t>(￥</a:t>
            </a:r>
            <a:r>
              <a:rPr lang="en-US" dirty="0" err="1"/>
              <a:t>bln</a:t>
            </a:r>
            <a:r>
              <a:rPr lang="en-US" dirty="0"/>
              <a:t>)</a:t>
            </a:r>
            <a:endParaRPr lang="en-US" b="1" dirty="0">
              <a:solidFill>
                <a:srgbClr val="000000"/>
              </a:solidFill>
              <a:latin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
                <a:srgbClr val="6E848E"/>
              </a:buClr>
              <a:buSzPct val="120000"/>
              <a:buFontTx/>
              <a:buNone/>
              <a:tabLst/>
              <a:defRPr/>
            </a:pPr>
            <a:endParaRPr kumimoji="0" lang="en-US" sz="1200" b="0" i="0" u="none" strike="noStrike" kern="1200" cap="none" spc="0" normalizeH="0" baseline="0" noProof="0" dirty="0">
              <a:ln>
                <a:noFill/>
              </a:ln>
              <a:solidFill>
                <a:srgbClr val="000000"/>
              </a:solidFill>
              <a:effectLst/>
              <a:uLnTx/>
              <a:uFillTx/>
            </a:endParaRPr>
          </a:p>
        </p:txBody>
      </p:sp>
      <p:sp>
        <p:nvSpPr>
          <p:cNvPr id="10" name="Titel 1">
            <a:extLst>
              <a:ext uri="{FF2B5EF4-FFF2-40B4-BE49-F238E27FC236}">
                <a16:creationId xmlns:a16="http://schemas.microsoft.com/office/drawing/2014/main" id="{48426197-D19A-584C-BEB1-A4DF748159FF}"/>
              </a:ext>
            </a:extLst>
          </p:cNvPr>
          <p:cNvSpPr txBox="1">
            <a:spLocks/>
          </p:cNvSpPr>
          <p:nvPr/>
        </p:nvSpPr>
        <p:spPr bwMode="auto">
          <a:xfrm>
            <a:off x="375975" y="617229"/>
            <a:ext cx="7792666" cy="976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0" rIns="91424" bIns="0" numCol="1" anchor="t" anchorCtr="0" compatLnSpc="1">
            <a:prstTxWarp prst="textNoShape">
              <a:avLst/>
            </a:prstTxWarp>
            <a:spAutoFit/>
          </a:bodyPr>
          <a:lstStyle>
            <a:lvl1pPr algn="l" rtl="0" eaLnBrk="1" fontAlgn="base" hangingPunct="1">
              <a:lnSpc>
                <a:spcPct val="105000"/>
              </a:lnSpc>
              <a:spcBef>
                <a:spcPct val="0"/>
              </a:spcBef>
              <a:spcAft>
                <a:spcPct val="0"/>
              </a:spcAft>
              <a:defRPr sz="3200">
                <a:solidFill>
                  <a:srgbClr val="2A547E"/>
                </a:solidFill>
                <a:latin typeface="+mj-lt"/>
                <a:ea typeface="+mj-ea"/>
                <a:cs typeface="+mj-cs"/>
              </a:defRPr>
            </a:lvl1pPr>
            <a:lvl2pPr algn="l" rtl="0" eaLnBrk="1" fontAlgn="base" hangingPunct="1">
              <a:lnSpc>
                <a:spcPct val="105000"/>
              </a:lnSpc>
              <a:spcBef>
                <a:spcPct val="0"/>
              </a:spcBef>
              <a:spcAft>
                <a:spcPct val="0"/>
              </a:spcAft>
              <a:defRPr sz="3200">
                <a:solidFill>
                  <a:srgbClr val="2A547E"/>
                </a:solidFill>
                <a:latin typeface="Gill Sans MT Light" pitchFamily="34" charset="0"/>
              </a:defRPr>
            </a:lvl2pPr>
            <a:lvl3pPr algn="l" rtl="0" eaLnBrk="1" fontAlgn="base" hangingPunct="1">
              <a:lnSpc>
                <a:spcPct val="105000"/>
              </a:lnSpc>
              <a:spcBef>
                <a:spcPct val="0"/>
              </a:spcBef>
              <a:spcAft>
                <a:spcPct val="0"/>
              </a:spcAft>
              <a:defRPr sz="3200">
                <a:solidFill>
                  <a:srgbClr val="2A547E"/>
                </a:solidFill>
                <a:latin typeface="Gill Sans MT Light" pitchFamily="34" charset="0"/>
              </a:defRPr>
            </a:lvl3pPr>
            <a:lvl4pPr algn="l" rtl="0" eaLnBrk="1" fontAlgn="base" hangingPunct="1">
              <a:lnSpc>
                <a:spcPct val="105000"/>
              </a:lnSpc>
              <a:spcBef>
                <a:spcPct val="0"/>
              </a:spcBef>
              <a:spcAft>
                <a:spcPct val="0"/>
              </a:spcAft>
              <a:defRPr sz="3200">
                <a:solidFill>
                  <a:srgbClr val="2A547E"/>
                </a:solidFill>
                <a:latin typeface="Gill Sans MT Light" pitchFamily="34" charset="0"/>
              </a:defRPr>
            </a:lvl4pPr>
            <a:lvl5pPr algn="l" rtl="0" eaLnBrk="1" fontAlgn="base" hangingPunct="1">
              <a:lnSpc>
                <a:spcPct val="105000"/>
              </a:lnSpc>
              <a:spcBef>
                <a:spcPct val="0"/>
              </a:spcBef>
              <a:spcAft>
                <a:spcPct val="0"/>
              </a:spcAft>
              <a:defRPr sz="3200">
                <a:solidFill>
                  <a:srgbClr val="2A547E"/>
                </a:solidFill>
                <a:latin typeface="Gill Sans MT Light" pitchFamily="34" charset="0"/>
              </a:defRPr>
            </a:lvl5pPr>
            <a:lvl6pPr marL="457115" algn="l" rtl="0" eaLnBrk="1" fontAlgn="base" hangingPunct="1">
              <a:lnSpc>
                <a:spcPct val="105000"/>
              </a:lnSpc>
              <a:spcBef>
                <a:spcPct val="0"/>
              </a:spcBef>
              <a:spcAft>
                <a:spcPct val="0"/>
              </a:spcAft>
              <a:defRPr sz="3200">
                <a:solidFill>
                  <a:srgbClr val="2A547E"/>
                </a:solidFill>
                <a:latin typeface="Gill Sans MT Light" pitchFamily="34" charset="0"/>
              </a:defRPr>
            </a:lvl6pPr>
            <a:lvl7pPr marL="914226" algn="l" rtl="0" eaLnBrk="1" fontAlgn="base" hangingPunct="1">
              <a:lnSpc>
                <a:spcPct val="105000"/>
              </a:lnSpc>
              <a:spcBef>
                <a:spcPct val="0"/>
              </a:spcBef>
              <a:spcAft>
                <a:spcPct val="0"/>
              </a:spcAft>
              <a:defRPr sz="3200">
                <a:solidFill>
                  <a:srgbClr val="2A547E"/>
                </a:solidFill>
                <a:latin typeface="Gill Sans MT Light" pitchFamily="34" charset="0"/>
              </a:defRPr>
            </a:lvl7pPr>
            <a:lvl8pPr marL="1371341" algn="l" rtl="0" eaLnBrk="1" fontAlgn="base" hangingPunct="1">
              <a:lnSpc>
                <a:spcPct val="105000"/>
              </a:lnSpc>
              <a:spcBef>
                <a:spcPct val="0"/>
              </a:spcBef>
              <a:spcAft>
                <a:spcPct val="0"/>
              </a:spcAft>
              <a:defRPr sz="3200">
                <a:solidFill>
                  <a:srgbClr val="2A547E"/>
                </a:solidFill>
                <a:latin typeface="Gill Sans MT Light" pitchFamily="34" charset="0"/>
              </a:defRPr>
            </a:lvl8pPr>
            <a:lvl9pPr marL="1828454" algn="l" rtl="0" eaLnBrk="1" fontAlgn="base" hangingPunct="1">
              <a:lnSpc>
                <a:spcPct val="105000"/>
              </a:lnSpc>
              <a:spcBef>
                <a:spcPct val="0"/>
              </a:spcBef>
              <a:spcAft>
                <a:spcPct val="0"/>
              </a:spcAft>
              <a:defRPr sz="3200">
                <a:solidFill>
                  <a:srgbClr val="2A547E"/>
                </a:solidFill>
                <a:latin typeface="Gill Sans MT Light" pitchFamily="34" charset="0"/>
              </a:defRPr>
            </a:lvl9pPr>
          </a:lstStyle>
          <a:p>
            <a:r>
              <a:rPr lang="en-GB" altLang="zh-CN" sz="3100" dirty="0">
                <a:solidFill>
                  <a:srgbClr val="005B99"/>
                </a:solidFill>
              </a:rPr>
              <a:t>CSI 300 index is decoupled from China’s economic development</a:t>
            </a:r>
            <a:endParaRPr lang="en-US" sz="3100" dirty="0">
              <a:solidFill>
                <a:srgbClr val="005B99"/>
              </a:solidFill>
            </a:endParaRPr>
          </a:p>
        </p:txBody>
      </p:sp>
      <p:sp>
        <p:nvSpPr>
          <p:cNvPr id="9" name="Rectangle 8">
            <a:extLst>
              <a:ext uri="{FF2B5EF4-FFF2-40B4-BE49-F238E27FC236}">
                <a16:creationId xmlns:a16="http://schemas.microsoft.com/office/drawing/2014/main" id="{D5EA5E19-0036-3A49-9760-CC46BACFE9D2}"/>
              </a:ext>
            </a:extLst>
          </p:cNvPr>
          <p:cNvSpPr/>
          <p:nvPr/>
        </p:nvSpPr>
        <p:spPr>
          <a:xfrm>
            <a:off x="487325" y="1897123"/>
            <a:ext cx="502061" cy="307777"/>
          </a:xfrm>
          <a:prstGeom prst="rect">
            <a:avLst/>
          </a:prstGeom>
        </p:spPr>
        <p:txBody>
          <a:bodyPr wrap="none">
            <a:spAutoFit/>
          </a:bodyPr>
          <a:lstStyle/>
          <a:p>
            <a:r>
              <a:rPr lang="en-US" sz="1400" dirty="0"/>
              <a:t>GDP</a:t>
            </a:r>
          </a:p>
        </p:txBody>
      </p:sp>
      <p:sp>
        <p:nvSpPr>
          <p:cNvPr id="11" name="Rectangle 10">
            <a:extLst>
              <a:ext uri="{FF2B5EF4-FFF2-40B4-BE49-F238E27FC236}">
                <a16:creationId xmlns:a16="http://schemas.microsoft.com/office/drawing/2014/main" id="{5FD52C43-0705-1F42-9F5E-FF55B7E1C922}"/>
              </a:ext>
            </a:extLst>
          </p:cNvPr>
          <p:cNvSpPr/>
          <p:nvPr/>
        </p:nvSpPr>
        <p:spPr>
          <a:xfrm>
            <a:off x="6014980" y="1897123"/>
            <a:ext cx="407484" cy="307777"/>
          </a:xfrm>
          <a:prstGeom prst="rect">
            <a:avLst/>
          </a:prstGeom>
        </p:spPr>
        <p:txBody>
          <a:bodyPr wrap="none">
            <a:spAutoFit/>
          </a:bodyPr>
          <a:lstStyle/>
          <a:p>
            <a:r>
              <a:rPr lang="en-US" sz="1400" dirty="0"/>
              <a:t>CSI</a:t>
            </a:r>
          </a:p>
        </p:txBody>
      </p:sp>
    </p:spTree>
    <p:extLst>
      <p:ext uri="{BB962C8B-B14F-4D97-AF65-F5344CB8AC3E}">
        <p14:creationId xmlns:p14="http://schemas.microsoft.com/office/powerpoint/2010/main" val="2617499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CEAAA-29F2-C247-A5D9-791B5B5C9C65}"/>
              </a:ext>
            </a:extLst>
          </p:cNvPr>
          <p:cNvSpPr>
            <a:spLocks noGrp="1"/>
          </p:cNvSpPr>
          <p:nvPr>
            <p:ph type="title"/>
          </p:nvPr>
        </p:nvSpPr>
        <p:spPr>
          <a:xfrm>
            <a:off x="373907" y="432064"/>
            <a:ext cx="7737708" cy="1334148"/>
          </a:xfrm>
        </p:spPr>
        <p:txBody>
          <a:bodyPr/>
          <a:lstStyle/>
          <a:p>
            <a:r>
              <a:rPr lang="en-US" sz="2800" kern="1200" dirty="0">
                <a:solidFill>
                  <a:srgbClr val="005B99"/>
                </a:solidFill>
              </a:rPr>
              <a:t>Private companies show a significant outperformance against the SOE*-dominated index</a:t>
            </a:r>
            <a:r>
              <a:rPr lang="en-US" sz="2800" dirty="0"/>
              <a:t>
</a:t>
            </a:r>
          </a:p>
        </p:txBody>
      </p:sp>
      <p:sp>
        <p:nvSpPr>
          <p:cNvPr id="5" name="Rectangle 4">
            <a:extLst>
              <a:ext uri="{FF2B5EF4-FFF2-40B4-BE49-F238E27FC236}">
                <a16:creationId xmlns:a16="http://schemas.microsoft.com/office/drawing/2014/main" id="{BEEA1ACD-9E66-A548-AEA6-08A66C50BD1B}"/>
              </a:ext>
            </a:extLst>
          </p:cNvPr>
          <p:cNvSpPr/>
          <p:nvPr/>
        </p:nvSpPr>
        <p:spPr>
          <a:xfrm>
            <a:off x="6692720" y="2005746"/>
            <a:ext cx="1258991" cy="492443"/>
          </a:xfrm>
          <a:prstGeom prst="rect">
            <a:avLst/>
          </a:prstGeom>
        </p:spPr>
        <p:txBody>
          <a:bodyPr wrap="square">
            <a:spAutoFit/>
          </a:bodyPr>
          <a:lstStyle/>
          <a:p>
            <a:r>
              <a:rPr lang="en-US" sz="1300" dirty="0">
                <a:solidFill>
                  <a:srgbClr val="000000"/>
                </a:solidFill>
                <a:latin typeface="Gill Sans MT" pitchFamily="34" charset="0"/>
              </a:rPr>
              <a:t>Top 20 private companies</a:t>
            </a:r>
            <a:endParaRPr lang="de-DE" sz="1300" dirty="0">
              <a:solidFill>
                <a:srgbClr val="000000"/>
              </a:solidFill>
              <a:latin typeface="Gill Sans MT" pitchFamily="34" charset="0"/>
            </a:endParaRPr>
          </a:p>
        </p:txBody>
      </p:sp>
      <p:sp>
        <p:nvSpPr>
          <p:cNvPr id="7" name="Rectangle 6">
            <a:extLst>
              <a:ext uri="{FF2B5EF4-FFF2-40B4-BE49-F238E27FC236}">
                <a16:creationId xmlns:a16="http://schemas.microsoft.com/office/drawing/2014/main" id="{D877E393-7A4F-5C4B-9170-94575F043BB6}"/>
              </a:ext>
            </a:extLst>
          </p:cNvPr>
          <p:cNvSpPr/>
          <p:nvPr/>
        </p:nvSpPr>
        <p:spPr>
          <a:xfrm>
            <a:off x="6733790" y="3342371"/>
            <a:ext cx="1258990" cy="292388"/>
          </a:xfrm>
          <a:prstGeom prst="rect">
            <a:avLst/>
          </a:prstGeom>
        </p:spPr>
        <p:txBody>
          <a:bodyPr wrap="square">
            <a:spAutoFit/>
          </a:bodyPr>
          <a:lstStyle/>
          <a:p>
            <a:r>
              <a:rPr lang="en-US" sz="1300">
                <a:solidFill>
                  <a:srgbClr val="000000"/>
                </a:solidFill>
                <a:latin typeface="Gill Sans MT" pitchFamily="34" charset="0"/>
              </a:rPr>
              <a:t>Top 20 SOEs</a:t>
            </a:r>
            <a:endParaRPr lang="de-DE" sz="1300">
              <a:solidFill>
                <a:srgbClr val="000000"/>
              </a:solidFill>
              <a:latin typeface="Gill Sans MT" pitchFamily="34" charset="0"/>
            </a:endParaRPr>
          </a:p>
        </p:txBody>
      </p:sp>
      <p:sp>
        <p:nvSpPr>
          <p:cNvPr id="8" name="Rectangle 7">
            <a:extLst>
              <a:ext uri="{FF2B5EF4-FFF2-40B4-BE49-F238E27FC236}">
                <a16:creationId xmlns:a16="http://schemas.microsoft.com/office/drawing/2014/main" id="{ABED9F70-AD69-934C-AEFF-8CDCFB729270}"/>
              </a:ext>
            </a:extLst>
          </p:cNvPr>
          <p:cNvSpPr/>
          <p:nvPr/>
        </p:nvSpPr>
        <p:spPr>
          <a:xfrm>
            <a:off x="6733791" y="4181286"/>
            <a:ext cx="1351458" cy="292388"/>
          </a:xfrm>
          <a:prstGeom prst="rect">
            <a:avLst/>
          </a:prstGeom>
        </p:spPr>
        <p:txBody>
          <a:bodyPr wrap="square">
            <a:spAutoFit/>
          </a:bodyPr>
          <a:lstStyle/>
          <a:p>
            <a:r>
              <a:rPr lang="en-US" sz="1300">
                <a:solidFill>
                  <a:srgbClr val="000000"/>
                </a:solidFill>
                <a:latin typeface="Gill Sans MT" pitchFamily="34" charset="0"/>
              </a:rPr>
              <a:t>CSI 300 index</a:t>
            </a:r>
            <a:endParaRPr lang="de-DE" sz="1300">
              <a:solidFill>
                <a:srgbClr val="000000"/>
              </a:solidFill>
              <a:latin typeface="Gill Sans MT" pitchFamily="34" charset="0"/>
            </a:endParaRPr>
          </a:p>
        </p:txBody>
      </p:sp>
      <p:sp>
        <p:nvSpPr>
          <p:cNvPr id="3" name="Rectangle 2">
            <a:extLst>
              <a:ext uri="{FF2B5EF4-FFF2-40B4-BE49-F238E27FC236}">
                <a16:creationId xmlns:a16="http://schemas.microsoft.com/office/drawing/2014/main" id="{2B09719D-D007-DD41-91D8-365125AE50A7}"/>
              </a:ext>
            </a:extLst>
          </p:cNvPr>
          <p:cNvSpPr/>
          <p:nvPr/>
        </p:nvSpPr>
        <p:spPr>
          <a:xfrm>
            <a:off x="838968" y="1725961"/>
            <a:ext cx="6590532" cy="584775"/>
          </a:xfrm>
          <a:prstGeom prst="rect">
            <a:avLst/>
          </a:prstGeom>
        </p:spPr>
        <p:txBody>
          <a:bodyPr wrap="square">
            <a:spAutoFit/>
          </a:bodyPr>
          <a:lstStyle/>
          <a:p>
            <a:pPr lvl="0">
              <a:defRPr/>
            </a:pPr>
            <a:r>
              <a:rPr lang="en-US" sz="1600" dirty="0">
                <a:solidFill>
                  <a:srgbClr val="000000"/>
                </a:solidFill>
                <a:latin typeface="Gill Sans MT" pitchFamily="34" charset="0"/>
              </a:rPr>
              <a:t>Performance of Private Companies, SOEs und CSI 300 Index</a:t>
            </a:r>
          </a:p>
          <a:p>
            <a:pPr lvl="0">
              <a:defRPr/>
            </a:pPr>
            <a:r>
              <a:rPr lang="en-US" sz="1600" dirty="0">
                <a:solidFill>
                  <a:srgbClr val="000000"/>
                </a:solidFill>
                <a:latin typeface="Gill Sans MT" pitchFamily="34" charset="0"/>
              </a:rPr>
              <a:t>Period 11.02.2014 to 17.01.2020</a:t>
            </a:r>
          </a:p>
        </p:txBody>
      </p:sp>
      <p:sp>
        <p:nvSpPr>
          <p:cNvPr id="6" name="Oval 5">
            <a:extLst>
              <a:ext uri="{FF2B5EF4-FFF2-40B4-BE49-F238E27FC236}">
                <a16:creationId xmlns:a16="http://schemas.microsoft.com/office/drawing/2014/main" id="{818582EB-696B-364B-8FCF-81051352D7FA}"/>
              </a:ext>
            </a:extLst>
          </p:cNvPr>
          <p:cNvSpPr/>
          <p:nvPr/>
        </p:nvSpPr>
        <p:spPr bwMode="auto">
          <a:xfrm>
            <a:off x="6652580" y="2486758"/>
            <a:ext cx="1199902" cy="500308"/>
          </a:xfrm>
          <a:prstGeom prst="ellipse">
            <a:avLst/>
          </a:prstGeom>
          <a:solidFill>
            <a:schemeClr val="bg1">
              <a:lumMod val="95000"/>
            </a:schemeClr>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600" b="1" i="0" u="none" strike="noStrike" cap="none" normalizeH="0" baseline="0" dirty="0">
                <a:ln>
                  <a:noFill/>
                </a:ln>
                <a:solidFill>
                  <a:srgbClr val="005B99"/>
                </a:solidFill>
                <a:effectLst/>
                <a:latin typeface="Gill Sans MT Light" pitchFamily="34" charset="0"/>
              </a:rPr>
              <a:t>+641%</a:t>
            </a:r>
          </a:p>
        </p:txBody>
      </p:sp>
      <p:sp>
        <p:nvSpPr>
          <p:cNvPr id="9" name="Oval 8">
            <a:extLst>
              <a:ext uri="{FF2B5EF4-FFF2-40B4-BE49-F238E27FC236}">
                <a16:creationId xmlns:a16="http://schemas.microsoft.com/office/drawing/2014/main" id="{D2001781-14F0-D746-979B-921361E99817}"/>
              </a:ext>
            </a:extLst>
          </p:cNvPr>
          <p:cNvSpPr/>
          <p:nvPr/>
        </p:nvSpPr>
        <p:spPr bwMode="auto">
          <a:xfrm>
            <a:off x="6652580" y="3628512"/>
            <a:ext cx="1199902" cy="500308"/>
          </a:xfrm>
          <a:prstGeom prst="ellipse">
            <a:avLst/>
          </a:prstGeom>
          <a:solidFill>
            <a:schemeClr val="bg1">
              <a:lumMod val="95000"/>
            </a:schemeClr>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600" b="1" i="0" u="none" strike="noStrike" cap="none" normalizeH="0" baseline="0">
                <a:ln>
                  <a:noFill/>
                </a:ln>
                <a:solidFill>
                  <a:srgbClr val="969696"/>
                </a:solidFill>
                <a:effectLst/>
                <a:latin typeface="Gill Sans MT Light" pitchFamily="34" charset="0"/>
              </a:rPr>
              <a:t>+111%</a:t>
            </a:r>
          </a:p>
        </p:txBody>
      </p:sp>
      <p:sp>
        <p:nvSpPr>
          <p:cNvPr id="10" name="Oval 9">
            <a:extLst>
              <a:ext uri="{FF2B5EF4-FFF2-40B4-BE49-F238E27FC236}">
                <a16:creationId xmlns:a16="http://schemas.microsoft.com/office/drawing/2014/main" id="{533DA033-47C9-6948-833D-F7DA846B3BD0}"/>
              </a:ext>
            </a:extLst>
          </p:cNvPr>
          <p:cNvSpPr/>
          <p:nvPr/>
        </p:nvSpPr>
        <p:spPr bwMode="auto">
          <a:xfrm>
            <a:off x="6652580" y="4445494"/>
            <a:ext cx="1199902" cy="500308"/>
          </a:xfrm>
          <a:prstGeom prst="ellipse">
            <a:avLst/>
          </a:prstGeom>
          <a:solidFill>
            <a:schemeClr val="bg1">
              <a:lumMod val="95000"/>
            </a:schemeClr>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600" b="1" i="0" u="none" strike="noStrike" cap="none" normalizeH="0" baseline="0" dirty="0">
                <a:ln>
                  <a:noFill/>
                </a:ln>
                <a:solidFill>
                  <a:srgbClr val="306386"/>
                </a:solidFill>
                <a:effectLst/>
                <a:latin typeface="Gill Sans MT Light" pitchFamily="34" charset="0"/>
              </a:rPr>
              <a:t>+82%</a:t>
            </a:r>
          </a:p>
        </p:txBody>
      </p:sp>
      <p:sp>
        <p:nvSpPr>
          <p:cNvPr id="12" name="Rectangle 11">
            <a:extLst>
              <a:ext uri="{FF2B5EF4-FFF2-40B4-BE49-F238E27FC236}">
                <a16:creationId xmlns:a16="http://schemas.microsoft.com/office/drawing/2014/main" id="{2A9C5E1B-49D4-E64E-93D7-AAF69BE4DCEC}"/>
              </a:ext>
            </a:extLst>
          </p:cNvPr>
          <p:cNvSpPr/>
          <p:nvPr/>
        </p:nvSpPr>
        <p:spPr>
          <a:xfrm rot="16200000">
            <a:off x="-293055" y="3655121"/>
            <a:ext cx="1845212" cy="338554"/>
          </a:xfrm>
          <a:prstGeom prst="rect">
            <a:avLst/>
          </a:prstGeom>
        </p:spPr>
        <p:txBody>
          <a:bodyPr wrap="square">
            <a:spAutoFit/>
          </a:bodyPr>
          <a:lstStyle/>
          <a:p>
            <a:pPr lvl="0">
              <a:defRPr/>
            </a:pPr>
            <a:r>
              <a:rPr lang="de-DE" sz="1600">
                <a:solidFill>
                  <a:srgbClr val="000000"/>
                </a:solidFill>
                <a:latin typeface="Gill Sans MT" pitchFamily="34" charset="0"/>
              </a:rPr>
              <a:t>Performance Index </a:t>
            </a:r>
          </a:p>
        </p:txBody>
      </p:sp>
      <p:sp>
        <p:nvSpPr>
          <p:cNvPr id="13" name="Textfeld 4">
            <a:extLst>
              <a:ext uri="{FF2B5EF4-FFF2-40B4-BE49-F238E27FC236}">
                <a16:creationId xmlns:a16="http://schemas.microsoft.com/office/drawing/2014/main" id="{81C557C4-CA6F-CC46-BFB8-89B5A3A42A18}"/>
              </a:ext>
            </a:extLst>
          </p:cNvPr>
          <p:cNvSpPr txBox="1"/>
          <p:nvPr/>
        </p:nvSpPr>
        <p:spPr>
          <a:xfrm>
            <a:off x="312947" y="6417357"/>
            <a:ext cx="6401932" cy="400110"/>
          </a:xfrm>
          <a:prstGeom prst="rect">
            <a:avLst/>
          </a:prstGeom>
          <a:noFill/>
        </p:spPr>
        <p:txBody>
          <a:bodyPr wrap="square" rtlCol="0">
            <a:spAutoFit/>
          </a:bodyPr>
          <a:lstStyle/>
          <a:p>
            <a:pPr lvl="0">
              <a:defRPr/>
            </a:pPr>
            <a:r>
              <a:rPr kumimoji="0" lang="en-US" sz="1000" b="0" i="0" u="none" strike="noStrike" kern="1200" cap="none" spc="0" normalizeH="0" baseline="0" dirty="0">
                <a:ln>
                  <a:noFill/>
                </a:ln>
                <a:solidFill>
                  <a:srgbClr val="000000"/>
                </a:solidFill>
                <a:effectLst/>
                <a:uLnTx/>
                <a:uFillTx/>
                <a:latin typeface="Gill Sans MT Light"/>
                <a:ea typeface="+mn-ea"/>
                <a:cs typeface="+mn-cs"/>
              </a:rPr>
              <a:t>* State-Owned Enterprises (SOE</a:t>
            </a:r>
            <a:r>
              <a:rPr lang="en-US" sz="1000" dirty="0"/>
              <a:t>)</a:t>
            </a:r>
            <a:endParaRPr kumimoji="0" lang="en-US" sz="1000" b="0" i="0" u="none" strike="noStrike" kern="1200" cap="none" spc="0" normalizeH="0" baseline="0" dirty="0">
              <a:ln>
                <a:noFill/>
              </a:ln>
              <a:solidFill>
                <a:srgbClr val="000000"/>
              </a:solidFill>
              <a:effectLst/>
              <a:uLnTx/>
              <a:uFillTx/>
              <a:latin typeface="Gill Sans MT Light"/>
              <a:ea typeface="+mn-ea"/>
              <a:cs typeface="+mn-cs"/>
            </a:endParaRPr>
          </a:p>
          <a:p>
            <a:pPr lvl="0">
              <a:defRPr/>
            </a:pPr>
            <a:r>
              <a:rPr kumimoji="0" lang="en-US" sz="1000" b="0" i="0" u="none" strike="noStrike" kern="1200" cap="none" spc="0" normalizeH="0" baseline="0" dirty="0">
                <a:ln>
                  <a:noFill/>
                </a:ln>
                <a:solidFill>
                  <a:srgbClr val="000000"/>
                </a:solidFill>
                <a:effectLst/>
                <a:uLnTx/>
                <a:uFillTx/>
                <a:latin typeface="Gill Sans MT Light"/>
                <a:ea typeface="+mn-ea"/>
                <a:cs typeface="+mn-cs"/>
              </a:rPr>
              <a:t>Source: Wind,</a:t>
            </a:r>
            <a:r>
              <a:rPr lang="en-US" sz="1000" dirty="0">
                <a:solidFill>
                  <a:srgbClr val="000000"/>
                </a:solidFill>
                <a:latin typeface="Gill Sans MT Light"/>
              </a:rPr>
              <a:t> </a:t>
            </a:r>
            <a:r>
              <a:rPr lang="en-US" sz="1000" dirty="0" err="1">
                <a:solidFill>
                  <a:srgbClr val="000000"/>
                </a:solidFill>
                <a:latin typeface="Gill Sans MT Light"/>
              </a:rPr>
              <a:t>Qilin</a:t>
            </a:r>
            <a:r>
              <a:rPr kumimoji="0" lang="en-US" sz="1000" b="0" i="0" u="none" strike="noStrike" kern="1200" cap="none" spc="0" normalizeH="0" baseline="0" dirty="0">
                <a:ln>
                  <a:noFill/>
                </a:ln>
                <a:solidFill>
                  <a:srgbClr val="000000"/>
                </a:solidFill>
                <a:effectLst/>
                <a:uLnTx/>
                <a:uFillTx/>
                <a:latin typeface="Gill Sans MT Light"/>
                <a:ea typeface="+mn-ea"/>
                <a:cs typeface="+mn-cs"/>
              </a:rPr>
              <a:t> Capital </a:t>
            </a:r>
            <a:r>
              <a:rPr lang="en-US" sz="1000" dirty="0"/>
              <a:t>Analysis</a:t>
            </a:r>
            <a:endParaRPr kumimoji="0" lang="en-US" sz="1000" b="0" i="0" u="none" strike="noStrike" kern="1200" cap="none" spc="0" normalizeH="0" baseline="0" dirty="0">
              <a:ln>
                <a:noFill/>
              </a:ln>
              <a:solidFill>
                <a:srgbClr val="000000"/>
              </a:solidFill>
              <a:effectLst/>
              <a:uLnTx/>
              <a:uFillTx/>
              <a:latin typeface="Gill Sans MT Light"/>
              <a:ea typeface="+mn-ea"/>
              <a:cs typeface="+mn-cs"/>
            </a:endParaRPr>
          </a:p>
        </p:txBody>
      </p:sp>
      <p:pic>
        <p:nvPicPr>
          <p:cNvPr id="11" name="Picture 10">
            <a:extLst>
              <a:ext uri="{FF2B5EF4-FFF2-40B4-BE49-F238E27FC236}">
                <a16:creationId xmlns:a16="http://schemas.microsoft.com/office/drawing/2014/main" id="{DD35545D-CF2E-8E42-97B8-D764B2A5985F}"/>
              </a:ext>
            </a:extLst>
          </p:cNvPr>
          <p:cNvPicPr>
            <a:picLocks noChangeAspect="1"/>
          </p:cNvPicPr>
          <p:nvPr/>
        </p:nvPicPr>
        <p:blipFill rotWithShape="1">
          <a:blip r:embed="rId2"/>
          <a:srcRect l="2715" t="79481" r="2067" b="2411"/>
          <a:stretch/>
        </p:blipFill>
        <p:spPr>
          <a:xfrm>
            <a:off x="1035171" y="5339751"/>
            <a:ext cx="5443268" cy="690114"/>
          </a:xfrm>
          <a:prstGeom prst="rect">
            <a:avLst/>
          </a:prstGeom>
        </p:spPr>
      </p:pic>
      <p:graphicFrame>
        <p:nvGraphicFramePr>
          <p:cNvPr id="18" name="Chart 13">
            <a:extLst>
              <a:ext uri="{FF2B5EF4-FFF2-40B4-BE49-F238E27FC236}">
                <a16:creationId xmlns:a16="http://schemas.microsoft.com/office/drawing/2014/main" id="{685D4945-201D-4600-8EA0-627B9D1C9B33}"/>
              </a:ext>
            </a:extLst>
          </p:cNvPr>
          <p:cNvGraphicFramePr/>
          <p:nvPr>
            <p:extLst>
              <p:ext uri="{D42A27DB-BD31-4B8C-83A1-F6EECF244321}">
                <p14:modId xmlns:p14="http://schemas.microsoft.com/office/powerpoint/2010/main" val="1217797271"/>
              </p:ext>
            </p:extLst>
          </p:nvPr>
        </p:nvGraphicFramePr>
        <p:xfrm>
          <a:off x="880038" y="2281910"/>
          <a:ext cx="5598401" cy="316135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316859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36">
            <a:extLst>
              <a:ext uri="{FF2B5EF4-FFF2-40B4-BE49-F238E27FC236}">
                <a16:creationId xmlns:a16="http://schemas.microsoft.com/office/drawing/2014/main" id="{0746DAC3-D854-4A06-AE94-29B083084C5F}"/>
              </a:ext>
            </a:extLst>
          </p:cNvPr>
          <p:cNvSpPr/>
          <p:nvPr/>
        </p:nvSpPr>
        <p:spPr bwMode="auto">
          <a:xfrm>
            <a:off x="488226" y="5678800"/>
            <a:ext cx="5765615" cy="692928"/>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a:ln>
                <a:noFill/>
              </a:ln>
              <a:solidFill>
                <a:schemeClr val="tx1"/>
              </a:solidFill>
              <a:effectLst/>
              <a:latin typeface="Gill Sans MT Light" pitchFamily="34" charset="0"/>
            </a:endParaRPr>
          </a:p>
        </p:txBody>
      </p:sp>
      <p:sp>
        <p:nvSpPr>
          <p:cNvPr id="2" name="Title 1">
            <a:extLst>
              <a:ext uri="{FF2B5EF4-FFF2-40B4-BE49-F238E27FC236}">
                <a16:creationId xmlns:a16="http://schemas.microsoft.com/office/drawing/2014/main" id="{22D706BF-2BA7-3F47-B788-F7E3694742B7}"/>
              </a:ext>
            </a:extLst>
          </p:cNvPr>
          <p:cNvSpPr>
            <a:spLocks noGrp="1"/>
          </p:cNvSpPr>
          <p:nvPr>
            <p:ph type="title"/>
          </p:nvPr>
        </p:nvSpPr>
        <p:spPr>
          <a:xfrm>
            <a:off x="370072" y="453572"/>
            <a:ext cx="7899485" cy="1786579"/>
          </a:xfrm>
        </p:spPr>
        <p:txBody>
          <a:bodyPr/>
          <a:lstStyle/>
          <a:p>
            <a:r>
              <a:rPr lang="en-US" sz="2800" kern="1200" dirty="0">
                <a:solidFill>
                  <a:srgbClr val="005B99"/>
                </a:solidFill>
              </a:rPr>
              <a:t>Market capitalization of Chinese stock exchanges is growing rapidly while those of North American and European companies are shrinking significantly 
</a:t>
            </a:r>
          </a:p>
        </p:txBody>
      </p:sp>
      <p:sp>
        <p:nvSpPr>
          <p:cNvPr id="7" name="Textfeld 5">
            <a:extLst>
              <a:ext uri="{FF2B5EF4-FFF2-40B4-BE49-F238E27FC236}">
                <a16:creationId xmlns:a16="http://schemas.microsoft.com/office/drawing/2014/main" id="{0E89F491-3E79-FC4C-81F3-87F9CD38F883}"/>
              </a:ext>
            </a:extLst>
          </p:cNvPr>
          <p:cNvSpPr txBox="1"/>
          <p:nvPr/>
        </p:nvSpPr>
        <p:spPr>
          <a:xfrm>
            <a:off x="368104" y="6476587"/>
            <a:ext cx="4460240" cy="246221"/>
          </a:xfrm>
          <a:prstGeom prst="rect">
            <a:avLst/>
          </a:prstGeom>
          <a:noFill/>
        </p:spPr>
        <p:txBody>
          <a:bodyPr wrap="square" rtlCol="0">
            <a:spAutoFit/>
          </a:bodyPr>
          <a:lstStyle/>
          <a:p>
            <a:r>
              <a:rPr lang="en-US" sz="1000" dirty="0"/>
              <a:t>Source: </a:t>
            </a:r>
            <a:r>
              <a:rPr lang="en-US" sz="1000" dirty="0" err="1"/>
              <a:t>Factset</a:t>
            </a:r>
            <a:r>
              <a:rPr lang="en-US" sz="1000" dirty="0"/>
              <a:t>, IWF, </a:t>
            </a:r>
            <a:r>
              <a:rPr lang="en-US" sz="1000" dirty="0" err="1"/>
              <a:t>Weltbank</a:t>
            </a:r>
            <a:r>
              <a:rPr lang="en-US" sz="1000" dirty="0"/>
              <a:t>, WFE, Goldman Sachs, Wikipedia, </a:t>
            </a:r>
            <a:r>
              <a:rPr lang="en-US" sz="1000" dirty="0" err="1"/>
              <a:t>Qilin</a:t>
            </a:r>
            <a:r>
              <a:rPr lang="en-US" sz="1000" dirty="0"/>
              <a:t> Analysis</a:t>
            </a:r>
          </a:p>
        </p:txBody>
      </p:sp>
      <p:grpSp>
        <p:nvGrpSpPr>
          <p:cNvPr id="38" name="Group 37">
            <a:extLst>
              <a:ext uri="{FF2B5EF4-FFF2-40B4-BE49-F238E27FC236}">
                <a16:creationId xmlns:a16="http://schemas.microsoft.com/office/drawing/2014/main" id="{6D4DA88C-41C2-7E48-81E7-DEBDCD5B65CE}"/>
              </a:ext>
            </a:extLst>
          </p:cNvPr>
          <p:cNvGrpSpPr/>
          <p:nvPr/>
        </p:nvGrpSpPr>
        <p:grpSpPr>
          <a:xfrm>
            <a:off x="433127" y="1946947"/>
            <a:ext cx="6823473" cy="3772800"/>
            <a:chOff x="870184" y="1750199"/>
            <a:chExt cx="5766373" cy="4096252"/>
          </a:xfrm>
        </p:grpSpPr>
        <p:graphicFrame>
          <p:nvGraphicFramePr>
            <p:cNvPr id="12" name="Chart 11">
              <a:extLst>
                <a:ext uri="{FF2B5EF4-FFF2-40B4-BE49-F238E27FC236}">
                  <a16:creationId xmlns:a16="http://schemas.microsoft.com/office/drawing/2014/main" id="{2499F873-D71F-C64E-8B1F-1B1DC3938CB7}"/>
                </a:ext>
              </a:extLst>
            </p:cNvPr>
            <p:cNvGraphicFramePr/>
            <p:nvPr/>
          </p:nvGraphicFramePr>
          <p:xfrm>
            <a:off x="1063566" y="2131124"/>
            <a:ext cx="5572991" cy="3715327"/>
          </p:xfrm>
          <a:graphic>
            <a:graphicData uri="http://schemas.openxmlformats.org/drawingml/2006/chart">
              <c:chart xmlns:c="http://schemas.openxmlformats.org/drawingml/2006/chart" xmlns:r="http://schemas.openxmlformats.org/officeDocument/2006/relationships" r:id="rId3"/>
            </a:graphicData>
          </a:graphic>
        </p:graphicFrame>
        <p:sp>
          <p:nvSpPr>
            <p:cNvPr id="13" name="Rectangle 12">
              <a:extLst>
                <a:ext uri="{FF2B5EF4-FFF2-40B4-BE49-F238E27FC236}">
                  <a16:creationId xmlns:a16="http://schemas.microsoft.com/office/drawing/2014/main" id="{96F7122D-F390-1340-AAB7-BF7B6882AE32}"/>
                </a:ext>
              </a:extLst>
            </p:cNvPr>
            <p:cNvSpPr/>
            <p:nvPr/>
          </p:nvSpPr>
          <p:spPr>
            <a:xfrm>
              <a:off x="906548" y="2385337"/>
              <a:ext cx="479822" cy="317455"/>
            </a:xfrm>
            <a:prstGeom prst="rect">
              <a:avLst/>
            </a:prstGeom>
          </p:spPr>
          <p:txBody>
            <a:bodyPr wrap="none">
              <a:spAutoFit/>
            </a:bodyPr>
            <a:lstStyle/>
            <a:p>
              <a:r>
                <a:rPr lang="en-US" sz="1300"/>
                <a:t>China</a:t>
              </a:r>
            </a:p>
          </p:txBody>
        </p:sp>
        <p:sp>
          <p:nvSpPr>
            <p:cNvPr id="14" name="Rectangle 13">
              <a:extLst>
                <a:ext uri="{FF2B5EF4-FFF2-40B4-BE49-F238E27FC236}">
                  <a16:creationId xmlns:a16="http://schemas.microsoft.com/office/drawing/2014/main" id="{ACA9AAC7-CD56-E845-B3E8-19C32DA626DD}"/>
                </a:ext>
              </a:extLst>
            </p:cNvPr>
            <p:cNvSpPr/>
            <p:nvPr/>
          </p:nvSpPr>
          <p:spPr>
            <a:xfrm>
              <a:off x="917183" y="2860718"/>
              <a:ext cx="821198" cy="317455"/>
            </a:xfrm>
            <a:prstGeom prst="rect">
              <a:avLst/>
            </a:prstGeom>
          </p:spPr>
          <p:txBody>
            <a:bodyPr wrap="none">
              <a:spAutoFit/>
            </a:bodyPr>
            <a:lstStyle/>
            <a:p>
              <a:r>
                <a:rPr lang="en-US" sz="1300"/>
                <a:t>Rest of Asia</a:t>
              </a:r>
            </a:p>
          </p:txBody>
        </p:sp>
        <p:sp>
          <p:nvSpPr>
            <p:cNvPr id="15" name="Rectangle 14">
              <a:extLst>
                <a:ext uri="{FF2B5EF4-FFF2-40B4-BE49-F238E27FC236}">
                  <a16:creationId xmlns:a16="http://schemas.microsoft.com/office/drawing/2014/main" id="{271512C8-C4DE-1A49-87B7-1B481D2E67FF}"/>
                </a:ext>
              </a:extLst>
            </p:cNvPr>
            <p:cNvSpPr/>
            <p:nvPr/>
          </p:nvSpPr>
          <p:spPr>
            <a:xfrm>
              <a:off x="917183" y="3854615"/>
              <a:ext cx="996112" cy="317455"/>
            </a:xfrm>
            <a:prstGeom prst="rect">
              <a:avLst/>
            </a:prstGeom>
          </p:spPr>
          <p:txBody>
            <a:bodyPr wrap="none">
              <a:spAutoFit/>
            </a:bodyPr>
            <a:lstStyle/>
            <a:p>
              <a:r>
                <a:rPr lang="en-US" sz="1300"/>
                <a:t>North America</a:t>
              </a:r>
            </a:p>
          </p:txBody>
        </p:sp>
        <p:sp>
          <p:nvSpPr>
            <p:cNvPr id="16" name="Rectangle 15">
              <a:extLst>
                <a:ext uri="{FF2B5EF4-FFF2-40B4-BE49-F238E27FC236}">
                  <a16:creationId xmlns:a16="http://schemas.microsoft.com/office/drawing/2014/main" id="{865FB26C-9601-674C-9788-BDFF66B96EFA}"/>
                </a:ext>
              </a:extLst>
            </p:cNvPr>
            <p:cNvSpPr/>
            <p:nvPr/>
          </p:nvSpPr>
          <p:spPr>
            <a:xfrm>
              <a:off x="924309" y="4911111"/>
              <a:ext cx="565599" cy="317455"/>
            </a:xfrm>
            <a:prstGeom prst="rect">
              <a:avLst/>
            </a:prstGeom>
          </p:spPr>
          <p:txBody>
            <a:bodyPr wrap="none">
              <a:spAutoFit/>
            </a:bodyPr>
            <a:lstStyle/>
            <a:p>
              <a:r>
                <a:rPr lang="en-US" sz="1300"/>
                <a:t>Europe</a:t>
              </a:r>
            </a:p>
          </p:txBody>
        </p:sp>
        <p:sp>
          <p:nvSpPr>
            <p:cNvPr id="17" name="Rectangle 16">
              <a:extLst>
                <a:ext uri="{FF2B5EF4-FFF2-40B4-BE49-F238E27FC236}">
                  <a16:creationId xmlns:a16="http://schemas.microsoft.com/office/drawing/2014/main" id="{974DDE09-028F-AF43-BAEF-5C35CB9D7E5A}"/>
                </a:ext>
              </a:extLst>
            </p:cNvPr>
            <p:cNvSpPr/>
            <p:nvPr/>
          </p:nvSpPr>
          <p:spPr>
            <a:xfrm>
              <a:off x="931435" y="5213393"/>
              <a:ext cx="934502" cy="317455"/>
            </a:xfrm>
            <a:prstGeom prst="rect">
              <a:avLst/>
            </a:prstGeom>
          </p:spPr>
          <p:txBody>
            <a:bodyPr wrap="none">
              <a:spAutoFit/>
            </a:bodyPr>
            <a:lstStyle/>
            <a:p>
              <a:r>
                <a:rPr lang="en-US" sz="1300" dirty="0"/>
                <a:t>Rest of World</a:t>
              </a:r>
            </a:p>
          </p:txBody>
        </p:sp>
        <p:cxnSp>
          <p:nvCxnSpPr>
            <p:cNvPr id="19" name="Straight Connector 18">
              <a:extLst>
                <a:ext uri="{FF2B5EF4-FFF2-40B4-BE49-F238E27FC236}">
                  <a16:creationId xmlns:a16="http://schemas.microsoft.com/office/drawing/2014/main" id="{1B456434-A03E-6342-8DBC-87507C3072F9}"/>
                </a:ext>
              </a:extLst>
            </p:cNvPr>
            <p:cNvCxnSpPr/>
            <p:nvPr/>
          </p:nvCxnSpPr>
          <p:spPr bwMode="auto">
            <a:xfrm>
              <a:off x="2937164" y="2281383"/>
              <a:ext cx="1801091" cy="0"/>
            </a:xfrm>
            <a:prstGeom prst="line">
              <a:avLst/>
            </a:prstGeom>
            <a:ln w="9525" cap="flat" cmpd="sng" algn="ctr">
              <a:solidFill>
                <a:schemeClr val="accent2"/>
              </a:solidFill>
              <a:prstDash val="dash"/>
              <a:round/>
              <a:headEnd type="none" w="med" len="med"/>
              <a:tailEnd type="none" w="med" len="med"/>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0">
              <a:scrgbClr r="0" g="0" b="0"/>
            </a:lnRef>
            <a:fillRef idx="0">
              <a:scrgbClr r="0" g="0" b="0"/>
            </a:fillRef>
            <a:effectRef idx="0">
              <a:scrgbClr r="0" g="0" b="0"/>
            </a:effectRef>
            <a:fontRef idx="minor">
              <a:schemeClr val="tx1"/>
            </a:fontRef>
          </p:style>
        </p:cxnSp>
        <p:cxnSp>
          <p:nvCxnSpPr>
            <p:cNvPr id="20" name="Straight Connector 19">
              <a:extLst>
                <a:ext uri="{FF2B5EF4-FFF2-40B4-BE49-F238E27FC236}">
                  <a16:creationId xmlns:a16="http://schemas.microsoft.com/office/drawing/2014/main" id="{6D3A17B8-8A05-F04A-B231-63A45A26DB41}"/>
                </a:ext>
              </a:extLst>
            </p:cNvPr>
            <p:cNvCxnSpPr>
              <a:cxnSpLocks/>
            </p:cNvCxnSpPr>
            <p:nvPr/>
          </p:nvCxnSpPr>
          <p:spPr bwMode="auto">
            <a:xfrm>
              <a:off x="2937163" y="2729347"/>
              <a:ext cx="1801092" cy="408370"/>
            </a:xfrm>
            <a:prstGeom prst="line">
              <a:avLst/>
            </a:prstGeom>
            <a:ln w="9525" cap="flat" cmpd="sng" algn="ctr">
              <a:solidFill>
                <a:schemeClr val="accent2"/>
              </a:solidFill>
              <a:prstDash val="dash"/>
              <a:round/>
              <a:headEnd type="none" w="med" len="med"/>
              <a:tailEnd type="none" w="med" len="med"/>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0">
              <a:scrgbClr r="0" g="0" b="0"/>
            </a:lnRef>
            <a:fillRef idx="0">
              <a:scrgbClr r="0" g="0" b="0"/>
            </a:fillRef>
            <a:effectRef idx="0">
              <a:scrgbClr r="0" g="0" b="0"/>
            </a:effectRef>
            <a:fontRef idx="minor">
              <a:schemeClr val="tx1"/>
            </a:fontRef>
          </p:style>
        </p:cxnSp>
        <p:cxnSp>
          <p:nvCxnSpPr>
            <p:cNvPr id="22" name="Straight Connector 21">
              <a:extLst>
                <a:ext uri="{FF2B5EF4-FFF2-40B4-BE49-F238E27FC236}">
                  <a16:creationId xmlns:a16="http://schemas.microsoft.com/office/drawing/2014/main" id="{C2FED027-3725-7B45-BDBF-262D99240162}"/>
                </a:ext>
              </a:extLst>
            </p:cNvPr>
            <p:cNvCxnSpPr>
              <a:cxnSpLocks/>
            </p:cNvCxnSpPr>
            <p:nvPr/>
          </p:nvCxnSpPr>
          <p:spPr bwMode="auto">
            <a:xfrm>
              <a:off x="2937163" y="3297382"/>
              <a:ext cx="1801092" cy="376722"/>
            </a:xfrm>
            <a:prstGeom prst="line">
              <a:avLst/>
            </a:prstGeom>
            <a:ln w="9525" cap="flat" cmpd="sng" algn="ctr">
              <a:solidFill>
                <a:schemeClr val="accent2"/>
              </a:solidFill>
              <a:prstDash val="dash"/>
              <a:round/>
              <a:headEnd type="none" w="med" len="med"/>
              <a:tailEnd type="none" w="med" len="med"/>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0">
              <a:scrgbClr r="0" g="0" b="0"/>
            </a:lnRef>
            <a:fillRef idx="0">
              <a:scrgbClr r="0" g="0" b="0"/>
            </a:fillRef>
            <a:effectRef idx="0">
              <a:scrgbClr r="0" g="0" b="0"/>
            </a:effectRef>
            <a:fontRef idx="minor">
              <a:schemeClr val="tx1"/>
            </a:fontRef>
          </p:style>
        </p:cxnSp>
        <p:cxnSp>
          <p:nvCxnSpPr>
            <p:cNvPr id="27" name="Straight Connector 26">
              <a:extLst>
                <a:ext uri="{FF2B5EF4-FFF2-40B4-BE49-F238E27FC236}">
                  <a16:creationId xmlns:a16="http://schemas.microsoft.com/office/drawing/2014/main" id="{5C55E733-6DDA-9C4D-A3CD-D0659DFCF6CB}"/>
                </a:ext>
              </a:extLst>
            </p:cNvPr>
            <p:cNvCxnSpPr>
              <a:cxnSpLocks/>
            </p:cNvCxnSpPr>
            <p:nvPr/>
          </p:nvCxnSpPr>
          <p:spPr bwMode="auto">
            <a:xfrm flipV="1">
              <a:off x="2937163" y="4498109"/>
              <a:ext cx="1801092" cy="224641"/>
            </a:xfrm>
            <a:prstGeom prst="line">
              <a:avLst/>
            </a:prstGeom>
            <a:ln w="9525" cap="flat" cmpd="sng" algn="ctr">
              <a:solidFill>
                <a:schemeClr val="accent2"/>
              </a:solidFill>
              <a:prstDash val="dash"/>
              <a:round/>
              <a:headEnd type="none" w="med" len="med"/>
              <a:tailEnd type="none" w="med" len="med"/>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0">
              <a:scrgbClr r="0" g="0" b="0"/>
            </a:lnRef>
            <a:fillRef idx="0">
              <a:scrgbClr r="0" g="0" b="0"/>
            </a:fillRef>
            <a:effectRef idx="0">
              <a:scrgbClr r="0" g="0" b="0"/>
            </a:effectRef>
            <a:fontRef idx="minor">
              <a:schemeClr val="tx1"/>
            </a:fontRef>
          </p:style>
        </p:cxnSp>
        <p:cxnSp>
          <p:nvCxnSpPr>
            <p:cNvPr id="29" name="Straight Connector 28">
              <a:extLst>
                <a:ext uri="{FF2B5EF4-FFF2-40B4-BE49-F238E27FC236}">
                  <a16:creationId xmlns:a16="http://schemas.microsoft.com/office/drawing/2014/main" id="{6A71A354-AD1B-1D48-9D05-4BA915E56B7D}"/>
                </a:ext>
              </a:extLst>
            </p:cNvPr>
            <p:cNvCxnSpPr>
              <a:cxnSpLocks/>
            </p:cNvCxnSpPr>
            <p:nvPr/>
          </p:nvCxnSpPr>
          <p:spPr bwMode="auto">
            <a:xfrm flipV="1">
              <a:off x="2937163" y="4962581"/>
              <a:ext cx="1801092" cy="390139"/>
            </a:xfrm>
            <a:prstGeom prst="line">
              <a:avLst/>
            </a:prstGeom>
            <a:ln w="9525" cap="flat" cmpd="sng" algn="ctr">
              <a:solidFill>
                <a:schemeClr val="accent2"/>
              </a:solidFill>
              <a:prstDash val="dash"/>
              <a:round/>
              <a:headEnd type="none" w="med" len="med"/>
              <a:tailEnd type="none" w="med" len="med"/>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0">
              <a:scrgbClr r="0" g="0" b="0"/>
            </a:lnRef>
            <a:fillRef idx="0">
              <a:scrgbClr r="0" g="0" b="0"/>
            </a:fillRef>
            <a:effectRef idx="0">
              <a:scrgbClr r="0" g="0" b="0"/>
            </a:effectRef>
            <a:fontRef idx="minor">
              <a:schemeClr val="tx1"/>
            </a:fontRef>
          </p:style>
        </p:cxnSp>
        <p:sp>
          <p:nvSpPr>
            <p:cNvPr id="31" name="Rectangle 30">
              <a:extLst>
                <a:ext uri="{FF2B5EF4-FFF2-40B4-BE49-F238E27FC236}">
                  <a16:creationId xmlns:a16="http://schemas.microsoft.com/office/drawing/2014/main" id="{0A15763C-12FC-3140-92A2-20FDE8C2D2F0}"/>
                </a:ext>
              </a:extLst>
            </p:cNvPr>
            <p:cNvSpPr/>
            <p:nvPr/>
          </p:nvSpPr>
          <p:spPr>
            <a:xfrm>
              <a:off x="2262935" y="2013622"/>
              <a:ext cx="478468" cy="300747"/>
            </a:xfrm>
            <a:prstGeom prst="rect">
              <a:avLst/>
            </a:prstGeom>
          </p:spPr>
          <p:txBody>
            <a:bodyPr wrap="none">
              <a:spAutoFit/>
            </a:bodyPr>
            <a:lstStyle/>
            <a:p>
              <a:r>
                <a:rPr lang="en-US"/>
                <a:t>100% </a:t>
              </a:r>
            </a:p>
          </p:txBody>
        </p:sp>
        <p:sp>
          <p:nvSpPr>
            <p:cNvPr id="32" name="Rectangle 31">
              <a:extLst>
                <a:ext uri="{FF2B5EF4-FFF2-40B4-BE49-F238E27FC236}">
                  <a16:creationId xmlns:a16="http://schemas.microsoft.com/office/drawing/2014/main" id="{06AD6C91-0877-EF42-B7D1-E7D2FA3C3213}"/>
                </a:ext>
              </a:extLst>
            </p:cNvPr>
            <p:cNvSpPr/>
            <p:nvPr/>
          </p:nvSpPr>
          <p:spPr>
            <a:xfrm>
              <a:off x="4935024" y="2022857"/>
              <a:ext cx="478468" cy="300747"/>
            </a:xfrm>
            <a:prstGeom prst="rect">
              <a:avLst/>
            </a:prstGeom>
          </p:spPr>
          <p:txBody>
            <a:bodyPr wrap="none">
              <a:spAutoFit/>
            </a:bodyPr>
            <a:lstStyle/>
            <a:p>
              <a:r>
                <a:rPr lang="en-US"/>
                <a:t>100% </a:t>
              </a:r>
            </a:p>
          </p:txBody>
        </p:sp>
        <p:sp>
          <p:nvSpPr>
            <p:cNvPr id="33" name="Rectangle 32">
              <a:extLst>
                <a:ext uri="{FF2B5EF4-FFF2-40B4-BE49-F238E27FC236}">
                  <a16:creationId xmlns:a16="http://schemas.microsoft.com/office/drawing/2014/main" id="{0B04103A-30C7-A94D-98D1-7326237C016C}"/>
                </a:ext>
              </a:extLst>
            </p:cNvPr>
            <p:cNvSpPr/>
            <p:nvPr/>
          </p:nvSpPr>
          <p:spPr>
            <a:xfrm>
              <a:off x="870184" y="1750199"/>
              <a:ext cx="2022784" cy="334164"/>
            </a:xfrm>
            <a:prstGeom prst="rect">
              <a:avLst/>
            </a:prstGeom>
          </p:spPr>
          <p:txBody>
            <a:bodyPr wrap="none">
              <a:spAutoFit/>
            </a:bodyPr>
            <a:lstStyle/>
            <a:p>
              <a:r>
                <a:rPr lang="en-US" sz="1400" kern="0" dirty="0">
                  <a:latin typeface="Gill Sans MT" pitchFamily="34" charset="0"/>
                </a:rPr>
                <a:t>Market capitalization forecasts</a:t>
              </a:r>
            </a:p>
          </p:txBody>
        </p:sp>
      </p:grpSp>
      <p:sp>
        <p:nvSpPr>
          <p:cNvPr id="34" name="Rectangle 33">
            <a:extLst>
              <a:ext uri="{FF2B5EF4-FFF2-40B4-BE49-F238E27FC236}">
                <a16:creationId xmlns:a16="http://schemas.microsoft.com/office/drawing/2014/main" id="{26F06B27-6759-4E46-901C-10B115EF291D}"/>
              </a:ext>
            </a:extLst>
          </p:cNvPr>
          <p:cNvSpPr/>
          <p:nvPr/>
        </p:nvSpPr>
        <p:spPr>
          <a:xfrm>
            <a:off x="511086" y="5634982"/>
            <a:ext cx="1322178" cy="692497"/>
          </a:xfrm>
          <a:prstGeom prst="rect">
            <a:avLst/>
          </a:prstGeom>
        </p:spPr>
        <p:txBody>
          <a:bodyPr wrap="square">
            <a:spAutoFit/>
          </a:bodyPr>
          <a:lstStyle/>
          <a:p>
            <a:r>
              <a:rPr lang="de-DE" sz="1300" dirty="0"/>
              <a:t>Global GDP Ranking </a:t>
            </a:r>
            <a:br>
              <a:rPr lang="de-DE" sz="1300" dirty="0"/>
            </a:br>
            <a:endParaRPr lang="de-DE" sz="1300" dirty="0"/>
          </a:p>
        </p:txBody>
      </p:sp>
      <p:sp>
        <p:nvSpPr>
          <p:cNvPr id="35" name="Rectangle 34">
            <a:extLst>
              <a:ext uri="{FF2B5EF4-FFF2-40B4-BE49-F238E27FC236}">
                <a16:creationId xmlns:a16="http://schemas.microsoft.com/office/drawing/2014/main" id="{73F81DC1-895E-4448-AE92-2FB9CC704070}"/>
              </a:ext>
            </a:extLst>
          </p:cNvPr>
          <p:cNvSpPr/>
          <p:nvPr/>
        </p:nvSpPr>
        <p:spPr>
          <a:xfrm>
            <a:off x="2020929" y="5634982"/>
            <a:ext cx="819455" cy="692497"/>
          </a:xfrm>
          <a:prstGeom prst="rect">
            <a:avLst/>
          </a:prstGeom>
        </p:spPr>
        <p:txBody>
          <a:bodyPr wrap="none">
            <a:spAutoFit/>
          </a:bodyPr>
          <a:lstStyle/>
          <a:p>
            <a:r>
              <a:rPr lang="de-DE" sz="1300" dirty="0"/>
              <a:t># 1 US</a:t>
            </a:r>
          </a:p>
          <a:p>
            <a:r>
              <a:rPr lang="de-DE" sz="1300" dirty="0"/>
              <a:t># 2 China</a:t>
            </a:r>
          </a:p>
          <a:p>
            <a:r>
              <a:rPr lang="de-DE" sz="1300" dirty="0"/>
              <a:t># 3 Japan</a:t>
            </a:r>
          </a:p>
        </p:txBody>
      </p:sp>
      <p:sp>
        <p:nvSpPr>
          <p:cNvPr id="36" name="Rectangle 35">
            <a:extLst>
              <a:ext uri="{FF2B5EF4-FFF2-40B4-BE49-F238E27FC236}">
                <a16:creationId xmlns:a16="http://schemas.microsoft.com/office/drawing/2014/main" id="{C1BF30CA-4B82-2A4E-B776-EE2549D37E26}"/>
              </a:ext>
            </a:extLst>
          </p:cNvPr>
          <p:cNvSpPr/>
          <p:nvPr/>
        </p:nvSpPr>
        <p:spPr>
          <a:xfrm>
            <a:off x="5231109" y="5634982"/>
            <a:ext cx="813043" cy="692497"/>
          </a:xfrm>
          <a:prstGeom prst="rect">
            <a:avLst/>
          </a:prstGeom>
        </p:spPr>
        <p:txBody>
          <a:bodyPr wrap="none">
            <a:spAutoFit/>
          </a:bodyPr>
          <a:lstStyle/>
          <a:p>
            <a:r>
              <a:rPr lang="de-DE" sz="1300" dirty="0"/>
              <a:t># 1 China</a:t>
            </a:r>
          </a:p>
          <a:p>
            <a:r>
              <a:rPr lang="de-DE" sz="1300" dirty="0"/>
              <a:t># 2 US</a:t>
            </a:r>
          </a:p>
          <a:p>
            <a:r>
              <a:rPr lang="de-DE" sz="1300" dirty="0"/>
              <a:t># 3 </a:t>
            </a:r>
            <a:r>
              <a:rPr lang="de-DE" sz="1300" dirty="0" err="1"/>
              <a:t>India</a:t>
            </a:r>
            <a:endParaRPr lang="de-DE" sz="1300" dirty="0"/>
          </a:p>
        </p:txBody>
      </p:sp>
    </p:spTree>
    <p:extLst>
      <p:ext uri="{BB962C8B-B14F-4D97-AF65-F5344CB8AC3E}">
        <p14:creationId xmlns:p14="http://schemas.microsoft.com/office/powerpoint/2010/main" val="33090028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D1447-B624-2D46-A6F3-2709A5E8CD52}"/>
              </a:ext>
            </a:extLst>
          </p:cNvPr>
          <p:cNvSpPr>
            <a:spLocks noGrp="1"/>
          </p:cNvSpPr>
          <p:nvPr>
            <p:ph type="title"/>
          </p:nvPr>
        </p:nvSpPr>
        <p:spPr>
          <a:xfrm>
            <a:off x="327875" y="782359"/>
            <a:ext cx="6837363" cy="475258"/>
          </a:xfrm>
        </p:spPr>
        <p:txBody>
          <a:bodyPr/>
          <a:lstStyle/>
          <a:p>
            <a:r>
              <a:rPr lang="de-DE" sz="3100" kern="1200" dirty="0" err="1">
                <a:solidFill>
                  <a:srgbClr val="005B99"/>
                </a:solidFill>
              </a:rPr>
              <a:t>Why</a:t>
            </a:r>
            <a:r>
              <a:rPr lang="de-DE" sz="3100" kern="1200" dirty="0">
                <a:solidFill>
                  <a:srgbClr val="005B99"/>
                </a:solidFill>
              </a:rPr>
              <a:t> </a:t>
            </a:r>
            <a:r>
              <a:rPr lang="de-DE" sz="3100" kern="1200" dirty="0" err="1">
                <a:solidFill>
                  <a:srgbClr val="005B99"/>
                </a:solidFill>
              </a:rPr>
              <a:t>invest</a:t>
            </a:r>
            <a:r>
              <a:rPr lang="de-DE" sz="3100" kern="1200" dirty="0">
                <a:solidFill>
                  <a:srgbClr val="005B99"/>
                </a:solidFill>
              </a:rPr>
              <a:t> in Chinese </a:t>
            </a:r>
            <a:r>
              <a:rPr lang="de-DE" sz="3100" kern="1200" dirty="0" err="1">
                <a:solidFill>
                  <a:srgbClr val="005B99"/>
                </a:solidFill>
              </a:rPr>
              <a:t>equities</a:t>
            </a:r>
            <a:r>
              <a:rPr lang="de-DE" sz="3100" kern="1200" dirty="0">
                <a:solidFill>
                  <a:srgbClr val="005B99"/>
                </a:solidFill>
              </a:rPr>
              <a:t>?</a:t>
            </a:r>
          </a:p>
        </p:txBody>
      </p:sp>
      <p:sp>
        <p:nvSpPr>
          <p:cNvPr id="5" name="Pentagon 7">
            <a:extLst>
              <a:ext uri="{FF2B5EF4-FFF2-40B4-BE49-F238E27FC236}">
                <a16:creationId xmlns:a16="http://schemas.microsoft.com/office/drawing/2014/main" id="{FF6DB9CC-A088-DC4C-84E4-82E48696E397}"/>
              </a:ext>
            </a:extLst>
          </p:cNvPr>
          <p:cNvSpPr/>
          <p:nvPr/>
        </p:nvSpPr>
        <p:spPr>
          <a:xfrm>
            <a:off x="457199" y="1572735"/>
            <a:ext cx="3546241" cy="4233704"/>
          </a:xfrm>
          <a:prstGeom prst="homePlate">
            <a:avLst>
              <a:gd name="adj" fmla="val 12711"/>
            </a:avLst>
          </a:prstGeom>
          <a:blipFill dpi="0" rotWithShape="1">
            <a:blip r:embed="rId3">
              <a:extLst>
                <a:ext uri="{28A0092B-C50C-407E-A947-70E740481C1C}">
                  <a14:useLocalDpi xmlns:a14="http://schemas.microsoft.com/office/drawing/2010/main" val="0"/>
                </a:ext>
              </a:extLst>
            </a:blip>
            <a:srcRect/>
            <a:stretch>
              <a:fillRect/>
            </a:stretch>
          </a:blipFill>
          <a:ln w="9525">
            <a:noFill/>
            <a:miter lim="800000"/>
            <a:headEnd/>
            <a:tailEnd/>
          </a:ln>
          <a:effectLst/>
        </p:spPr>
        <p:txBody>
          <a:bodyPr wrap="square" lIns="68635" tIns="68635" rIns="68635" bIns="68635" anchor="ctr" anchorCtr="0">
            <a:noAutofit/>
          </a:bodyPr>
          <a:lstStyle/>
          <a:p>
            <a:pPr defTabSz="853378" eaLnBrk="1" fontAlgn="auto" hangingPunct="1">
              <a:spcBef>
                <a:spcPts val="0"/>
              </a:spcBef>
              <a:spcAft>
                <a:spcPts val="0"/>
              </a:spcAft>
              <a:buClr>
                <a:srgbClr val="6DB33F"/>
              </a:buClr>
            </a:pPr>
            <a:endParaRPr lang="en-US" sz="1600" b="1">
              <a:solidFill>
                <a:prstClr val="white"/>
              </a:solidFill>
              <a:latin typeface="Calibri"/>
              <a:ea typeface="PMingLiU" pitchFamily="18" charset="-120"/>
            </a:endParaRPr>
          </a:p>
        </p:txBody>
      </p:sp>
      <p:sp>
        <p:nvSpPr>
          <p:cNvPr id="7" name="Inhaltsplatzhalter 2">
            <a:extLst>
              <a:ext uri="{FF2B5EF4-FFF2-40B4-BE49-F238E27FC236}">
                <a16:creationId xmlns:a16="http://schemas.microsoft.com/office/drawing/2014/main" id="{3C3A0F4C-BF8B-EA42-A60B-A8BE63C87941}"/>
              </a:ext>
            </a:extLst>
          </p:cNvPr>
          <p:cNvSpPr txBox="1">
            <a:spLocks/>
          </p:cNvSpPr>
          <p:nvPr/>
        </p:nvSpPr>
        <p:spPr bwMode="auto">
          <a:xfrm>
            <a:off x="519192" y="2282740"/>
            <a:ext cx="2976362" cy="588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lvl1pPr marL="342836" indent="-342836" algn="l" rtl="0" eaLnBrk="0" fontAlgn="base" hangingPunct="0">
              <a:lnSpc>
                <a:spcPct val="140000"/>
              </a:lnSpc>
              <a:spcBef>
                <a:spcPct val="0"/>
              </a:spcBef>
              <a:spcAft>
                <a:spcPct val="0"/>
              </a:spcAft>
              <a:buClr>
                <a:srgbClr val="7A929D"/>
              </a:buClr>
              <a:buFont typeface="Gill Sans MT Light" pitchFamily="34" charset="0"/>
              <a:buChar char="■"/>
              <a:defRPr sz="2100">
                <a:solidFill>
                  <a:schemeClr val="tx1"/>
                </a:solidFill>
                <a:latin typeface="+mn-lt"/>
                <a:ea typeface="+mn-ea"/>
                <a:cs typeface="+mn-cs"/>
              </a:defRPr>
            </a:lvl1pPr>
            <a:lvl2pPr marL="742810" indent="-285699"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2pPr>
            <a:lvl3pPr marL="1142784"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3pPr>
            <a:lvl4pPr marL="1599898"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4pPr>
            <a:lvl5pPr marL="2057010"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5pPr>
            <a:lvl6pPr marL="2514125"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6pPr>
            <a:lvl7pPr marL="2971237"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7pPr>
            <a:lvl8pPr marL="3428352"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8pPr>
            <a:lvl9pPr marL="3885466"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9pPr>
          </a:lstStyle>
          <a:p>
            <a:pPr marL="341313" indent="-341313">
              <a:lnSpc>
                <a:spcPts val="1440"/>
              </a:lnSpc>
              <a:spcAft>
                <a:spcPts val="500"/>
              </a:spcAft>
            </a:pPr>
            <a:r>
              <a:rPr lang="en-US" sz="1400" kern="0" dirty="0">
                <a:latin typeface="Gill Sans MT Light" panose="020B0302020104020203" pitchFamily="34" charset="0"/>
              </a:rPr>
              <a:t>COVID-19 in China under control</a:t>
            </a:r>
          </a:p>
          <a:p>
            <a:pPr marL="341313" indent="-341313">
              <a:lnSpc>
                <a:spcPts val="1440"/>
              </a:lnSpc>
              <a:spcAft>
                <a:spcPts val="500"/>
              </a:spcAft>
            </a:pPr>
            <a:r>
              <a:rPr lang="en-US" sz="1400" kern="0" dirty="0">
                <a:latin typeface="Gill Sans MT Light" panose="020B0302020104020203" pitchFamily="34" charset="0"/>
              </a:rPr>
              <a:t>Businesses back-to-work; 2020 GDP growth estimated at roughly 1-2%</a:t>
            </a:r>
          </a:p>
          <a:p>
            <a:pPr marL="341313" indent="-341313">
              <a:lnSpc>
                <a:spcPts val="1440"/>
              </a:lnSpc>
              <a:spcAft>
                <a:spcPts val="500"/>
              </a:spcAft>
            </a:pPr>
            <a:r>
              <a:rPr lang="en-US" sz="1400" kern="0" dirty="0">
                <a:latin typeface="Gill Sans MT Light" panose="020B0302020104020203" pitchFamily="34" charset="0"/>
              </a:rPr>
              <a:t>US headed towards possible Corona disaster (health system, jobs, election focus)</a:t>
            </a:r>
          </a:p>
          <a:p>
            <a:pPr marL="341313" indent="-341313">
              <a:lnSpc>
                <a:spcPts val="1440"/>
              </a:lnSpc>
              <a:spcAft>
                <a:spcPts val="500"/>
              </a:spcAft>
            </a:pPr>
            <a:r>
              <a:rPr lang="en-US" sz="1400" kern="0" dirty="0">
                <a:latin typeface="Gill Sans MT Light" panose="020B0302020104020203" pitchFamily="34" charset="0"/>
              </a:rPr>
              <a:t>European countries fighting individually; will have to wait for a vaccine </a:t>
            </a:r>
          </a:p>
          <a:p>
            <a:pPr marL="341313" indent="-341313">
              <a:lnSpc>
                <a:spcPts val="1440"/>
              </a:lnSpc>
              <a:spcAft>
                <a:spcPts val="500"/>
              </a:spcAft>
            </a:pPr>
            <a:r>
              <a:rPr lang="en-US" sz="1400" kern="0" dirty="0">
                <a:latin typeface="Gill Sans MT Light" panose="020B0302020104020203" pitchFamily="34" charset="0"/>
              </a:rPr>
              <a:t>Chinese market in V-shape recovery</a:t>
            </a:r>
          </a:p>
          <a:p>
            <a:pPr marL="0" indent="0">
              <a:lnSpc>
                <a:spcPts val="1440"/>
              </a:lnSpc>
              <a:spcAft>
                <a:spcPts val="500"/>
              </a:spcAft>
              <a:buFont typeface="Gill Sans MT Light" pitchFamily="34" charset="0"/>
              <a:buNone/>
            </a:pPr>
            <a:r>
              <a:rPr lang="en-US" sz="1400" kern="0" dirty="0">
                <a:latin typeface="Gill Sans MT Light" panose="020B0302020104020203" pitchFamily="34" charset="0"/>
              </a:rPr>
              <a:t> </a:t>
            </a:r>
          </a:p>
        </p:txBody>
      </p:sp>
      <p:sp>
        <p:nvSpPr>
          <p:cNvPr id="8" name="Inhaltsplatzhalter 2">
            <a:extLst>
              <a:ext uri="{FF2B5EF4-FFF2-40B4-BE49-F238E27FC236}">
                <a16:creationId xmlns:a16="http://schemas.microsoft.com/office/drawing/2014/main" id="{2D1FF2EF-5631-D840-BD1F-B2407E09211F}"/>
              </a:ext>
            </a:extLst>
          </p:cNvPr>
          <p:cNvSpPr txBox="1">
            <a:spLocks/>
          </p:cNvSpPr>
          <p:nvPr/>
        </p:nvSpPr>
        <p:spPr bwMode="auto">
          <a:xfrm>
            <a:off x="584970" y="1699221"/>
            <a:ext cx="2579614" cy="354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lvl1pPr marL="342836" indent="-342836" algn="l" rtl="0" eaLnBrk="0" fontAlgn="base" hangingPunct="0">
              <a:lnSpc>
                <a:spcPct val="140000"/>
              </a:lnSpc>
              <a:spcBef>
                <a:spcPct val="0"/>
              </a:spcBef>
              <a:spcAft>
                <a:spcPct val="0"/>
              </a:spcAft>
              <a:buClr>
                <a:srgbClr val="7A929D"/>
              </a:buClr>
              <a:buFont typeface="Gill Sans MT Light" pitchFamily="34" charset="0"/>
              <a:buChar char="■"/>
              <a:defRPr sz="2100">
                <a:solidFill>
                  <a:schemeClr val="tx1"/>
                </a:solidFill>
                <a:latin typeface="+mn-lt"/>
                <a:ea typeface="+mn-ea"/>
                <a:cs typeface="+mn-cs"/>
              </a:defRPr>
            </a:lvl1pPr>
            <a:lvl2pPr marL="742810" indent="-285699"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2pPr>
            <a:lvl3pPr marL="1142784"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3pPr>
            <a:lvl4pPr marL="1599898"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4pPr>
            <a:lvl5pPr marL="2057010"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5pPr>
            <a:lvl6pPr marL="2514125"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6pPr>
            <a:lvl7pPr marL="2971237"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7pPr>
            <a:lvl8pPr marL="3428352"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8pPr>
            <a:lvl9pPr marL="3885466"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9pPr>
          </a:lstStyle>
          <a:p>
            <a:pPr marL="0" indent="0">
              <a:buFont typeface="Gill Sans MT Light" pitchFamily="34" charset="0"/>
              <a:buNone/>
            </a:pPr>
            <a:r>
              <a:rPr lang="en-US" sz="1600" kern="0" dirty="0">
                <a:solidFill>
                  <a:srgbClr val="306386"/>
                </a:solidFill>
                <a:latin typeface="Gill Sans MT" pitchFamily="34" charset="0"/>
              </a:rPr>
              <a:t>Short-term rationale</a:t>
            </a:r>
          </a:p>
        </p:txBody>
      </p:sp>
      <p:sp>
        <p:nvSpPr>
          <p:cNvPr id="13" name="Pentagon 7">
            <a:extLst>
              <a:ext uri="{FF2B5EF4-FFF2-40B4-BE49-F238E27FC236}">
                <a16:creationId xmlns:a16="http://schemas.microsoft.com/office/drawing/2014/main" id="{ECC762AF-78EA-4444-BE81-D6366899019E}"/>
              </a:ext>
            </a:extLst>
          </p:cNvPr>
          <p:cNvSpPr/>
          <p:nvPr/>
        </p:nvSpPr>
        <p:spPr>
          <a:xfrm flipH="1">
            <a:off x="4912060" y="1572736"/>
            <a:ext cx="3978315" cy="4233704"/>
          </a:xfrm>
          <a:prstGeom prst="homePlate">
            <a:avLst>
              <a:gd name="adj" fmla="val 12711"/>
            </a:avLst>
          </a:prstGeom>
          <a:blipFill dpi="0" rotWithShape="1">
            <a:blip r:embed="rId3">
              <a:extLst>
                <a:ext uri="{28A0092B-C50C-407E-A947-70E740481C1C}">
                  <a14:useLocalDpi xmlns:a14="http://schemas.microsoft.com/office/drawing/2010/main" val="0"/>
                </a:ext>
              </a:extLst>
            </a:blip>
            <a:srcRect/>
            <a:stretch>
              <a:fillRect/>
            </a:stretch>
          </a:blipFill>
          <a:ln w="9525">
            <a:noFill/>
            <a:miter lim="800000"/>
            <a:headEnd/>
            <a:tailEnd/>
          </a:ln>
          <a:effectLst/>
        </p:spPr>
        <p:txBody>
          <a:bodyPr wrap="square" lIns="68635" tIns="68635" rIns="68635" bIns="68635" anchor="ctr" anchorCtr="0">
            <a:noAutofit/>
          </a:bodyPr>
          <a:lstStyle/>
          <a:p>
            <a:pPr defTabSz="853378" eaLnBrk="1" fontAlgn="auto" hangingPunct="1">
              <a:spcBef>
                <a:spcPts val="0"/>
              </a:spcBef>
              <a:spcAft>
                <a:spcPts val="0"/>
              </a:spcAft>
              <a:buClr>
                <a:srgbClr val="6DB33F"/>
              </a:buClr>
            </a:pPr>
            <a:endParaRPr lang="en-US" sz="1600" b="1">
              <a:solidFill>
                <a:prstClr val="white"/>
              </a:solidFill>
              <a:latin typeface="Calibri"/>
              <a:ea typeface="PMingLiU" pitchFamily="18" charset="-120"/>
            </a:endParaRPr>
          </a:p>
        </p:txBody>
      </p:sp>
      <p:sp>
        <p:nvSpPr>
          <p:cNvPr id="9" name="Inhaltsplatzhalter 2">
            <a:extLst>
              <a:ext uri="{FF2B5EF4-FFF2-40B4-BE49-F238E27FC236}">
                <a16:creationId xmlns:a16="http://schemas.microsoft.com/office/drawing/2014/main" id="{4DC5A794-4FB3-3343-8CB5-4E87526B22B3}"/>
              </a:ext>
            </a:extLst>
          </p:cNvPr>
          <p:cNvSpPr txBox="1">
            <a:spLocks/>
          </p:cNvSpPr>
          <p:nvPr/>
        </p:nvSpPr>
        <p:spPr bwMode="auto">
          <a:xfrm>
            <a:off x="5469993" y="1699221"/>
            <a:ext cx="3691852" cy="354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lvl1pPr marL="342836" indent="-342836" algn="l" rtl="0" eaLnBrk="0" fontAlgn="base" hangingPunct="0">
              <a:lnSpc>
                <a:spcPct val="140000"/>
              </a:lnSpc>
              <a:spcBef>
                <a:spcPct val="0"/>
              </a:spcBef>
              <a:spcAft>
                <a:spcPct val="0"/>
              </a:spcAft>
              <a:buClr>
                <a:srgbClr val="7A929D"/>
              </a:buClr>
              <a:buFont typeface="Gill Sans MT Light" pitchFamily="34" charset="0"/>
              <a:buChar char="■"/>
              <a:defRPr sz="2100">
                <a:solidFill>
                  <a:schemeClr val="tx1"/>
                </a:solidFill>
                <a:latin typeface="+mn-lt"/>
                <a:ea typeface="+mn-ea"/>
                <a:cs typeface="+mn-cs"/>
              </a:defRPr>
            </a:lvl1pPr>
            <a:lvl2pPr marL="742810" indent="-285699"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2pPr>
            <a:lvl3pPr marL="1142784"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3pPr>
            <a:lvl4pPr marL="1599898"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4pPr>
            <a:lvl5pPr marL="2057010"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5pPr>
            <a:lvl6pPr marL="2514125"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6pPr>
            <a:lvl7pPr marL="2971237"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7pPr>
            <a:lvl8pPr marL="3428352"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8pPr>
            <a:lvl9pPr marL="3885466"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9pPr>
          </a:lstStyle>
          <a:p>
            <a:pPr marL="0" indent="0">
              <a:buFont typeface="Gill Sans MT Light" pitchFamily="34" charset="0"/>
              <a:buNone/>
            </a:pPr>
            <a:r>
              <a:rPr lang="en-US" sz="1600" kern="0" dirty="0">
                <a:solidFill>
                  <a:srgbClr val="306386"/>
                </a:solidFill>
                <a:latin typeface="Gill Sans MT" pitchFamily="34" charset="0"/>
              </a:rPr>
              <a:t>Long-term rationale</a:t>
            </a:r>
          </a:p>
        </p:txBody>
      </p:sp>
      <p:sp>
        <p:nvSpPr>
          <p:cNvPr id="10" name="Inhaltsplatzhalter 2">
            <a:extLst>
              <a:ext uri="{FF2B5EF4-FFF2-40B4-BE49-F238E27FC236}">
                <a16:creationId xmlns:a16="http://schemas.microsoft.com/office/drawing/2014/main" id="{C87FEDBC-C80B-6644-BD4C-12A0AD368444}"/>
              </a:ext>
            </a:extLst>
          </p:cNvPr>
          <p:cNvSpPr txBox="1">
            <a:spLocks/>
          </p:cNvSpPr>
          <p:nvPr/>
        </p:nvSpPr>
        <p:spPr bwMode="auto">
          <a:xfrm>
            <a:off x="5440100" y="2293110"/>
            <a:ext cx="3450277" cy="354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lvl1pPr marL="342836" indent="-342836" algn="l" rtl="0" eaLnBrk="0" fontAlgn="base" hangingPunct="0">
              <a:lnSpc>
                <a:spcPct val="140000"/>
              </a:lnSpc>
              <a:spcBef>
                <a:spcPct val="0"/>
              </a:spcBef>
              <a:spcAft>
                <a:spcPct val="0"/>
              </a:spcAft>
              <a:buClr>
                <a:srgbClr val="7A929D"/>
              </a:buClr>
              <a:buFont typeface="Gill Sans MT Light" pitchFamily="34" charset="0"/>
              <a:buChar char="■"/>
              <a:defRPr sz="2100">
                <a:solidFill>
                  <a:schemeClr val="tx1"/>
                </a:solidFill>
                <a:latin typeface="+mn-lt"/>
                <a:ea typeface="+mn-ea"/>
                <a:cs typeface="+mn-cs"/>
              </a:defRPr>
            </a:lvl1pPr>
            <a:lvl2pPr marL="742810" indent="-285699"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2pPr>
            <a:lvl3pPr marL="1142784"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3pPr>
            <a:lvl4pPr marL="1599898"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4pPr>
            <a:lvl5pPr marL="2057010"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5pPr>
            <a:lvl6pPr marL="2514125"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6pPr>
            <a:lvl7pPr marL="2971237"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7pPr>
            <a:lvl8pPr marL="3428352"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8pPr>
            <a:lvl9pPr marL="3885466"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9pPr>
          </a:lstStyle>
          <a:p>
            <a:pPr marL="341313" indent="-341313">
              <a:lnSpc>
                <a:spcPts val="1440"/>
              </a:lnSpc>
              <a:spcAft>
                <a:spcPts val="500"/>
              </a:spcAft>
            </a:pPr>
            <a:r>
              <a:rPr lang="en-US" sz="1400" kern="0" dirty="0">
                <a:latin typeface="Gill Sans MT Light" panose="020B0302020104020203" pitchFamily="34" charset="0"/>
              </a:rPr>
              <a:t>Long-term uptrend remains; absolute and percent GDP growth highest in the world  amongst large economies</a:t>
            </a:r>
          </a:p>
          <a:p>
            <a:pPr marL="341313" indent="-341313">
              <a:lnSpc>
                <a:spcPts val="1440"/>
              </a:lnSpc>
              <a:spcAft>
                <a:spcPts val="500"/>
              </a:spcAft>
            </a:pPr>
            <a:r>
              <a:rPr lang="en-US" sz="1400" kern="0" dirty="0">
                <a:latin typeface="Gill Sans MT Light" panose="020B0302020104020203" pitchFamily="34" charset="0"/>
              </a:rPr>
              <a:t>Yuan (RMB) on-track to become one of the world’s reserve currencies</a:t>
            </a:r>
          </a:p>
          <a:p>
            <a:pPr marL="341313" indent="-341313">
              <a:lnSpc>
                <a:spcPts val="1440"/>
              </a:lnSpc>
              <a:spcAft>
                <a:spcPts val="500"/>
              </a:spcAft>
            </a:pPr>
            <a:r>
              <a:rPr lang="en-US" sz="1400" kern="0" dirty="0">
                <a:latin typeface="Gill Sans MT Light" panose="020B0302020104020203" pitchFamily="34" charset="0"/>
              </a:rPr>
              <a:t>2</a:t>
            </a:r>
            <a:r>
              <a:rPr lang="en-US" sz="1400" kern="0" baseline="30000" dirty="0">
                <a:latin typeface="Gill Sans MT Light" panose="020B0302020104020203" pitchFamily="34" charset="0"/>
              </a:rPr>
              <a:t>nd</a:t>
            </a:r>
            <a:r>
              <a:rPr lang="en-US" sz="1400" kern="0" dirty="0">
                <a:latin typeface="Gill Sans MT Light" panose="020B0302020104020203" pitchFamily="34" charset="0"/>
              </a:rPr>
              <a:t> largest equity market in the world,  but significantly under-represented in global portfolios</a:t>
            </a:r>
          </a:p>
          <a:p>
            <a:pPr marL="341313" indent="-341313">
              <a:lnSpc>
                <a:spcPts val="1440"/>
              </a:lnSpc>
              <a:spcAft>
                <a:spcPts val="500"/>
              </a:spcAft>
            </a:pPr>
            <a:r>
              <a:rPr lang="en-US" sz="1400" kern="0" dirty="0">
                <a:latin typeface="Gill Sans MT Light" panose="020B0302020104020203" pitchFamily="34" charset="0"/>
              </a:rPr>
              <a:t>Significant growth of foreign investors (currently 3%) in China stock markets</a:t>
            </a:r>
          </a:p>
          <a:p>
            <a:pPr marL="341313" indent="-341313">
              <a:lnSpc>
                <a:spcPts val="1440"/>
              </a:lnSpc>
              <a:spcAft>
                <a:spcPts val="500"/>
              </a:spcAft>
            </a:pPr>
            <a:r>
              <a:rPr lang="en-US" sz="1400" kern="0" dirty="0">
                <a:latin typeface="Gill Sans MT Light" panose="020B0302020104020203" pitchFamily="34" charset="0"/>
              </a:rPr>
              <a:t>Substantial increase of institutional investors</a:t>
            </a:r>
          </a:p>
          <a:p>
            <a:pPr marL="341313" indent="-341313">
              <a:lnSpc>
                <a:spcPts val="1440"/>
              </a:lnSpc>
              <a:spcAft>
                <a:spcPts val="500"/>
              </a:spcAft>
            </a:pPr>
            <a:r>
              <a:rPr lang="en-US" sz="1400" kern="0" dirty="0">
                <a:latin typeface="Gill Sans MT Light" panose="020B0302020104020203" pitchFamily="34" charset="0"/>
              </a:rPr>
              <a:t>Inclusion of China in global and emerging market stock indices </a:t>
            </a:r>
          </a:p>
          <a:p>
            <a:pPr marL="341313" indent="-341313">
              <a:lnSpc>
                <a:spcPts val="1440"/>
              </a:lnSpc>
              <a:spcAft>
                <a:spcPts val="500"/>
              </a:spcAft>
            </a:pPr>
            <a:r>
              <a:rPr lang="en-US" sz="1400" kern="0" dirty="0">
                <a:latin typeface="Gill Sans MT Light" panose="020B0302020104020203" pitchFamily="34" charset="0"/>
              </a:rPr>
              <a:t>World will evolve into two tech hemispheres (US and China)</a:t>
            </a:r>
          </a:p>
          <a:p>
            <a:pPr marL="0" indent="0">
              <a:lnSpc>
                <a:spcPts val="1440"/>
              </a:lnSpc>
              <a:spcAft>
                <a:spcPts val="500"/>
              </a:spcAft>
              <a:buFont typeface="Gill Sans MT Light" pitchFamily="34" charset="0"/>
              <a:buNone/>
            </a:pPr>
            <a:r>
              <a:rPr lang="en-US" sz="1400" kern="0" dirty="0">
                <a:latin typeface="Gill Sans MT Light" panose="020B0302020104020203" pitchFamily="34" charset="0"/>
              </a:rPr>
              <a:t> </a:t>
            </a:r>
          </a:p>
        </p:txBody>
      </p:sp>
      <p:sp>
        <p:nvSpPr>
          <p:cNvPr id="11" name="McK 5. Source">
            <a:extLst>
              <a:ext uri="{FF2B5EF4-FFF2-40B4-BE49-F238E27FC236}">
                <a16:creationId xmlns:a16="http://schemas.microsoft.com/office/drawing/2014/main" id="{967CC0B2-A613-514E-840B-4090980D888D}"/>
              </a:ext>
            </a:extLst>
          </p:cNvPr>
          <p:cNvSpPr>
            <a:spLocks noChangeArrowheads="1"/>
          </p:cNvSpPr>
          <p:nvPr>
            <p:custDataLst>
              <p:tags r:id="rId1"/>
            </p:custDataLst>
          </p:nvPr>
        </p:nvSpPr>
        <p:spPr bwMode="auto">
          <a:xfrm>
            <a:off x="365125" y="6333884"/>
            <a:ext cx="8449302" cy="2798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defTabSz="802620">
              <a:tabLst>
                <a:tab pos="549311" algn="l"/>
              </a:tabLst>
            </a:pPr>
            <a:r>
              <a:rPr lang="de" sz="923" dirty="0">
                <a:solidFill>
                  <a:srgbClr val="000000"/>
                </a:solidFill>
                <a:ea typeface="宋体" pitchFamily="2" charset="-122"/>
                <a:cs typeface="Arial" pitchFamily="34" charset="0"/>
              </a:rPr>
              <a:t>Quelle: </a:t>
            </a:r>
            <a:r>
              <a:rPr lang="de" sz="923" dirty="0" err="1">
                <a:solidFill>
                  <a:srgbClr val="000000"/>
                </a:solidFill>
                <a:ea typeface="宋体" pitchFamily="2" charset="-122"/>
                <a:cs typeface="Arial" pitchFamily="34" charset="0"/>
              </a:rPr>
              <a:t>Qilin</a:t>
            </a:r>
            <a:r>
              <a:rPr lang="de" sz="923" dirty="0">
                <a:solidFill>
                  <a:srgbClr val="000000"/>
                </a:solidFill>
                <a:ea typeface="宋体" pitchFamily="2" charset="-122"/>
                <a:cs typeface="Arial" pitchFamily="34" charset="0"/>
              </a:rPr>
              <a:t> Capital Analyse</a:t>
            </a:r>
          </a:p>
          <a:p>
            <a:pPr defTabSz="802620">
              <a:tabLst>
                <a:tab pos="549311" algn="l"/>
              </a:tabLst>
            </a:pPr>
            <a:endParaRPr lang="de" sz="896" dirty="0">
              <a:solidFill>
                <a:srgbClr val="000000"/>
              </a:solidFill>
              <a:ea typeface="宋体" pitchFamily="2" charset="-122"/>
              <a:cs typeface="Arial" pitchFamily="34" charset="0"/>
            </a:endParaRPr>
          </a:p>
        </p:txBody>
      </p:sp>
      <p:sp>
        <p:nvSpPr>
          <p:cNvPr id="12" name="Oval 11">
            <a:extLst>
              <a:ext uri="{FF2B5EF4-FFF2-40B4-BE49-F238E27FC236}">
                <a16:creationId xmlns:a16="http://schemas.microsoft.com/office/drawing/2014/main" id="{AB830ACB-B0D2-4A4C-A575-71F58F1875F1}"/>
              </a:ext>
            </a:extLst>
          </p:cNvPr>
          <p:cNvSpPr/>
          <p:nvPr/>
        </p:nvSpPr>
        <p:spPr bwMode="auto">
          <a:xfrm>
            <a:off x="3719211" y="3150530"/>
            <a:ext cx="1409319" cy="1259519"/>
          </a:xfrm>
          <a:prstGeom prst="ellipse">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endParaRPr lang="de-DE" sz="500" dirty="0">
              <a:solidFill>
                <a:schemeClr val="bg1"/>
              </a:solidFill>
              <a:latin typeface="+mn-lt"/>
            </a:endParaRPr>
          </a:p>
          <a:p>
            <a:r>
              <a:rPr lang="en-US" sz="1600" dirty="0">
                <a:solidFill>
                  <a:schemeClr val="bg1"/>
                </a:solidFill>
                <a:latin typeface="+mn-lt"/>
              </a:rPr>
              <a:t>Invest in China equities</a:t>
            </a:r>
            <a:endParaRPr kumimoji="0" lang="en-US" b="0" i="0" u="none" strike="noStrike" cap="none" normalizeH="0" baseline="0" dirty="0">
              <a:ln>
                <a:noFill/>
              </a:ln>
              <a:solidFill>
                <a:schemeClr val="bg1"/>
              </a:solidFill>
              <a:effectLst/>
              <a:latin typeface="+mn-lt"/>
            </a:endParaRPr>
          </a:p>
        </p:txBody>
      </p:sp>
    </p:spTree>
    <p:extLst>
      <p:ext uri="{BB962C8B-B14F-4D97-AF65-F5344CB8AC3E}">
        <p14:creationId xmlns:p14="http://schemas.microsoft.com/office/powerpoint/2010/main" val="3522899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374653" y="808041"/>
            <a:ext cx="6837363" cy="475258"/>
          </a:xfrm>
          <a:noFill/>
        </p:spPr>
        <p:txBody>
          <a:bodyPr/>
          <a:lstStyle/>
          <a:p>
            <a:pPr eaLnBrk="1" hangingPunct="1"/>
            <a:r>
              <a:rPr lang="en-GB" sz="3100" dirty="0">
                <a:solidFill>
                  <a:srgbClr val="005B99"/>
                </a:solidFill>
              </a:rPr>
              <a:t>Contents</a:t>
            </a:r>
          </a:p>
        </p:txBody>
      </p:sp>
      <p:sp>
        <p:nvSpPr>
          <p:cNvPr id="4099" name="Rectangle 3"/>
          <p:cNvSpPr>
            <a:spLocks noGrp="1" noChangeArrowheads="1"/>
          </p:cNvSpPr>
          <p:nvPr>
            <p:ph type="body" idx="1"/>
          </p:nvPr>
        </p:nvSpPr>
        <p:spPr>
          <a:xfrm>
            <a:off x="374650" y="2108200"/>
            <a:ext cx="7092950" cy="3594100"/>
          </a:xfrm>
          <a:noFill/>
        </p:spPr>
        <p:txBody>
          <a:bodyPr/>
          <a:lstStyle/>
          <a:p>
            <a:r>
              <a:rPr lang="en-GB" dirty="0"/>
              <a:t>Macro-economic environment and “Next New Normal”</a:t>
            </a:r>
          </a:p>
          <a:p>
            <a:pPr eaLnBrk="1" hangingPunct="1"/>
            <a:r>
              <a:rPr lang="en-GB" dirty="0"/>
              <a:t>Investment process</a:t>
            </a:r>
          </a:p>
          <a:p>
            <a:pPr eaLnBrk="1" hangingPunct="1"/>
            <a:r>
              <a:rPr lang="en-GB" dirty="0"/>
              <a:t>Investment examples</a:t>
            </a:r>
          </a:p>
          <a:p>
            <a:pPr eaLnBrk="1" hangingPunct="1"/>
            <a:r>
              <a:rPr lang="en-GB" dirty="0"/>
              <a:t>Conclusion</a:t>
            </a:r>
          </a:p>
          <a:p>
            <a:r>
              <a:rPr lang="en-GB" dirty="0"/>
              <a:t>Capital investment company and research team</a:t>
            </a:r>
          </a:p>
          <a:p>
            <a:pPr eaLnBrk="1" hangingPunct="1"/>
            <a:r>
              <a:rPr lang="en-GB" dirty="0"/>
              <a:t>Basic data and communication</a:t>
            </a:r>
          </a:p>
          <a:p>
            <a:pPr eaLnBrk="1" hangingPunct="1"/>
            <a:endParaRPr lang="en-GB" dirty="0"/>
          </a:p>
          <a:p>
            <a:pPr eaLnBrk="1" hangingPunct="1"/>
            <a:endParaRPr lang="de-DE"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688981" y="2952671"/>
            <a:ext cx="5854698" cy="533479"/>
          </a:xfrm>
          <a:noFill/>
        </p:spPr>
        <p:txBody>
          <a:bodyPr/>
          <a:lstStyle/>
          <a:p>
            <a:r>
              <a:rPr lang="en-GB" dirty="0"/>
              <a:t>Investment Process</a:t>
            </a:r>
          </a:p>
        </p:txBody>
      </p:sp>
    </p:spTree>
    <p:extLst>
      <p:ext uri="{BB962C8B-B14F-4D97-AF65-F5344CB8AC3E}">
        <p14:creationId xmlns:p14="http://schemas.microsoft.com/office/powerpoint/2010/main" val="31514142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074" name="Rectangle 2"/>
          <p:cNvSpPr>
            <a:spLocks noGrp="1" noChangeArrowheads="1"/>
          </p:cNvSpPr>
          <p:nvPr>
            <p:ph type="title" idx="4294967295"/>
          </p:nvPr>
        </p:nvSpPr>
        <p:spPr>
          <a:xfrm>
            <a:off x="457200" y="392950"/>
            <a:ext cx="7571184" cy="1143000"/>
          </a:xfrm>
          <a:noFill/>
        </p:spPr>
        <p:txBody>
          <a:bodyPr lIns="162000" tIns="44446" rIns="162000" bIns="44446" anchor="ctr"/>
          <a:lstStyle/>
          <a:p>
            <a:pPr eaLnBrk="1" hangingPunct="1">
              <a:lnSpc>
                <a:spcPct val="105000"/>
              </a:lnSpc>
            </a:pPr>
            <a:r>
              <a:rPr lang="en-US" sz="3100" kern="1200" dirty="0"/>
              <a:t>DETEC’ fundamental company analysis uses a rigorous, analytical and data-driven approach</a:t>
            </a:r>
          </a:p>
        </p:txBody>
      </p:sp>
      <p:sp>
        <p:nvSpPr>
          <p:cNvPr id="328721" name="AutoShape 17"/>
          <p:cNvSpPr>
            <a:spLocks noChangeArrowheads="1"/>
          </p:cNvSpPr>
          <p:nvPr/>
        </p:nvSpPr>
        <p:spPr bwMode="auto">
          <a:xfrm>
            <a:off x="369216" y="2654894"/>
            <a:ext cx="1975651" cy="1485900"/>
          </a:xfrm>
          <a:prstGeom prst="chevron">
            <a:avLst>
              <a:gd name="adj" fmla="val 34135"/>
            </a:avLst>
          </a:prstGeom>
          <a:solidFill>
            <a:srgbClr val="292929"/>
          </a:solidFill>
          <a:ln>
            <a:noFill/>
          </a:ln>
          <a:effectLst/>
          <a:extLst>
            <a:ext uri="{91240B29-F687-4F45-9708-019B960494DF}">
              <a14:hiddenLine xmlns:a14="http://schemas.microsoft.com/office/drawing/2010/main" w="6350" algn="ctr">
                <a:solidFill>
                  <a:srgbClr val="C8C8C8"/>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72000" tIns="0" rIns="72000" bIns="0" anchor="ctr"/>
          <a:lstStyle>
            <a:lvl1pPr marL="282575">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eaLnBrk="0" fontAlgn="base" hangingPunct="0">
              <a:lnSpc>
                <a:spcPct val="120000"/>
              </a:lnSpc>
              <a:spcBef>
                <a:spcPct val="0"/>
              </a:spcBef>
              <a:spcAft>
                <a:spcPct val="0"/>
              </a:spcAft>
              <a:buClr>
                <a:srgbClr val="A00000"/>
              </a:buClr>
              <a:buFont typeface="Wingdings" pitchFamily="2" charset="2"/>
              <a:buNone/>
            </a:pPr>
            <a:r>
              <a:rPr lang="en-US" sz="1100" dirty="0">
                <a:solidFill>
                  <a:srgbClr val="FFFFFF"/>
                </a:solidFill>
                <a:latin typeface="Gill Sans MT" pitchFamily="34" charset="0"/>
              </a:rPr>
              <a:t>Industry </a:t>
            </a:r>
            <a:r>
              <a:rPr lang="en-US" sz="1100" dirty="0" err="1">
                <a:solidFill>
                  <a:srgbClr val="FFFFFF"/>
                </a:solidFill>
                <a:latin typeface="Gill Sans MT" pitchFamily="34" charset="0"/>
              </a:rPr>
              <a:t>prioritisation</a:t>
            </a:r>
            <a:endParaRPr lang="en-US" sz="1100" dirty="0">
              <a:solidFill>
                <a:srgbClr val="FFFFFF"/>
              </a:solidFill>
              <a:latin typeface="Gill Sans MT" pitchFamily="34" charset="0"/>
            </a:endParaRPr>
          </a:p>
        </p:txBody>
      </p:sp>
      <p:sp>
        <p:nvSpPr>
          <p:cNvPr id="328722" name="AutoShape 18"/>
          <p:cNvSpPr>
            <a:spLocks noChangeArrowheads="1"/>
          </p:cNvSpPr>
          <p:nvPr/>
        </p:nvSpPr>
        <p:spPr bwMode="auto">
          <a:xfrm>
            <a:off x="1882509" y="2654894"/>
            <a:ext cx="1951304" cy="1485900"/>
          </a:xfrm>
          <a:prstGeom prst="chevron">
            <a:avLst>
              <a:gd name="adj" fmla="val 34135"/>
            </a:avLst>
          </a:prstGeom>
          <a:solidFill>
            <a:srgbClr val="7A929D"/>
          </a:solidFill>
          <a:ln>
            <a:noFill/>
          </a:ln>
          <a:extLst>
            <a:ext uri="{91240B29-F687-4F45-9708-019B960494DF}">
              <a14:hiddenLine xmlns:a14="http://schemas.microsoft.com/office/drawing/2010/main" w="6350" algn="ctr">
                <a:solidFill>
                  <a:srgbClr val="C8C8C8"/>
                </a:solidFill>
                <a:miter lim="800000"/>
                <a:headEnd/>
                <a:tailEnd/>
              </a14:hiddenLine>
            </a:ext>
          </a:extLst>
        </p:spPr>
        <p:txBody>
          <a:bodyPr lIns="36000" tIns="0" rIns="0" bIns="0" anchor="ctr"/>
          <a:lstStyle>
            <a:lvl1pPr marL="282575">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eaLnBrk="0" fontAlgn="base" hangingPunct="0">
              <a:lnSpc>
                <a:spcPct val="120000"/>
              </a:lnSpc>
              <a:spcBef>
                <a:spcPct val="0"/>
              </a:spcBef>
              <a:spcAft>
                <a:spcPct val="0"/>
              </a:spcAft>
              <a:buClr>
                <a:srgbClr val="A00000"/>
              </a:buClr>
              <a:buFont typeface="Wingdings" pitchFamily="2" charset="2"/>
              <a:buNone/>
            </a:pPr>
            <a:r>
              <a:rPr lang="en-US" sz="1100" dirty="0">
                <a:solidFill>
                  <a:srgbClr val="FFFFFF"/>
                </a:solidFill>
                <a:latin typeface="Gill Sans MT" pitchFamily="34" charset="0"/>
              </a:rPr>
              <a:t>Historic company performance</a:t>
            </a:r>
          </a:p>
        </p:txBody>
      </p:sp>
      <p:sp>
        <p:nvSpPr>
          <p:cNvPr id="259079" name="AutoShape 19" descr="C:\Dokumente und Einstellungen\DR.WIESENAU\Desktop\Farben (neue)\farbe_dunkelgraublau2.jpg"/>
          <p:cNvSpPr>
            <a:spLocks noChangeArrowheads="1"/>
          </p:cNvSpPr>
          <p:nvPr/>
        </p:nvSpPr>
        <p:spPr bwMode="auto">
          <a:xfrm>
            <a:off x="3395800" y="2654894"/>
            <a:ext cx="1985937" cy="1485900"/>
          </a:xfrm>
          <a:prstGeom prst="chevron">
            <a:avLst>
              <a:gd name="adj" fmla="val 34135"/>
            </a:avLst>
          </a:prstGeom>
          <a:blipFill dpi="0" rotWithShape="0">
            <a:blip r:embed="rId4"/>
            <a:srcRect/>
            <a:stretch>
              <a:fillRect/>
            </a:stretch>
          </a:blipFill>
          <a:ln>
            <a:noFill/>
          </a:ln>
          <a:extLst>
            <a:ext uri="{91240B29-F687-4F45-9708-019B960494DF}">
              <a14:hiddenLine xmlns:a14="http://schemas.microsoft.com/office/drawing/2010/main" w="6350" algn="ctr">
                <a:solidFill>
                  <a:srgbClr val="C8C8C8"/>
                </a:solidFill>
                <a:miter lim="800000"/>
                <a:headEnd/>
                <a:tailEnd/>
              </a14:hiddenLine>
            </a:ext>
          </a:extLst>
        </p:spPr>
        <p:txBody>
          <a:bodyPr lIns="36000" tIns="0" rIns="0" bIns="0" anchor="ct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0" fontAlgn="base" hangingPunct="0">
              <a:lnSpc>
                <a:spcPct val="120000"/>
              </a:lnSpc>
              <a:spcBef>
                <a:spcPct val="0"/>
              </a:spcBef>
              <a:spcAft>
                <a:spcPct val="0"/>
              </a:spcAft>
              <a:buClr>
                <a:srgbClr val="A00000"/>
              </a:buClr>
              <a:buFont typeface="Wingdings" pitchFamily="2" charset="2"/>
              <a:buNone/>
            </a:pPr>
            <a:r>
              <a:rPr lang="en-US" sz="1100" dirty="0">
                <a:solidFill>
                  <a:srgbClr val="000000"/>
                </a:solidFill>
                <a:latin typeface="Gill Sans MT" pitchFamily="34" charset="0"/>
              </a:rPr>
              <a:t>Expected company performance</a:t>
            </a:r>
          </a:p>
        </p:txBody>
      </p:sp>
      <p:sp>
        <p:nvSpPr>
          <p:cNvPr id="259080" name="AutoShape 20" descr="C:\Dokumente und Einstellungen\DR.WIESENAU\Desktop\Farben (neue)\farbe_hellgraublau.jpg"/>
          <p:cNvSpPr>
            <a:spLocks noChangeArrowheads="1"/>
          </p:cNvSpPr>
          <p:nvPr/>
        </p:nvSpPr>
        <p:spPr bwMode="auto">
          <a:xfrm>
            <a:off x="4909093" y="2654894"/>
            <a:ext cx="1985942" cy="1485900"/>
          </a:xfrm>
          <a:prstGeom prst="chevron">
            <a:avLst>
              <a:gd name="adj" fmla="val 34135"/>
            </a:avLst>
          </a:prstGeom>
          <a:blipFill dpi="0" rotWithShape="0">
            <a:blip r:embed="rId5"/>
            <a:srcRect/>
            <a:stretch>
              <a:fillRect/>
            </a:stretch>
          </a:blipFill>
          <a:ln>
            <a:noFill/>
          </a:ln>
          <a:effectLst/>
          <a:extLst>
            <a:ext uri="{91240B29-F687-4F45-9708-019B960494DF}">
              <a14:hiddenLine xmlns:a14="http://schemas.microsoft.com/office/drawing/2010/main" w="6350" algn="ctr">
                <a:solidFill>
                  <a:srgbClr val="C8C8C8"/>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lstStyle>
            <a:lvl1pPr marL="228600">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0" fontAlgn="base" hangingPunct="0">
              <a:lnSpc>
                <a:spcPct val="120000"/>
              </a:lnSpc>
              <a:spcBef>
                <a:spcPct val="0"/>
              </a:spcBef>
              <a:spcAft>
                <a:spcPct val="0"/>
              </a:spcAft>
              <a:buClr>
                <a:srgbClr val="A00000"/>
              </a:buClr>
              <a:buFont typeface="Wingdings" pitchFamily="2" charset="2"/>
              <a:buNone/>
            </a:pPr>
            <a:r>
              <a:rPr lang="en-US" sz="1100" dirty="0">
                <a:solidFill>
                  <a:srgbClr val="000000"/>
                </a:solidFill>
                <a:latin typeface="Gill Sans MT" pitchFamily="34" charset="0"/>
              </a:rPr>
              <a:t>Assessment of soft factors</a:t>
            </a:r>
          </a:p>
        </p:txBody>
      </p:sp>
      <p:sp>
        <p:nvSpPr>
          <p:cNvPr id="259082" name="Line 22"/>
          <p:cNvSpPr>
            <a:spLocks noChangeShapeType="1"/>
          </p:cNvSpPr>
          <p:nvPr/>
        </p:nvSpPr>
        <p:spPr bwMode="auto">
          <a:xfrm>
            <a:off x="3375232" y="3369269"/>
            <a:ext cx="0" cy="29527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38100">
                <a:solidFill>
                  <a:schemeClr val="tx1"/>
                </a:solidFill>
                <a:prstDash val="sysDot"/>
                <a:round/>
                <a:headEnd/>
                <a:tailEnd/>
              </a14:hiddenLine>
            </a:ext>
          </a:extLst>
        </p:spPr>
        <p:txBody>
          <a:bodyPr tIns="0" bIns="0"/>
          <a:lstStyle/>
          <a:p>
            <a:pPr eaLnBrk="0" fontAlgn="base" hangingPunct="0">
              <a:spcBef>
                <a:spcPct val="0"/>
              </a:spcBef>
              <a:spcAft>
                <a:spcPct val="0"/>
              </a:spcAft>
            </a:pPr>
            <a:endParaRPr lang="en-US" sz="1100" dirty="0">
              <a:solidFill>
                <a:srgbClr val="000000"/>
              </a:solidFill>
              <a:latin typeface="Arial" charset="0"/>
            </a:endParaRPr>
          </a:p>
        </p:txBody>
      </p:sp>
      <p:sp>
        <p:nvSpPr>
          <p:cNvPr id="259085" name="Rectangle 41"/>
          <p:cNvSpPr>
            <a:spLocks noChangeArrowheads="1"/>
          </p:cNvSpPr>
          <p:nvPr/>
        </p:nvSpPr>
        <p:spPr bwMode="auto">
          <a:xfrm>
            <a:off x="391255" y="4236044"/>
            <a:ext cx="1410447" cy="1933575"/>
          </a:xfrm>
          <a:prstGeom prst="rect">
            <a:avLst/>
          </a:prstGeom>
          <a:solidFill>
            <a:schemeClr val="bg1"/>
          </a:solidFill>
          <a:ln w="6350"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62000" tIns="44446" rIns="162000" bIns="187200"/>
          <a:lstStyle>
            <a:lvl1pPr marL="190500" indent="-190500">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180975" lvl="0" indent="-180975" defTabSz="853270">
              <a:buClr>
                <a:srgbClr val="1A6E5E"/>
              </a:buClr>
              <a:buFont typeface="Wingdings" panose="05000000000000000000" pitchFamily="2" charset="2"/>
              <a:buChar char="§"/>
            </a:pPr>
            <a:r>
              <a:rPr lang="en-US" sz="1200" dirty="0">
                <a:solidFill>
                  <a:srgbClr val="000000"/>
                </a:solidFill>
                <a:latin typeface="Gill Sans MT Light" pitchFamily="34" charset="0"/>
              </a:rPr>
              <a:t>Sector and sub-sector analysis</a:t>
            </a:r>
          </a:p>
          <a:p>
            <a:pPr marL="180975" lvl="0" indent="-180975" defTabSz="853270">
              <a:buClr>
                <a:srgbClr val="1A6E5E"/>
              </a:buClr>
              <a:buFont typeface="Wingdings" panose="05000000000000000000" pitchFamily="2" charset="2"/>
              <a:buChar char="§"/>
            </a:pPr>
            <a:r>
              <a:rPr lang="en-US" sz="1200" dirty="0">
                <a:solidFill>
                  <a:srgbClr val="000000"/>
                </a:solidFill>
                <a:latin typeface="Gill Sans MT Light" pitchFamily="34" charset="0"/>
              </a:rPr>
              <a:t>Macro-trends, including 13th</a:t>
            </a:r>
            <a:r>
              <a:rPr lang="en-US" sz="1200" dirty="0">
                <a:solidFill>
                  <a:srgbClr val="FF0000"/>
                </a:solidFill>
                <a:latin typeface="Gill Sans MT Light" pitchFamily="34" charset="0"/>
              </a:rPr>
              <a:t> </a:t>
            </a:r>
            <a:r>
              <a:rPr lang="en-US" sz="1200" dirty="0">
                <a:latin typeface="Gill Sans MT Light" pitchFamily="34" charset="0"/>
              </a:rPr>
              <a:t>Five-Y</a:t>
            </a:r>
            <a:r>
              <a:rPr lang="en-US" sz="1200" dirty="0">
                <a:solidFill>
                  <a:srgbClr val="000000"/>
                </a:solidFill>
                <a:latin typeface="Gill Sans MT Light" pitchFamily="34" charset="0"/>
              </a:rPr>
              <a:t>ear Plan</a:t>
            </a:r>
          </a:p>
        </p:txBody>
      </p:sp>
      <p:sp>
        <p:nvSpPr>
          <p:cNvPr id="259091" name="Rectangle 41"/>
          <p:cNvSpPr>
            <a:spLocks noChangeArrowheads="1"/>
          </p:cNvSpPr>
          <p:nvPr/>
        </p:nvSpPr>
        <p:spPr bwMode="auto">
          <a:xfrm>
            <a:off x="1872224" y="4236044"/>
            <a:ext cx="1410447" cy="1933575"/>
          </a:xfrm>
          <a:prstGeom prst="rect">
            <a:avLst/>
          </a:prstGeom>
          <a:solidFill>
            <a:schemeClr val="bg1"/>
          </a:solidFill>
          <a:ln w="6350" algn="ctr">
            <a:solidFill>
              <a:srgbClr val="7A929D"/>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62000" tIns="44446" rIns="162000" bIns="187200"/>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defTabSz="853270">
              <a:lnSpc>
                <a:spcPct val="120000"/>
              </a:lnSpc>
              <a:buClr>
                <a:srgbClr val="1A6E5E"/>
              </a:buClr>
            </a:pPr>
            <a:r>
              <a:rPr lang="en-US" sz="1200" dirty="0">
                <a:solidFill>
                  <a:srgbClr val="000000"/>
                </a:solidFill>
                <a:latin typeface="Gill Sans MT Light" pitchFamily="34" charset="0"/>
              </a:rPr>
              <a:t>Historic company valuation</a:t>
            </a:r>
          </a:p>
          <a:p>
            <a:pPr eaLnBrk="0" fontAlgn="base" hangingPunct="0">
              <a:lnSpc>
                <a:spcPct val="120000"/>
              </a:lnSpc>
              <a:spcBef>
                <a:spcPct val="0"/>
              </a:spcBef>
              <a:spcAft>
                <a:spcPct val="0"/>
              </a:spcAft>
              <a:buClr>
                <a:srgbClr val="7A929D"/>
              </a:buClr>
            </a:pPr>
            <a:endParaRPr lang="en-US" altLang="de-DE" sz="1100" dirty="0">
              <a:solidFill>
                <a:srgbClr val="000000"/>
              </a:solidFill>
              <a:latin typeface="Gill Sans MT Light" pitchFamily="34" charset="0"/>
            </a:endParaRPr>
          </a:p>
        </p:txBody>
      </p:sp>
      <p:sp>
        <p:nvSpPr>
          <p:cNvPr id="259092" name="Rectangle 41"/>
          <p:cNvSpPr>
            <a:spLocks noChangeArrowheads="1"/>
          </p:cNvSpPr>
          <p:nvPr/>
        </p:nvSpPr>
        <p:spPr bwMode="auto">
          <a:xfrm>
            <a:off x="3397270" y="4236044"/>
            <a:ext cx="1410447" cy="1933575"/>
          </a:xfrm>
          <a:prstGeom prst="rect">
            <a:avLst/>
          </a:prstGeom>
          <a:solidFill>
            <a:schemeClr val="bg1"/>
          </a:solidFill>
          <a:ln w="6350" algn="ctr">
            <a:solidFill>
              <a:srgbClr val="99CC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62000" tIns="44446" rIns="162000" bIns="187200"/>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180975" lvl="0" indent="-180975" defTabSz="853270">
              <a:buClr>
                <a:srgbClr val="1A6E5E"/>
              </a:buClr>
              <a:buFont typeface="Wingdings" panose="05000000000000000000" pitchFamily="2" charset="2"/>
              <a:buChar char="§"/>
            </a:pPr>
            <a:r>
              <a:rPr lang="en-US" sz="1200" dirty="0">
                <a:solidFill>
                  <a:srgbClr val="000000"/>
                </a:solidFill>
                <a:latin typeface="Gill Sans MT Light" pitchFamily="34" charset="0"/>
              </a:rPr>
              <a:t>Expected future performance indicators</a:t>
            </a:r>
          </a:p>
          <a:p>
            <a:pPr marL="180975" lvl="0" indent="-180975" defTabSz="853270">
              <a:buClr>
                <a:srgbClr val="1A6E5E"/>
              </a:buClr>
              <a:buFont typeface="Wingdings" panose="05000000000000000000" pitchFamily="2" charset="2"/>
              <a:buChar char="§"/>
            </a:pPr>
            <a:r>
              <a:rPr lang="en-US" sz="1200" dirty="0">
                <a:solidFill>
                  <a:srgbClr val="000000"/>
                </a:solidFill>
                <a:latin typeface="Gill Sans MT Light" pitchFamily="34" charset="0"/>
              </a:rPr>
              <a:t>Trend analysis of market share and productivity</a:t>
            </a:r>
          </a:p>
          <a:p>
            <a:pPr eaLnBrk="0" fontAlgn="base" hangingPunct="0">
              <a:lnSpc>
                <a:spcPct val="120000"/>
              </a:lnSpc>
              <a:spcBef>
                <a:spcPct val="0"/>
              </a:spcBef>
              <a:spcAft>
                <a:spcPct val="0"/>
              </a:spcAft>
              <a:buClr>
                <a:srgbClr val="7A929D"/>
              </a:buClr>
            </a:pPr>
            <a:endParaRPr lang="en-US" altLang="de-DE" sz="1100" dirty="0">
              <a:solidFill>
                <a:srgbClr val="000000"/>
              </a:solidFill>
              <a:latin typeface="Gill Sans MT Light" pitchFamily="34" charset="0"/>
            </a:endParaRPr>
          </a:p>
        </p:txBody>
      </p:sp>
      <p:sp>
        <p:nvSpPr>
          <p:cNvPr id="259093" name="Rectangle 41"/>
          <p:cNvSpPr>
            <a:spLocks noChangeArrowheads="1"/>
          </p:cNvSpPr>
          <p:nvPr/>
        </p:nvSpPr>
        <p:spPr bwMode="auto">
          <a:xfrm>
            <a:off x="4895870" y="4236044"/>
            <a:ext cx="1410447" cy="1933575"/>
          </a:xfrm>
          <a:prstGeom prst="rect">
            <a:avLst/>
          </a:prstGeom>
          <a:solidFill>
            <a:schemeClr val="bg1"/>
          </a:solidFill>
          <a:ln w="6350" algn="ctr">
            <a:solidFill>
              <a:srgbClr val="E3F2F3"/>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62000" tIns="44446" rIns="144000" bIns="187200"/>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180975" lvl="0" indent="-180975" defTabSz="853270">
              <a:buClr>
                <a:srgbClr val="1A6E5E"/>
              </a:buClr>
              <a:buFont typeface="Wingdings" panose="05000000000000000000" pitchFamily="2" charset="2"/>
              <a:buChar char="§"/>
            </a:pPr>
            <a:r>
              <a:rPr lang="en-US" sz="1200" dirty="0">
                <a:solidFill>
                  <a:srgbClr val="000000"/>
                </a:solidFill>
                <a:latin typeface="Gill Sans MT Light" pitchFamily="34" charset="0"/>
              </a:rPr>
              <a:t>Owner analysis</a:t>
            </a:r>
          </a:p>
          <a:p>
            <a:pPr marL="180975" lvl="0" indent="-180975" defTabSz="853270">
              <a:buClr>
                <a:srgbClr val="1A6E5E"/>
              </a:buClr>
              <a:buFont typeface="Wingdings" panose="05000000000000000000" pitchFamily="2" charset="2"/>
              <a:buChar char="§"/>
            </a:pPr>
            <a:r>
              <a:rPr lang="en-US" sz="1200" dirty="0">
                <a:solidFill>
                  <a:srgbClr val="000000"/>
                </a:solidFill>
                <a:latin typeface="Gill Sans MT Light" pitchFamily="34" charset="0"/>
              </a:rPr>
              <a:t>Management assessment</a:t>
            </a:r>
          </a:p>
          <a:p>
            <a:pPr marL="180975" lvl="0" indent="-180975" defTabSz="853270">
              <a:buClr>
                <a:srgbClr val="1A6E5E"/>
              </a:buClr>
              <a:buFont typeface="Wingdings" panose="05000000000000000000" pitchFamily="2" charset="2"/>
              <a:buChar char="§"/>
            </a:pPr>
            <a:r>
              <a:rPr lang="en-US" sz="1200" dirty="0">
                <a:solidFill>
                  <a:srgbClr val="000000"/>
                </a:solidFill>
                <a:latin typeface="Gill Sans MT Light" pitchFamily="34" charset="0"/>
              </a:rPr>
              <a:t>Auditor's assessment</a:t>
            </a:r>
          </a:p>
        </p:txBody>
      </p:sp>
      <p:sp>
        <p:nvSpPr>
          <p:cNvPr id="16" name="AutoShape 20" descr="C:\Dokumente und Einstellungen\DR.WIESENAU\Desktop\Farben (neue)\farbe_hellgraublau.jpg"/>
          <p:cNvSpPr>
            <a:spLocks noChangeArrowheads="1"/>
          </p:cNvSpPr>
          <p:nvPr/>
        </p:nvSpPr>
        <p:spPr bwMode="auto">
          <a:xfrm>
            <a:off x="6412100" y="2654894"/>
            <a:ext cx="1985942" cy="1485900"/>
          </a:xfrm>
          <a:prstGeom prst="chevron">
            <a:avLst>
              <a:gd name="adj" fmla="val 34135"/>
            </a:avLst>
          </a:prstGeom>
          <a:solidFill>
            <a:schemeClr val="bg1">
              <a:lumMod val="95000"/>
            </a:schemeClr>
          </a:solidFill>
          <a:ln>
            <a:noFill/>
          </a:ln>
          <a:effectLst/>
        </p:spPr>
        <p:txBody>
          <a:bodyPr lIns="144000" tIns="0" rIns="162000" bIns="0" anchor="ctr"/>
          <a:lstStyle>
            <a:lvl1pPr marL="228600">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3175" eaLnBrk="0" fontAlgn="base" hangingPunct="0">
              <a:lnSpc>
                <a:spcPct val="120000"/>
              </a:lnSpc>
              <a:spcBef>
                <a:spcPct val="0"/>
              </a:spcBef>
              <a:spcAft>
                <a:spcPct val="0"/>
              </a:spcAft>
              <a:buClr>
                <a:srgbClr val="A00000"/>
              </a:buClr>
              <a:buFont typeface="Wingdings" pitchFamily="2" charset="2"/>
              <a:buNone/>
            </a:pPr>
            <a:r>
              <a:rPr lang="en-US" sz="1100" dirty="0">
                <a:solidFill>
                  <a:srgbClr val="000000"/>
                </a:solidFill>
                <a:latin typeface="Gill Sans MT" pitchFamily="34" charset="0"/>
              </a:rPr>
              <a:t>On-site evaluation</a:t>
            </a:r>
          </a:p>
        </p:txBody>
      </p:sp>
      <p:sp>
        <p:nvSpPr>
          <p:cNvPr id="17" name="Rectangle 41"/>
          <p:cNvSpPr>
            <a:spLocks noChangeArrowheads="1"/>
          </p:cNvSpPr>
          <p:nvPr/>
        </p:nvSpPr>
        <p:spPr bwMode="auto">
          <a:xfrm>
            <a:off x="6398876" y="4236044"/>
            <a:ext cx="1484672" cy="1933575"/>
          </a:xfrm>
          <a:prstGeom prst="rect">
            <a:avLst/>
          </a:prstGeom>
          <a:solidFill>
            <a:schemeClr val="bg1"/>
          </a:solidFill>
          <a:ln w="6350" algn="ctr">
            <a:solidFill>
              <a:srgbClr val="E3F2F3"/>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62000" tIns="44446" rIns="162000" bIns="187200"/>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180975" lvl="0" indent="-180975" defTabSz="853270">
              <a:buClr>
                <a:srgbClr val="1A6E5E"/>
              </a:buClr>
              <a:buFont typeface="Wingdings" panose="05000000000000000000" pitchFamily="2" charset="2"/>
              <a:buChar char="§"/>
            </a:pPr>
            <a:r>
              <a:rPr lang="en-US" sz="1200" dirty="0">
                <a:solidFill>
                  <a:srgbClr val="000000"/>
                </a:solidFill>
                <a:latin typeface="Gill Sans MT Light" pitchFamily="34" charset="0"/>
              </a:rPr>
              <a:t>Company visits and management interviews</a:t>
            </a:r>
          </a:p>
          <a:p>
            <a:pPr marL="180975" lvl="0" indent="-180975" defTabSz="853270">
              <a:buClr>
                <a:srgbClr val="1A6E5E"/>
              </a:buClr>
              <a:buFont typeface="Wingdings" panose="05000000000000000000" pitchFamily="2" charset="2"/>
              <a:buChar char="§"/>
            </a:pPr>
            <a:r>
              <a:rPr lang="en-US" sz="1200" dirty="0">
                <a:solidFill>
                  <a:srgbClr val="000000"/>
                </a:solidFill>
                <a:latin typeface="Gill Sans MT Light" pitchFamily="34" charset="0"/>
              </a:rPr>
              <a:t>Product and technology competitiveness</a:t>
            </a:r>
          </a:p>
        </p:txBody>
      </p:sp>
      <p:sp>
        <p:nvSpPr>
          <p:cNvPr id="15" name="Rectangle 14"/>
          <p:cNvSpPr txBox="1">
            <a:spLocks/>
          </p:cNvSpPr>
          <p:nvPr/>
        </p:nvSpPr>
        <p:spPr>
          <a:xfrm>
            <a:off x="2819769" y="6387438"/>
            <a:ext cx="270050"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00" dirty="0"/>
              <a:t>200</a:t>
            </a:r>
          </a:p>
        </p:txBody>
      </p:sp>
      <p:sp>
        <p:nvSpPr>
          <p:cNvPr id="18" name="Rectangle 14"/>
          <p:cNvSpPr txBox="1">
            <a:spLocks/>
          </p:cNvSpPr>
          <p:nvPr/>
        </p:nvSpPr>
        <p:spPr>
          <a:xfrm>
            <a:off x="4462630" y="6387438"/>
            <a:ext cx="270050"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00" dirty="0"/>
              <a:t>100</a:t>
            </a:r>
          </a:p>
        </p:txBody>
      </p:sp>
      <p:sp>
        <p:nvSpPr>
          <p:cNvPr id="19" name="Rectangle 14"/>
          <p:cNvSpPr txBox="1">
            <a:spLocks/>
          </p:cNvSpPr>
          <p:nvPr/>
        </p:nvSpPr>
        <p:spPr>
          <a:xfrm>
            <a:off x="6093279" y="6387438"/>
            <a:ext cx="270050"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00" dirty="0"/>
              <a:t>80</a:t>
            </a:r>
          </a:p>
        </p:txBody>
      </p:sp>
      <p:sp>
        <p:nvSpPr>
          <p:cNvPr id="20" name="Rectangle 14"/>
          <p:cNvSpPr txBox="1">
            <a:spLocks/>
          </p:cNvSpPr>
          <p:nvPr/>
        </p:nvSpPr>
        <p:spPr>
          <a:xfrm>
            <a:off x="7656134" y="6387438"/>
            <a:ext cx="322574" cy="1840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00" dirty="0"/>
              <a:t>50</a:t>
            </a:r>
          </a:p>
        </p:txBody>
      </p:sp>
      <p:sp>
        <p:nvSpPr>
          <p:cNvPr id="21" name="Rectangle 14"/>
          <p:cNvSpPr txBox="1">
            <a:spLocks/>
          </p:cNvSpPr>
          <p:nvPr/>
        </p:nvSpPr>
        <p:spPr>
          <a:xfrm>
            <a:off x="1241081" y="6387438"/>
            <a:ext cx="425251"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00" dirty="0"/>
              <a:t>5000</a:t>
            </a:r>
          </a:p>
        </p:txBody>
      </p:sp>
      <p:sp>
        <p:nvSpPr>
          <p:cNvPr id="22" name="Rectangle 67"/>
          <p:cNvSpPr txBox="1"/>
          <p:nvPr>
            <p:custDataLst>
              <p:tags r:id="rId1"/>
            </p:custDataLst>
          </p:nvPr>
        </p:nvSpPr>
        <p:spPr>
          <a:xfrm>
            <a:off x="371691" y="6218477"/>
            <a:ext cx="1085960" cy="6377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300" b="1" dirty="0"/>
              <a:t>No. of companies</a:t>
            </a:r>
          </a:p>
        </p:txBody>
      </p:sp>
      <p:sp>
        <p:nvSpPr>
          <p:cNvPr id="2" name="Textfeld 1"/>
          <p:cNvSpPr txBox="1"/>
          <p:nvPr/>
        </p:nvSpPr>
        <p:spPr>
          <a:xfrm>
            <a:off x="617219" y="2005231"/>
            <a:ext cx="1997394" cy="430887"/>
          </a:xfrm>
          <a:prstGeom prst="rect">
            <a:avLst/>
          </a:prstGeom>
          <a:noFill/>
        </p:spPr>
        <p:txBody>
          <a:bodyPr wrap="square" rtlCol="0">
            <a:spAutoFit/>
          </a:bodyPr>
          <a:lstStyle/>
          <a:p>
            <a:pPr lvl="0"/>
            <a:r>
              <a:rPr lang="en-US" sz="1100" dirty="0">
                <a:solidFill>
                  <a:srgbClr val="000000"/>
                </a:solidFill>
                <a:latin typeface="+mn-lt"/>
              </a:rPr>
              <a:t>Is the company a future Asian champion?</a:t>
            </a:r>
          </a:p>
        </p:txBody>
      </p:sp>
      <p:sp>
        <p:nvSpPr>
          <p:cNvPr id="23" name="Textfeld 22"/>
          <p:cNvSpPr txBox="1"/>
          <p:nvPr/>
        </p:nvSpPr>
        <p:spPr>
          <a:xfrm>
            <a:off x="3833813" y="2014975"/>
            <a:ext cx="1657350" cy="600164"/>
          </a:xfrm>
          <a:prstGeom prst="rect">
            <a:avLst/>
          </a:prstGeom>
          <a:noFill/>
        </p:spPr>
        <p:txBody>
          <a:bodyPr wrap="square" rtlCol="0">
            <a:spAutoFit/>
          </a:bodyPr>
          <a:lstStyle/>
          <a:p>
            <a:pPr lvl="0"/>
            <a:r>
              <a:rPr lang="en-US" sz="1100" dirty="0">
                <a:solidFill>
                  <a:srgbClr val="000000"/>
                </a:solidFill>
                <a:latin typeface="+mn-lt"/>
              </a:rPr>
              <a:t>Will this company create stock market value for investors?</a:t>
            </a:r>
          </a:p>
        </p:txBody>
      </p:sp>
      <p:sp>
        <p:nvSpPr>
          <p:cNvPr id="24" name="Oval 23">
            <a:extLst>
              <a:ext uri="{FF2B5EF4-FFF2-40B4-BE49-F238E27FC236}">
                <a16:creationId xmlns:a16="http://schemas.microsoft.com/office/drawing/2014/main" id="{FB56FBE2-43F2-E244-A16B-9F829F1C0CF8}"/>
              </a:ext>
            </a:extLst>
          </p:cNvPr>
          <p:cNvSpPr/>
          <p:nvPr/>
        </p:nvSpPr>
        <p:spPr bwMode="auto">
          <a:xfrm>
            <a:off x="6150179" y="1528779"/>
            <a:ext cx="1799316" cy="938150"/>
          </a:xfrm>
          <a:prstGeom prst="ellipse">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dirty="0">
              <a:ln>
                <a:noFill/>
              </a:ln>
              <a:solidFill>
                <a:schemeClr val="tx1"/>
              </a:solidFill>
              <a:effectLst/>
              <a:latin typeface="Arial" charset="0"/>
            </a:endParaRPr>
          </a:p>
        </p:txBody>
      </p:sp>
      <p:sp>
        <p:nvSpPr>
          <p:cNvPr id="25" name="Rectangle 24">
            <a:extLst>
              <a:ext uri="{FF2B5EF4-FFF2-40B4-BE49-F238E27FC236}">
                <a16:creationId xmlns:a16="http://schemas.microsoft.com/office/drawing/2014/main" id="{510342DC-2EB2-6743-87B6-179066E7A0B6}"/>
              </a:ext>
            </a:extLst>
          </p:cNvPr>
          <p:cNvSpPr/>
          <p:nvPr/>
        </p:nvSpPr>
        <p:spPr>
          <a:xfrm>
            <a:off x="6286126" y="1708214"/>
            <a:ext cx="1550403" cy="646331"/>
          </a:xfrm>
          <a:prstGeom prst="rect">
            <a:avLst/>
          </a:prstGeom>
        </p:spPr>
        <p:txBody>
          <a:bodyPr wrap="square">
            <a:spAutoFit/>
          </a:bodyPr>
          <a:lstStyle/>
          <a:p>
            <a:pPr algn="ctr"/>
            <a:r>
              <a:rPr lang="en-US" dirty="0"/>
              <a:t>Chinese research team on-the-ground</a:t>
            </a:r>
          </a:p>
          <a:p>
            <a:pPr algn="ctr"/>
            <a:r>
              <a:rPr lang="en-US" dirty="0"/>
              <a:t>in Shanghai</a:t>
            </a:r>
          </a:p>
        </p:txBody>
      </p:sp>
    </p:spTree>
    <p:extLst>
      <p:ext uri="{BB962C8B-B14F-4D97-AF65-F5344CB8AC3E}">
        <p14:creationId xmlns:p14="http://schemas.microsoft.com/office/powerpoint/2010/main" val="12876136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688981" y="2952671"/>
            <a:ext cx="5854698" cy="533479"/>
          </a:xfrm>
          <a:noFill/>
        </p:spPr>
        <p:txBody>
          <a:bodyPr/>
          <a:lstStyle/>
          <a:p>
            <a:r>
              <a:rPr lang="en-GB" dirty="0"/>
              <a:t>Investment Examples</a:t>
            </a:r>
          </a:p>
        </p:txBody>
      </p:sp>
    </p:spTree>
    <p:extLst>
      <p:ext uri="{BB962C8B-B14F-4D97-AF65-F5344CB8AC3E}">
        <p14:creationId xmlns:p14="http://schemas.microsoft.com/office/powerpoint/2010/main" val="26374624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65125" y="436151"/>
            <a:ext cx="7150102" cy="976165"/>
          </a:xfrm>
        </p:spPr>
        <p:txBody>
          <a:bodyPr/>
          <a:lstStyle/>
          <a:p>
            <a:pPr eaLnBrk="1" hangingPunct="1">
              <a:lnSpc>
                <a:spcPct val="105000"/>
              </a:lnSpc>
            </a:pPr>
            <a:r>
              <a:rPr lang="en-US" sz="3100" kern="1200" dirty="0"/>
              <a:t>Features of the ACATIS QILIN Marco Polo </a:t>
            </a:r>
            <a:r>
              <a:rPr lang="en-US" sz="3100" kern="1200" dirty="0" err="1"/>
              <a:t>Asien</a:t>
            </a:r>
            <a:r>
              <a:rPr lang="en-US" sz="3100" kern="1200" dirty="0"/>
              <a:t> Fonds</a:t>
            </a:r>
            <a:endParaRPr lang="de-DE" sz="3100" kern="1200" dirty="0"/>
          </a:p>
        </p:txBody>
      </p:sp>
      <p:sp>
        <p:nvSpPr>
          <p:cNvPr id="3" name="Inhaltsplatzhalter 2"/>
          <p:cNvSpPr>
            <a:spLocks noGrp="1"/>
          </p:cNvSpPr>
          <p:nvPr>
            <p:ph idx="1"/>
          </p:nvPr>
        </p:nvSpPr>
        <p:spPr>
          <a:xfrm>
            <a:off x="387350" y="1789801"/>
            <a:ext cx="7623589" cy="4502994"/>
          </a:xfrm>
        </p:spPr>
        <p:txBody>
          <a:bodyPr/>
          <a:lstStyle/>
          <a:p>
            <a:pPr lvl="0">
              <a:buClr>
                <a:srgbClr val="8A9DAB"/>
              </a:buClr>
            </a:pPr>
            <a:r>
              <a:rPr lang="en-GB" sz="1600" dirty="0"/>
              <a:t>Focus on </a:t>
            </a:r>
            <a:r>
              <a:rPr lang="en-GB" sz="1600" b="1" dirty="0"/>
              <a:t>present and future Asian growth and value champions </a:t>
            </a:r>
            <a:r>
              <a:rPr lang="en-GB" sz="1600" dirty="0"/>
              <a:t>with a heavy emphasis on </a:t>
            </a:r>
            <a:r>
              <a:rPr lang="en-GB" sz="1600" b="1" dirty="0"/>
              <a:t>Chinese companies</a:t>
            </a:r>
            <a:endParaRPr lang="de-DE" sz="1600" dirty="0"/>
          </a:p>
          <a:p>
            <a:pPr lvl="0">
              <a:buClr>
                <a:srgbClr val="8A9DAB"/>
              </a:buClr>
            </a:pPr>
            <a:r>
              <a:rPr lang="en-GB" sz="1600" dirty="0"/>
              <a:t>Focus on </a:t>
            </a:r>
            <a:r>
              <a:rPr lang="en-GB" sz="1600" b="1" dirty="0"/>
              <a:t>attractive, fast-growing future industries</a:t>
            </a:r>
            <a:r>
              <a:rPr lang="en-GB" sz="1600" dirty="0"/>
              <a:t>; the portfolio does not include industries in need of restructuring</a:t>
            </a:r>
            <a:endParaRPr lang="de-DE" sz="1600" dirty="0"/>
          </a:p>
          <a:p>
            <a:pPr lvl="0">
              <a:buClr>
                <a:srgbClr val="8A9DAB"/>
              </a:buClr>
            </a:pPr>
            <a:r>
              <a:rPr lang="en-GB" sz="1600" dirty="0"/>
              <a:t>Investments possible in </a:t>
            </a:r>
            <a:r>
              <a:rPr lang="en-GB" sz="1600" b="1" dirty="0"/>
              <a:t>all Chinese share classes</a:t>
            </a:r>
            <a:r>
              <a:rPr lang="en-GB" sz="1600" dirty="0"/>
              <a:t>, including A shares, H shares and N shares - the only way to invest in the most promising Chinese companies</a:t>
            </a:r>
            <a:endParaRPr lang="de-DE" sz="1600" dirty="0"/>
          </a:p>
          <a:p>
            <a:pPr lvl="0">
              <a:buClr>
                <a:srgbClr val="8A9DAB"/>
              </a:buClr>
            </a:pPr>
            <a:r>
              <a:rPr lang="en-GB" sz="1600" dirty="0"/>
              <a:t>Focus </a:t>
            </a:r>
            <a:r>
              <a:rPr lang="en-GB" sz="1600" b="1" dirty="0"/>
              <a:t>on listed private companies</a:t>
            </a:r>
            <a:r>
              <a:rPr lang="en-GB" sz="1600" dirty="0"/>
              <a:t>, since they perform better over the long term, i.e. ideally no state-owned enterprises and hence no ETFs</a:t>
            </a:r>
            <a:endParaRPr lang="de-DE" sz="1600" dirty="0"/>
          </a:p>
          <a:p>
            <a:pPr lvl="0">
              <a:buClr>
                <a:srgbClr val="8A9DAB"/>
              </a:buClr>
            </a:pPr>
            <a:r>
              <a:rPr lang="en-GB" sz="1600" dirty="0"/>
              <a:t>Objective: </a:t>
            </a:r>
            <a:r>
              <a:rPr lang="en-GB" sz="1600" b="1" dirty="0"/>
              <a:t>Outperform the relevant MSCI  All Countries Asia Index</a:t>
            </a:r>
            <a:endParaRPr lang="de-DE" sz="1600" dirty="0"/>
          </a:p>
          <a:p>
            <a:pPr lvl="0">
              <a:buClr>
                <a:srgbClr val="8A9DAB"/>
              </a:buClr>
            </a:pPr>
            <a:r>
              <a:rPr lang="en-GB" sz="1600" b="1" dirty="0"/>
              <a:t>On-site Asian analysis team </a:t>
            </a:r>
            <a:r>
              <a:rPr lang="en-GB" sz="1600" dirty="0"/>
              <a:t>(which  conducts company visits in Chinese)</a:t>
            </a:r>
            <a:endParaRPr lang="de-DE" sz="1600" dirty="0"/>
          </a:p>
          <a:p>
            <a:pPr lvl="0">
              <a:buClr>
                <a:srgbClr val="8A9DAB"/>
              </a:buClr>
            </a:pPr>
            <a:r>
              <a:rPr lang="en-GB" sz="1600" dirty="0"/>
              <a:t>Extensive and relevant </a:t>
            </a:r>
            <a:r>
              <a:rPr lang="en-GB" sz="1600" b="1" dirty="0"/>
              <a:t>Chinese experience, contacts and network including McKinsey and Tsinghua University</a:t>
            </a:r>
            <a:br>
              <a:rPr lang="de-DE" sz="1600" dirty="0"/>
            </a:br>
            <a:endParaRPr lang="de-DE" sz="1600" dirty="0"/>
          </a:p>
        </p:txBody>
      </p:sp>
    </p:spTree>
    <p:extLst>
      <p:ext uri="{BB962C8B-B14F-4D97-AF65-F5344CB8AC3E}">
        <p14:creationId xmlns:p14="http://schemas.microsoft.com/office/powerpoint/2010/main" val="9771599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sz="3100" kern="1200" dirty="0"/>
              <a:t>ACATIS QILIN Marco Polo Asien Portfolio (selected sample companies)</a:t>
            </a:r>
          </a:p>
        </p:txBody>
      </p:sp>
      <p:graphicFrame>
        <p:nvGraphicFramePr>
          <p:cNvPr id="11" name="Tabelle 3">
            <a:extLst>
              <a:ext uri="{FF2B5EF4-FFF2-40B4-BE49-F238E27FC236}">
                <a16:creationId xmlns:a16="http://schemas.microsoft.com/office/drawing/2014/main" id="{141FB171-43A8-BD4D-BEB8-75272C85844C}"/>
              </a:ext>
            </a:extLst>
          </p:cNvPr>
          <p:cNvGraphicFramePr>
            <a:graphicFrameLocks noGrp="1"/>
          </p:cNvGraphicFramePr>
          <p:nvPr>
            <p:extLst>
              <p:ext uri="{D42A27DB-BD31-4B8C-83A1-F6EECF244321}">
                <p14:modId xmlns:p14="http://schemas.microsoft.com/office/powerpoint/2010/main" val="3188039484"/>
              </p:ext>
            </p:extLst>
          </p:nvPr>
        </p:nvGraphicFramePr>
        <p:xfrm>
          <a:off x="516255" y="1788474"/>
          <a:ext cx="7534109" cy="4419077"/>
        </p:xfrm>
        <a:graphic>
          <a:graphicData uri="http://schemas.openxmlformats.org/drawingml/2006/table">
            <a:tbl>
              <a:tblPr firstRow="1" bandRow="1">
                <a:tableStyleId>{5C22544A-7EE6-4342-B048-85BDC9FD1C3A}</a:tableStyleId>
              </a:tblPr>
              <a:tblGrid>
                <a:gridCol w="1976148">
                  <a:extLst>
                    <a:ext uri="{9D8B030D-6E8A-4147-A177-3AD203B41FA5}">
                      <a16:colId xmlns:a16="http://schemas.microsoft.com/office/drawing/2014/main" val="20000"/>
                    </a:ext>
                  </a:extLst>
                </a:gridCol>
                <a:gridCol w="5557961">
                  <a:extLst>
                    <a:ext uri="{9D8B030D-6E8A-4147-A177-3AD203B41FA5}">
                      <a16:colId xmlns:a16="http://schemas.microsoft.com/office/drawing/2014/main" val="20001"/>
                    </a:ext>
                  </a:extLst>
                </a:gridCol>
              </a:tblGrid>
              <a:tr h="1137802">
                <a:tc>
                  <a:txBody>
                    <a:bodyPr/>
                    <a:lstStyle/>
                    <a:p>
                      <a:endParaRPr lang="de-DE"/>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dpi="0" rotWithShape="1">
                      <a:blip r:embed="rId3">
                        <a:extLst>
                          <a:ext uri="{28A0092B-C50C-407E-A947-70E740481C1C}">
                            <a14:useLocalDpi xmlns:a14="http://schemas.microsoft.com/office/drawing/2010/main" val="0"/>
                          </a:ext>
                        </a:extLst>
                      </a:blip>
                      <a:srcRect/>
                      <a:stretch>
                        <a:fillRect/>
                      </a:stretch>
                    </a:blipFill>
                  </a:tcPr>
                </a:tc>
                <a:tc>
                  <a:txBody>
                    <a:bodyPr/>
                    <a:lstStyle/>
                    <a:p>
                      <a:pPr marL="0" marR="0" indent="0" algn="l" defTabSz="914226" rtl="0" eaLnBrk="1" fontAlgn="auto" latinLnBrk="0" hangingPunct="1">
                        <a:lnSpc>
                          <a:spcPct val="100000"/>
                        </a:lnSpc>
                        <a:spcBef>
                          <a:spcPts val="0"/>
                        </a:spcBef>
                        <a:spcAft>
                          <a:spcPts val="0"/>
                        </a:spcAft>
                        <a:buClrTx/>
                        <a:buSzTx/>
                        <a:buFontTx/>
                        <a:buNone/>
                        <a:tabLst/>
                        <a:defRPr/>
                      </a:pPr>
                      <a:r>
                        <a:rPr lang="de-DE" sz="1400" b="1" dirty="0">
                          <a:solidFill>
                            <a:prstClr val="black"/>
                          </a:solidFill>
                          <a:latin typeface="+mj-lt"/>
                        </a:rPr>
                        <a:t>Ping An </a:t>
                      </a:r>
                      <a:r>
                        <a:rPr lang="de-DE" sz="1400" b="1" dirty="0" err="1">
                          <a:solidFill>
                            <a:prstClr val="black"/>
                          </a:solidFill>
                          <a:latin typeface="+mj-lt"/>
                        </a:rPr>
                        <a:t>Good</a:t>
                      </a:r>
                      <a:r>
                        <a:rPr lang="de-DE" sz="1400" b="1" dirty="0">
                          <a:solidFill>
                            <a:prstClr val="black"/>
                          </a:solidFill>
                          <a:latin typeface="+mj-lt"/>
                        </a:rPr>
                        <a:t> </a:t>
                      </a:r>
                      <a:r>
                        <a:rPr lang="de-DE" sz="1400" b="1" dirty="0" err="1">
                          <a:solidFill>
                            <a:prstClr val="black"/>
                          </a:solidFill>
                          <a:latin typeface="+mj-lt"/>
                        </a:rPr>
                        <a:t>Doctor</a:t>
                      </a:r>
                      <a:r>
                        <a:rPr lang="de-DE" sz="1400" b="1" dirty="0">
                          <a:solidFill>
                            <a:prstClr val="black"/>
                          </a:solidFill>
                          <a:latin typeface="+mj-lt"/>
                        </a:rPr>
                        <a:t> </a:t>
                      </a:r>
                      <a:r>
                        <a:rPr lang="en-US" sz="1500" b="0" i="0" kern="1200" dirty="0">
                          <a:solidFill>
                            <a:schemeClr val="dk1"/>
                          </a:solidFill>
                          <a:effectLst/>
                          <a:latin typeface="+mn-lt"/>
                          <a:ea typeface="+mn-ea"/>
                          <a:cs typeface="+mn-cs"/>
                        </a:rPr>
                        <a:t>is the largest online health platform in the world with 315 million registered users. During the COVID-19 crisis in China from January 20th to February 10th, 1.11 billion users  visited the online platform.</a:t>
                      </a:r>
                      <a:endParaRPr lang="de-DE" sz="1500" b="0" i="0" kern="1200" dirty="0">
                        <a:solidFill>
                          <a:schemeClr val="dk1"/>
                        </a:solidFill>
                        <a:effectLst/>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dpi="0" rotWithShape="1">
                      <a:blip r:embed="rId3">
                        <a:extLst>
                          <a:ext uri="{28A0092B-C50C-407E-A947-70E740481C1C}">
                            <a14:useLocalDpi xmlns:a14="http://schemas.microsoft.com/office/drawing/2010/main" val="0"/>
                          </a:ext>
                        </a:extLst>
                      </a:blip>
                      <a:srcRect/>
                      <a:stretch>
                        <a:fillRect/>
                      </a:stretch>
                    </a:blipFill>
                  </a:tcPr>
                </a:tc>
                <a:extLst>
                  <a:ext uri="{0D108BD9-81ED-4DB2-BD59-A6C34878D82A}">
                    <a16:rowId xmlns:a16="http://schemas.microsoft.com/office/drawing/2014/main" val="10000"/>
                  </a:ext>
                </a:extLst>
              </a:tr>
              <a:tr h="924273">
                <a:tc>
                  <a:txBody>
                    <a:bodyPr/>
                    <a:lstStyle/>
                    <a:p>
                      <a:endParaRPr lang="de-DE"/>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dpi="0" rotWithShape="1">
                      <a:blip r:embed="rId3">
                        <a:extLst>
                          <a:ext uri="{28A0092B-C50C-407E-A947-70E740481C1C}">
                            <a14:useLocalDpi xmlns:a14="http://schemas.microsoft.com/office/drawing/2010/main" val="0"/>
                          </a:ext>
                        </a:extLst>
                      </a:blip>
                      <a:srcRect/>
                      <a:stretch>
                        <a:fillRect/>
                      </a:stretch>
                    </a:blipFill>
                  </a:tcPr>
                </a:tc>
                <a:tc>
                  <a:txBody>
                    <a:bodyPr/>
                    <a:lstStyle/>
                    <a:p>
                      <a:pPr marL="0" marR="0" indent="0" algn="l" defTabSz="914226" rtl="0" eaLnBrk="1" fontAlgn="auto" latinLnBrk="0" hangingPunct="1">
                        <a:lnSpc>
                          <a:spcPct val="100000"/>
                        </a:lnSpc>
                        <a:spcBef>
                          <a:spcPts val="0"/>
                        </a:spcBef>
                        <a:spcAft>
                          <a:spcPts val="0"/>
                        </a:spcAft>
                        <a:buClrTx/>
                        <a:buSzTx/>
                        <a:buFontTx/>
                        <a:buNone/>
                        <a:tabLst/>
                        <a:defRPr/>
                      </a:pPr>
                      <a:br>
                        <a:rPr lang="en-US" sz="1400" dirty="0"/>
                      </a:br>
                      <a:r>
                        <a:rPr lang="en-US" sz="1500" b="1" i="0" kern="1200" dirty="0" err="1">
                          <a:solidFill>
                            <a:schemeClr val="dk1"/>
                          </a:solidFill>
                          <a:effectLst/>
                          <a:latin typeface="+mn-lt"/>
                          <a:ea typeface="+mn-ea"/>
                          <a:cs typeface="+mn-cs"/>
                        </a:rPr>
                        <a:t>JD.com</a:t>
                      </a:r>
                      <a:r>
                        <a:rPr lang="en-US" sz="1500" b="1" i="0" kern="1200" dirty="0">
                          <a:solidFill>
                            <a:schemeClr val="dk1"/>
                          </a:solidFill>
                          <a:effectLst/>
                          <a:latin typeface="+mn-lt"/>
                          <a:ea typeface="+mn-ea"/>
                          <a:cs typeface="+mn-cs"/>
                        </a:rPr>
                        <a:t> </a:t>
                      </a:r>
                      <a:r>
                        <a:rPr lang="en-US" sz="1500" b="0" i="0" kern="1200" dirty="0">
                          <a:solidFill>
                            <a:schemeClr val="dk1"/>
                          </a:solidFill>
                          <a:effectLst/>
                          <a:latin typeface="+mn-lt"/>
                          <a:ea typeface="+mn-ea"/>
                          <a:cs typeface="+mn-cs"/>
                        </a:rPr>
                        <a:t>is China’s largest online and offline retailer. It is also China’s largest Internet company by sales, and is the third largest company in the world after Amazon and Alphabet</a:t>
                      </a:r>
                    </a:p>
                    <a:p>
                      <a:pPr marL="0" marR="0" indent="0" algn="l" defTabSz="914226" rtl="0" eaLnBrk="1" fontAlgn="auto" latinLnBrk="0" hangingPunct="1">
                        <a:lnSpc>
                          <a:spcPct val="100000"/>
                        </a:lnSpc>
                        <a:spcBef>
                          <a:spcPts val="0"/>
                        </a:spcBef>
                        <a:spcAft>
                          <a:spcPts val="0"/>
                        </a:spcAft>
                        <a:buClrTx/>
                        <a:buSzTx/>
                        <a:buFontTx/>
                        <a:buNone/>
                        <a:tabLst/>
                        <a:defRPr/>
                      </a:pPr>
                      <a:endParaRPr lang="en-GB" sz="1500" b="0" kern="1200" dirty="0">
                        <a:solidFill>
                          <a:prstClr val="black"/>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dpi="0" rotWithShape="1">
                      <a:blip r:embed="rId3">
                        <a:extLst>
                          <a:ext uri="{28A0092B-C50C-407E-A947-70E740481C1C}">
                            <a14:useLocalDpi xmlns:a14="http://schemas.microsoft.com/office/drawing/2010/main" val="0"/>
                          </a:ext>
                        </a:extLst>
                      </a:blip>
                      <a:srcRect/>
                      <a:stretch>
                        <a:fillRect/>
                      </a:stretch>
                    </a:blipFill>
                  </a:tcPr>
                </a:tc>
                <a:extLst>
                  <a:ext uri="{0D108BD9-81ED-4DB2-BD59-A6C34878D82A}">
                    <a16:rowId xmlns:a16="http://schemas.microsoft.com/office/drawing/2014/main" val="10001"/>
                  </a:ext>
                </a:extLst>
              </a:tr>
              <a:tr h="924273">
                <a:tc>
                  <a:txBody>
                    <a:bodyPr/>
                    <a:lstStyle/>
                    <a:p>
                      <a:endParaRPr lang="de-DE"/>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dpi="0" rotWithShape="1">
                      <a:blip r:embed="rId3">
                        <a:extLst>
                          <a:ext uri="{28A0092B-C50C-407E-A947-70E740481C1C}">
                            <a14:useLocalDpi xmlns:a14="http://schemas.microsoft.com/office/drawing/2010/main" val="0"/>
                          </a:ext>
                        </a:extLst>
                      </a:blip>
                      <a:srcRect/>
                      <a:stretch>
                        <a:fillRect/>
                      </a:stretch>
                    </a:blipFill>
                  </a:tcPr>
                </a:tc>
                <a:tc>
                  <a:txBody>
                    <a:bodyPr/>
                    <a:lstStyle/>
                    <a:p>
                      <a:pPr marL="0" marR="0" indent="0" algn="l" defTabSz="914226" rtl="0" eaLnBrk="1" fontAlgn="auto" latinLnBrk="0" hangingPunct="1">
                        <a:lnSpc>
                          <a:spcPct val="100000"/>
                        </a:lnSpc>
                        <a:spcBef>
                          <a:spcPts val="0"/>
                        </a:spcBef>
                        <a:spcAft>
                          <a:spcPts val="0"/>
                        </a:spcAft>
                        <a:buClrTx/>
                        <a:buSzTx/>
                        <a:buFontTx/>
                        <a:buNone/>
                        <a:tabLst/>
                        <a:defRPr/>
                      </a:pPr>
                      <a:r>
                        <a:rPr lang="en-GB" sz="1500" b="1" kern="1200" dirty="0">
                          <a:solidFill>
                            <a:prstClr val="black"/>
                          </a:solidFill>
                          <a:latin typeface="+mn-lt"/>
                          <a:ea typeface="+mn-ea"/>
                          <a:cs typeface="+mn-cs"/>
                        </a:rPr>
                        <a:t>New Oriental Education </a:t>
                      </a:r>
                      <a:r>
                        <a:rPr lang="en-GB" sz="1500" b="0" kern="1200" dirty="0">
                          <a:solidFill>
                            <a:prstClr val="black"/>
                          </a:solidFill>
                          <a:latin typeface="+mn-lt"/>
                          <a:ea typeface="+mn-ea"/>
                          <a:cs typeface="+mn-cs"/>
                        </a:rPr>
                        <a:t>is the leading provider of private foreign language training in the world's fastest-growing education market.</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dpi="0" rotWithShape="1">
                      <a:blip r:embed="rId3">
                        <a:extLst>
                          <a:ext uri="{28A0092B-C50C-407E-A947-70E740481C1C}">
                            <a14:useLocalDpi xmlns:a14="http://schemas.microsoft.com/office/drawing/2010/main" val="0"/>
                          </a:ext>
                        </a:extLst>
                      </a:blip>
                      <a:srcRect/>
                      <a:stretch>
                        <a:fillRect/>
                      </a:stretch>
                    </a:blipFill>
                  </a:tcPr>
                </a:tc>
                <a:extLst>
                  <a:ext uri="{0D108BD9-81ED-4DB2-BD59-A6C34878D82A}">
                    <a16:rowId xmlns:a16="http://schemas.microsoft.com/office/drawing/2014/main" val="10002"/>
                  </a:ext>
                </a:extLst>
              </a:tr>
              <a:tr h="1137802">
                <a:tc>
                  <a:txBody>
                    <a:bodyPr/>
                    <a:lstStyle/>
                    <a:p>
                      <a:endParaRPr lang="de-DE"/>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dpi="0" rotWithShape="1">
                      <a:blip r:embed="rId3">
                        <a:extLst>
                          <a:ext uri="{28A0092B-C50C-407E-A947-70E740481C1C}">
                            <a14:useLocalDpi xmlns:a14="http://schemas.microsoft.com/office/drawing/2010/main" val="0"/>
                          </a:ext>
                        </a:extLst>
                      </a:blip>
                      <a:srcRect/>
                      <a:stretch>
                        <a:fillRect/>
                      </a:stretch>
                    </a:blipFill>
                  </a:tcPr>
                </a:tc>
                <a:tc>
                  <a:txBody>
                    <a:bodyPr/>
                    <a:lstStyle/>
                    <a:p>
                      <a:pPr marL="0" marR="0" indent="0" algn="l" defTabSz="914226" rtl="0" eaLnBrk="1" fontAlgn="auto" latinLnBrk="0" hangingPunct="1">
                        <a:lnSpc>
                          <a:spcPct val="100000"/>
                        </a:lnSpc>
                        <a:spcBef>
                          <a:spcPts val="0"/>
                        </a:spcBef>
                        <a:spcAft>
                          <a:spcPts val="0"/>
                        </a:spcAft>
                        <a:buClrTx/>
                        <a:buSzTx/>
                        <a:buFontTx/>
                        <a:buNone/>
                        <a:tabLst/>
                        <a:defRPr/>
                      </a:pPr>
                      <a:r>
                        <a:rPr lang="en-GB" sz="1500" b="1" kern="1200" dirty="0" err="1">
                          <a:solidFill>
                            <a:prstClr val="black"/>
                          </a:solidFill>
                          <a:latin typeface="+mn-lt"/>
                          <a:ea typeface="+mn-ea"/>
                          <a:cs typeface="+mn-cs"/>
                        </a:rPr>
                        <a:t>Hengrui</a:t>
                      </a:r>
                      <a:r>
                        <a:rPr lang="en-GB" sz="1500" b="1" kern="1200" dirty="0">
                          <a:solidFill>
                            <a:prstClr val="black"/>
                          </a:solidFill>
                          <a:latin typeface="+mn-lt"/>
                          <a:ea typeface="+mn-ea"/>
                          <a:cs typeface="+mn-cs"/>
                        </a:rPr>
                        <a:t> Medicine</a:t>
                      </a:r>
                      <a:r>
                        <a:rPr lang="en-GB" sz="1500" b="0" kern="1200" dirty="0">
                          <a:solidFill>
                            <a:prstClr val="black"/>
                          </a:solidFill>
                          <a:latin typeface="+mn-lt"/>
                          <a:ea typeface="+mn-ea"/>
                          <a:cs typeface="+mn-cs"/>
                        </a:rPr>
                        <a:t> is the leading Chinese brand pharmaceutical company with its own patented medications. It is also the leading first-to-market generic drug player with a proven track record in international markets.</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blipFill dpi="0" rotWithShape="1">
                      <a:blip r:embed="rId3">
                        <a:extLst>
                          <a:ext uri="{28A0092B-C50C-407E-A947-70E740481C1C}">
                            <a14:useLocalDpi xmlns:a14="http://schemas.microsoft.com/office/drawing/2010/main" val="0"/>
                          </a:ext>
                        </a:extLst>
                      </a:blip>
                      <a:srcRect/>
                      <a:stretch>
                        <a:fillRect/>
                      </a:stretch>
                    </a:blipFill>
                  </a:tcPr>
                </a:tc>
                <a:extLst>
                  <a:ext uri="{0D108BD9-81ED-4DB2-BD59-A6C34878D82A}">
                    <a16:rowId xmlns:a16="http://schemas.microsoft.com/office/drawing/2014/main" val="10003"/>
                  </a:ext>
                </a:extLst>
              </a:tr>
            </a:tbl>
          </a:graphicData>
        </a:graphic>
      </p:graphicFrame>
      <p:pic>
        <p:nvPicPr>
          <p:cNvPr id="12" name="Grafik 10">
            <a:extLst>
              <a:ext uri="{FF2B5EF4-FFF2-40B4-BE49-F238E27FC236}">
                <a16:creationId xmlns:a16="http://schemas.microsoft.com/office/drawing/2014/main" id="{34FC62CA-4DD3-1C44-B51B-5465CB9C741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7420" y="5230323"/>
            <a:ext cx="1182501" cy="697239"/>
          </a:xfrm>
          <a:prstGeom prst="rect">
            <a:avLst/>
          </a:prstGeom>
        </p:spPr>
      </p:pic>
      <p:pic>
        <p:nvPicPr>
          <p:cNvPr id="13" name="Grafik 11">
            <a:extLst>
              <a:ext uri="{FF2B5EF4-FFF2-40B4-BE49-F238E27FC236}">
                <a16:creationId xmlns:a16="http://schemas.microsoft.com/office/drawing/2014/main" id="{73EABCF4-4B07-644A-BAEC-E87151C2684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30995" b="27887"/>
          <a:stretch/>
        </p:blipFill>
        <p:spPr>
          <a:xfrm>
            <a:off x="627420" y="4214516"/>
            <a:ext cx="1705843" cy="746511"/>
          </a:xfrm>
          <a:prstGeom prst="rect">
            <a:avLst/>
          </a:prstGeom>
        </p:spPr>
      </p:pic>
      <p:pic>
        <p:nvPicPr>
          <p:cNvPr id="14" name="Picture 3">
            <a:extLst>
              <a:ext uri="{FF2B5EF4-FFF2-40B4-BE49-F238E27FC236}">
                <a16:creationId xmlns:a16="http://schemas.microsoft.com/office/drawing/2014/main" id="{14BD15E7-B411-1549-87D4-CC78B56FCB63}"/>
              </a:ext>
            </a:extLst>
          </p:cNvPr>
          <p:cNvPicPr>
            <a:picLocks noChangeAspect="1"/>
          </p:cNvPicPr>
          <p:nvPr/>
        </p:nvPicPr>
        <p:blipFill>
          <a:blip r:embed="rId6"/>
          <a:stretch>
            <a:fillRect/>
          </a:stretch>
        </p:blipFill>
        <p:spPr>
          <a:xfrm>
            <a:off x="627420" y="2975400"/>
            <a:ext cx="1023409" cy="823877"/>
          </a:xfrm>
          <a:prstGeom prst="rect">
            <a:avLst/>
          </a:prstGeom>
        </p:spPr>
      </p:pic>
      <p:pic>
        <p:nvPicPr>
          <p:cNvPr id="15" name="Picture 8">
            <a:extLst>
              <a:ext uri="{FF2B5EF4-FFF2-40B4-BE49-F238E27FC236}">
                <a16:creationId xmlns:a16="http://schemas.microsoft.com/office/drawing/2014/main" id="{7D0B9DD9-DD1D-A34C-AADF-FCEA41DA4F1C}"/>
              </a:ext>
            </a:extLst>
          </p:cNvPr>
          <p:cNvPicPr>
            <a:picLocks noChangeAspect="1"/>
          </p:cNvPicPr>
          <p:nvPr/>
        </p:nvPicPr>
        <p:blipFill rotWithShape="1">
          <a:blip r:embed="rId7"/>
          <a:srcRect l="20246" t="35626" r="17072" b="25638"/>
          <a:stretch/>
        </p:blipFill>
        <p:spPr>
          <a:xfrm>
            <a:off x="627420" y="1992542"/>
            <a:ext cx="1784386" cy="567619"/>
          </a:xfrm>
          <a:prstGeom prst="rect">
            <a:avLst/>
          </a:prstGeom>
        </p:spPr>
      </p:pic>
    </p:spTree>
    <p:extLst>
      <p:ext uri="{BB962C8B-B14F-4D97-AF65-F5344CB8AC3E}">
        <p14:creationId xmlns:p14="http://schemas.microsoft.com/office/powerpoint/2010/main" val="32716863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a:extLst>
              <a:ext uri="{FF2B5EF4-FFF2-40B4-BE49-F238E27FC236}">
                <a16:creationId xmlns:a16="http://schemas.microsoft.com/office/drawing/2014/main" id="{ED7C41BB-9A95-4F71-B627-374AF755761B}"/>
              </a:ext>
            </a:extLst>
          </p:cNvPr>
          <p:cNvGraphicFramePr>
            <a:graphicFrameLocks noChangeAspect="1"/>
          </p:cNvGraphicFramePr>
          <p:nvPr>
            <p:extLst>
              <p:ext uri="{D42A27DB-BD31-4B8C-83A1-F6EECF244321}">
                <p14:modId xmlns:p14="http://schemas.microsoft.com/office/powerpoint/2010/main" val="3625185974"/>
              </p:ext>
            </p:extLst>
          </p:nvPr>
        </p:nvGraphicFramePr>
        <p:xfrm>
          <a:off x="3970338" y="3017838"/>
          <a:ext cx="4572000" cy="2743200"/>
        </p:xfrm>
        <a:graphic>
          <a:graphicData uri="http://schemas.openxmlformats.org/presentationml/2006/ole">
            <mc:AlternateContent xmlns:mc="http://schemas.openxmlformats.org/markup-compatibility/2006">
              <mc:Choice xmlns:v="urn:schemas-microsoft-com:vml" Requires="v">
                <p:oleObj name="Worksheet" r:id="rId2" imgW="4572000" imgH="2743200" progId="Excel.Sheet.12">
                  <p:link updateAutomatic="1"/>
                </p:oleObj>
              </mc:Choice>
              <mc:Fallback>
                <p:oleObj name="Worksheet" r:id="rId2" imgW="4572000" imgH="2743200" progId="Excel.Sheet.12">
                  <p:link updateAutomatic="1"/>
                  <p:pic>
                    <p:nvPicPr>
                      <p:cNvPr id="0" name=""/>
                      <p:cNvPicPr/>
                      <p:nvPr/>
                    </p:nvPicPr>
                    <p:blipFill>
                      <a:blip r:embed="rId3"/>
                      <a:stretch>
                        <a:fillRect/>
                      </a:stretch>
                    </p:blipFill>
                    <p:spPr>
                      <a:xfrm>
                        <a:off x="3970338" y="3017838"/>
                        <a:ext cx="4572000" cy="2743200"/>
                      </a:xfrm>
                      <a:prstGeom prst="rect">
                        <a:avLst/>
                      </a:prstGeom>
                    </p:spPr>
                  </p:pic>
                </p:oleObj>
              </mc:Fallback>
            </mc:AlternateContent>
          </a:graphicData>
        </a:graphic>
      </p:graphicFrame>
      <p:graphicFrame>
        <p:nvGraphicFramePr>
          <p:cNvPr id="7" name="Objekt 6">
            <a:extLst>
              <a:ext uri="{FF2B5EF4-FFF2-40B4-BE49-F238E27FC236}">
                <a16:creationId xmlns:a16="http://schemas.microsoft.com/office/drawing/2014/main" id="{94EB4902-4EAD-4DF0-98EF-FFC290D9D1F8}"/>
              </a:ext>
            </a:extLst>
          </p:cNvPr>
          <p:cNvGraphicFramePr>
            <a:graphicFrameLocks noChangeAspect="1"/>
          </p:cNvGraphicFramePr>
          <p:nvPr>
            <p:extLst>
              <p:ext uri="{D42A27DB-BD31-4B8C-83A1-F6EECF244321}">
                <p14:modId xmlns:p14="http://schemas.microsoft.com/office/powerpoint/2010/main" val="1326146827"/>
              </p:ext>
            </p:extLst>
          </p:nvPr>
        </p:nvGraphicFramePr>
        <p:xfrm>
          <a:off x="-234950" y="2957513"/>
          <a:ext cx="4572000" cy="2743200"/>
        </p:xfrm>
        <a:graphic>
          <a:graphicData uri="http://schemas.openxmlformats.org/presentationml/2006/ole">
            <mc:AlternateContent xmlns:mc="http://schemas.openxmlformats.org/markup-compatibility/2006">
              <mc:Choice xmlns:v="urn:schemas-microsoft-com:vml" Requires="v">
                <p:oleObj name="Worksheet" r:id="rId4" imgW="4572000" imgH="2743200" progId="Excel.Sheet.12">
                  <p:link updateAutomatic="1"/>
                </p:oleObj>
              </mc:Choice>
              <mc:Fallback>
                <p:oleObj name="Worksheet" r:id="rId4" imgW="4572000" imgH="2743200" progId="Excel.Sheet.12">
                  <p:link updateAutomatic="1"/>
                  <p:pic>
                    <p:nvPicPr>
                      <p:cNvPr id="0" name=""/>
                      <p:cNvPicPr/>
                      <p:nvPr/>
                    </p:nvPicPr>
                    <p:blipFill>
                      <a:blip r:embed="rId5"/>
                      <a:stretch>
                        <a:fillRect/>
                      </a:stretch>
                    </p:blipFill>
                    <p:spPr>
                      <a:xfrm>
                        <a:off x="-234950" y="2957513"/>
                        <a:ext cx="4572000" cy="2743200"/>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EDB3BB6-2989-4EB1-8B78-E95C6B1119DA}"/>
              </a:ext>
            </a:extLst>
          </p:cNvPr>
          <p:cNvSpPr>
            <a:spLocks noGrp="1"/>
          </p:cNvSpPr>
          <p:nvPr>
            <p:ph type="title"/>
          </p:nvPr>
        </p:nvSpPr>
        <p:spPr>
          <a:xfrm>
            <a:off x="370840" y="654050"/>
            <a:ext cx="7390921" cy="475258"/>
          </a:xfrm>
        </p:spPr>
        <p:txBody>
          <a:bodyPr/>
          <a:lstStyle/>
          <a:p>
            <a:r>
              <a:rPr lang="de-DE" sz="3100" kern="1200" dirty="0"/>
              <a:t>Market </a:t>
            </a:r>
            <a:r>
              <a:rPr lang="de-DE" sz="3100" kern="1200" dirty="0" err="1"/>
              <a:t>capitalisation</a:t>
            </a:r>
            <a:r>
              <a:rPr lang="de-DE" sz="3100" kern="1200" dirty="0"/>
              <a:t> and </a:t>
            </a:r>
            <a:r>
              <a:rPr lang="de-DE" sz="3100" kern="1200" dirty="0" err="1"/>
              <a:t>country</a:t>
            </a:r>
            <a:r>
              <a:rPr lang="de-DE" sz="3100" kern="1200" dirty="0"/>
              <a:t> </a:t>
            </a:r>
            <a:r>
              <a:rPr lang="de-DE" sz="3100" kern="1200" dirty="0" err="1"/>
              <a:t>allocation</a:t>
            </a:r>
            <a:endParaRPr lang="de-DE" sz="3100" kern="1200" dirty="0"/>
          </a:p>
        </p:txBody>
      </p:sp>
      <p:sp>
        <p:nvSpPr>
          <p:cNvPr id="3" name="Textfeld 2">
            <a:extLst>
              <a:ext uri="{FF2B5EF4-FFF2-40B4-BE49-F238E27FC236}">
                <a16:creationId xmlns:a16="http://schemas.microsoft.com/office/drawing/2014/main" id="{3E80FBDB-18D5-42D3-9023-C53B2D341AD9}"/>
              </a:ext>
            </a:extLst>
          </p:cNvPr>
          <p:cNvSpPr txBox="1"/>
          <p:nvPr/>
        </p:nvSpPr>
        <p:spPr>
          <a:xfrm>
            <a:off x="434340" y="2423160"/>
            <a:ext cx="2339340" cy="276999"/>
          </a:xfrm>
          <a:prstGeom prst="rect">
            <a:avLst/>
          </a:prstGeom>
          <a:noFill/>
        </p:spPr>
        <p:txBody>
          <a:bodyPr wrap="square" rtlCol="0">
            <a:spAutoFit/>
          </a:bodyPr>
          <a:lstStyle/>
          <a:p>
            <a:r>
              <a:rPr lang="de-DE" dirty="0">
                <a:latin typeface="Gill Sans MT" panose="020B0502020104020203" pitchFamily="34" charset="0"/>
              </a:rPr>
              <a:t>Market </a:t>
            </a:r>
            <a:r>
              <a:rPr lang="de-DE" dirty="0" err="1">
                <a:latin typeface="Gill Sans MT" panose="020B0502020104020203" pitchFamily="34" charset="0"/>
              </a:rPr>
              <a:t>capitalisation</a:t>
            </a:r>
            <a:r>
              <a:rPr lang="de-DE" dirty="0">
                <a:latin typeface="Gill Sans MT" panose="020B0502020104020203" pitchFamily="34" charset="0"/>
              </a:rPr>
              <a:t> in %</a:t>
            </a:r>
          </a:p>
        </p:txBody>
      </p:sp>
      <p:sp>
        <p:nvSpPr>
          <p:cNvPr id="4" name="Textfeld 3">
            <a:extLst>
              <a:ext uri="{FF2B5EF4-FFF2-40B4-BE49-F238E27FC236}">
                <a16:creationId xmlns:a16="http://schemas.microsoft.com/office/drawing/2014/main" id="{004597A7-95F9-4DB1-B394-3D0CC2B89228}"/>
              </a:ext>
            </a:extLst>
          </p:cNvPr>
          <p:cNvSpPr txBox="1"/>
          <p:nvPr/>
        </p:nvSpPr>
        <p:spPr>
          <a:xfrm>
            <a:off x="4549140" y="2437060"/>
            <a:ext cx="2339340" cy="276999"/>
          </a:xfrm>
          <a:prstGeom prst="rect">
            <a:avLst/>
          </a:prstGeom>
          <a:noFill/>
        </p:spPr>
        <p:txBody>
          <a:bodyPr wrap="square" rtlCol="0">
            <a:spAutoFit/>
          </a:bodyPr>
          <a:lstStyle/>
          <a:p>
            <a:r>
              <a:rPr lang="de-DE" dirty="0">
                <a:latin typeface="Gill Sans MT" panose="020B0502020104020203" pitchFamily="34" charset="0"/>
              </a:rPr>
              <a:t>Country </a:t>
            </a:r>
            <a:r>
              <a:rPr lang="de-DE" dirty="0" err="1">
                <a:latin typeface="Gill Sans MT" panose="020B0502020104020203" pitchFamily="34" charset="0"/>
              </a:rPr>
              <a:t>allocation</a:t>
            </a:r>
            <a:r>
              <a:rPr lang="de-DE" dirty="0">
                <a:latin typeface="Gill Sans MT" panose="020B0502020104020203" pitchFamily="34" charset="0"/>
              </a:rPr>
              <a:t> in %</a:t>
            </a:r>
          </a:p>
        </p:txBody>
      </p:sp>
      <p:sp>
        <p:nvSpPr>
          <p:cNvPr id="8" name="Textfeld 7">
            <a:extLst>
              <a:ext uri="{FF2B5EF4-FFF2-40B4-BE49-F238E27FC236}">
                <a16:creationId xmlns:a16="http://schemas.microsoft.com/office/drawing/2014/main" id="{EC012130-C40C-455E-B4A2-586A983684E0}"/>
              </a:ext>
            </a:extLst>
          </p:cNvPr>
          <p:cNvSpPr txBox="1"/>
          <p:nvPr/>
        </p:nvSpPr>
        <p:spPr>
          <a:xfrm>
            <a:off x="3664004" y="4018613"/>
            <a:ext cx="980600" cy="738664"/>
          </a:xfrm>
          <a:prstGeom prst="rect">
            <a:avLst/>
          </a:prstGeom>
          <a:noFill/>
        </p:spPr>
        <p:txBody>
          <a:bodyPr wrap="square" rtlCol="0">
            <a:spAutoFit/>
          </a:bodyPr>
          <a:lstStyle/>
          <a:p>
            <a:r>
              <a:rPr lang="de-DE" sz="900" dirty="0"/>
              <a:t>(&gt;100 </a:t>
            </a:r>
            <a:r>
              <a:rPr lang="de-DE" sz="900" dirty="0" err="1"/>
              <a:t>bn</a:t>
            </a:r>
            <a:r>
              <a:rPr lang="de-DE" sz="900" dirty="0"/>
              <a:t> €)</a:t>
            </a:r>
          </a:p>
          <a:p>
            <a:endParaRPr lang="de-DE" sz="800" dirty="0"/>
          </a:p>
          <a:p>
            <a:r>
              <a:rPr lang="de-DE" sz="900" dirty="0"/>
              <a:t>(10-100 </a:t>
            </a:r>
            <a:r>
              <a:rPr lang="de-DE" sz="900" dirty="0" err="1"/>
              <a:t>bn</a:t>
            </a:r>
            <a:r>
              <a:rPr lang="de-DE" sz="900" dirty="0"/>
              <a:t> €)</a:t>
            </a:r>
          </a:p>
          <a:p>
            <a:endParaRPr lang="de-DE" sz="700" dirty="0"/>
          </a:p>
          <a:p>
            <a:r>
              <a:rPr lang="de-DE" sz="900" dirty="0"/>
              <a:t>(1-10 </a:t>
            </a:r>
            <a:r>
              <a:rPr lang="de-DE" sz="900" dirty="0" err="1"/>
              <a:t>bn</a:t>
            </a:r>
            <a:r>
              <a:rPr lang="de-DE" sz="900" dirty="0"/>
              <a:t> €)</a:t>
            </a:r>
          </a:p>
        </p:txBody>
      </p:sp>
      <p:sp>
        <p:nvSpPr>
          <p:cNvPr id="10" name="Textfeld 9">
            <a:extLst>
              <a:ext uri="{FF2B5EF4-FFF2-40B4-BE49-F238E27FC236}">
                <a16:creationId xmlns:a16="http://schemas.microsoft.com/office/drawing/2014/main" id="{7CCCCC16-CD92-4B55-91CA-5A3CB7C19C51}"/>
              </a:ext>
            </a:extLst>
          </p:cNvPr>
          <p:cNvSpPr txBox="1"/>
          <p:nvPr/>
        </p:nvSpPr>
        <p:spPr>
          <a:xfrm>
            <a:off x="418782" y="6203950"/>
            <a:ext cx="1684655" cy="246221"/>
          </a:xfrm>
          <a:prstGeom prst="rect">
            <a:avLst/>
          </a:prstGeom>
          <a:noFill/>
        </p:spPr>
        <p:txBody>
          <a:bodyPr wrap="square" rtlCol="0">
            <a:spAutoFit/>
          </a:bodyPr>
          <a:lstStyle/>
          <a:p>
            <a:r>
              <a:rPr lang="de-DE" sz="1000" dirty="0"/>
              <a:t>As </a:t>
            </a:r>
            <a:r>
              <a:rPr lang="de-DE" sz="1000" dirty="0" err="1"/>
              <a:t>of</a:t>
            </a:r>
            <a:r>
              <a:rPr lang="de-DE" sz="1000" dirty="0"/>
              <a:t>: 31 </a:t>
            </a:r>
            <a:r>
              <a:rPr lang="de-DE" sz="1000" dirty="0" err="1"/>
              <a:t>December</a:t>
            </a:r>
            <a:r>
              <a:rPr lang="de-DE" sz="1000" dirty="0"/>
              <a:t> 2020</a:t>
            </a:r>
          </a:p>
        </p:txBody>
      </p:sp>
      <p:sp>
        <p:nvSpPr>
          <p:cNvPr id="11" name="Textfeld 10">
            <a:extLst>
              <a:ext uri="{FF2B5EF4-FFF2-40B4-BE49-F238E27FC236}">
                <a16:creationId xmlns:a16="http://schemas.microsoft.com/office/drawing/2014/main" id="{2969705C-A008-469A-8FA0-888D710C7F6F}"/>
              </a:ext>
            </a:extLst>
          </p:cNvPr>
          <p:cNvSpPr txBox="1"/>
          <p:nvPr/>
        </p:nvSpPr>
        <p:spPr>
          <a:xfrm>
            <a:off x="4434522" y="6203950"/>
            <a:ext cx="1684655" cy="246221"/>
          </a:xfrm>
          <a:prstGeom prst="rect">
            <a:avLst/>
          </a:prstGeom>
          <a:noFill/>
        </p:spPr>
        <p:txBody>
          <a:bodyPr wrap="square" rtlCol="0">
            <a:spAutoFit/>
          </a:bodyPr>
          <a:lstStyle/>
          <a:p>
            <a:r>
              <a:rPr lang="de-DE" sz="1000" dirty="0"/>
              <a:t>As </a:t>
            </a:r>
            <a:r>
              <a:rPr lang="de-DE" sz="1000" dirty="0" err="1"/>
              <a:t>of</a:t>
            </a:r>
            <a:r>
              <a:rPr lang="de-DE" sz="1000" dirty="0"/>
              <a:t>: 31 </a:t>
            </a:r>
            <a:r>
              <a:rPr lang="de-DE" sz="1000" dirty="0" err="1"/>
              <a:t>January</a:t>
            </a:r>
            <a:r>
              <a:rPr lang="de-DE" sz="1000" dirty="0"/>
              <a:t> 2021</a:t>
            </a:r>
          </a:p>
        </p:txBody>
      </p:sp>
    </p:spTree>
    <p:extLst>
      <p:ext uri="{BB962C8B-B14F-4D97-AF65-F5344CB8AC3E}">
        <p14:creationId xmlns:p14="http://schemas.microsoft.com/office/powerpoint/2010/main" val="15953848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688981" y="2952671"/>
            <a:ext cx="5854698" cy="533479"/>
          </a:xfrm>
          <a:noFill/>
        </p:spPr>
        <p:txBody>
          <a:bodyPr/>
          <a:lstStyle/>
          <a:p>
            <a:r>
              <a:rPr lang="en-GB" dirty="0"/>
              <a:t>Conclusion</a:t>
            </a:r>
          </a:p>
        </p:txBody>
      </p:sp>
    </p:spTree>
    <p:extLst>
      <p:ext uri="{BB962C8B-B14F-4D97-AF65-F5344CB8AC3E}">
        <p14:creationId xmlns:p14="http://schemas.microsoft.com/office/powerpoint/2010/main" val="33504614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72515" y="1025525"/>
            <a:ext cx="7570837" cy="993775"/>
          </a:xfrm>
        </p:spPr>
        <p:txBody>
          <a:bodyPr/>
          <a:lstStyle/>
          <a:p>
            <a:r>
              <a:rPr lang="en-GB" sz="2800" dirty="0"/>
              <a:t>With the ACATIS QILIN Marco Polo Asien Fonds, you gain exposure to the old and new global power that is China and Asia</a:t>
            </a:r>
            <a:br>
              <a:rPr lang="en-GB" sz="2800" dirty="0"/>
            </a:br>
            <a:endParaRPr lang="en-GB" sz="2800" dirty="0"/>
          </a:p>
        </p:txBody>
      </p:sp>
      <p:sp>
        <p:nvSpPr>
          <p:cNvPr id="3" name="Inhaltsplatzhalter 2"/>
          <p:cNvSpPr>
            <a:spLocks noGrp="1"/>
          </p:cNvSpPr>
          <p:nvPr>
            <p:ph idx="1"/>
          </p:nvPr>
        </p:nvSpPr>
        <p:spPr>
          <a:xfrm>
            <a:off x="385216" y="2365375"/>
            <a:ext cx="6837363" cy="354980"/>
          </a:xfrm>
        </p:spPr>
        <p:txBody>
          <a:bodyPr/>
          <a:lstStyle/>
          <a:p>
            <a:pPr marL="0" indent="0">
              <a:buNone/>
            </a:pPr>
            <a:r>
              <a:rPr lang="en-GB" sz="1400" dirty="0">
                <a:latin typeface="Gill Sans MT" pitchFamily="34" charset="0"/>
              </a:rPr>
              <a:t>One Road, One Belt – China’s new Silk Road</a:t>
            </a:r>
          </a:p>
        </p:txBody>
      </p:sp>
      <p:pic>
        <p:nvPicPr>
          <p:cNvPr id="5"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488950" y="2800350"/>
            <a:ext cx="4800600" cy="3248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feld 5"/>
          <p:cNvSpPr txBox="1"/>
          <p:nvPr/>
        </p:nvSpPr>
        <p:spPr>
          <a:xfrm>
            <a:off x="374650" y="6448424"/>
            <a:ext cx="4686300" cy="246221"/>
          </a:xfrm>
          <a:prstGeom prst="rect">
            <a:avLst/>
          </a:prstGeom>
          <a:noFill/>
        </p:spPr>
        <p:txBody>
          <a:bodyPr wrap="square" rtlCol="0">
            <a:spAutoFit/>
          </a:bodyPr>
          <a:lstStyle/>
          <a:p>
            <a:r>
              <a:rPr lang="en-GB" sz="1000" dirty="0"/>
              <a:t>Source: Belt and Road Portal, China‘s National Development and Reform Commission</a:t>
            </a:r>
          </a:p>
        </p:txBody>
      </p:sp>
      <p:sp>
        <p:nvSpPr>
          <p:cNvPr id="7" name="Textfeld 6"/>
          <p:cNvSpPr txBox="1"/>
          <p:nvPr/>
        </p:nvSpPr>
        <p:spPr>
          <a:xfrm>
            <a:off x="5785153" y="4491675"/>
            <a:ext cx="1860826" cy="246221"/>
          </a:xfrm>
          <a:prstGeom prst="rect">
            <a:avLst/>
          </a:prstGeom>
          <a:noFill/>
        </p:spPr>
        <p:txBody>
          <a:bodyPr wrap="square" rtlCol="0">
            <a:spAutoFit/>
          </a:bodyPr>
          <a:lstStyle/>
          <a:p>
            <a:r>
              <a:rPr lang="en-GB" sz="1000" dirty="0"/>
              <a:t>New Silk Road - on the water</a:t>
            </a:r>
          </a:p>
        </p:txBody>
      </p:sp>
      <p:sp>
        <p:nvSpPr>
          <p:cNvPr id="8" name="Textfeld 7"/>
          <p:cNvSpPr txBox="1"/>
          <p:nvPr/>
        </p:nvSpPr>
        <p:spPr>
          <a:xfrm>
            <a:off x="5785153" y="4122343"/>
            <a:ext cx="1860826" cy="246221"/>
          </a:xfrm>
          <a:prstGeom prst="rect">
            <a:avLst/>
          </a:prstGeom>
          <a:noFill/>
        </p:spPr>
        <p:txBody>
          <a:bodyPr wrap="square" rtlCol="0">
            <a:spAutoFit/>
          </a:bodyPr>
          <a:lstStyle/>
          <a:p>
            <a:r>
              <a:rPr lang="en-GB" sz="1000" dirty="0"/>
              <a:t>New Silk Road - on the road</a:t>
            </a:r>
          </a:p>
        </p:txBody>
      </p:sp>
      <p:cxnSp>
        <p:nvCxnSpPr>
          <p:cNvPr id="14" name="Gerade Verbindung 13"/>
          <p:cNvCxnSpPr/>
          <p:nvPr/>
        </p:nvCxnSpPr>
        <p:spPr bwMode="auto">
          <a:xfrm>
            <a:off x="5613041" y="4245454"/>
            <a:ext cx="222637" cy="0"/>
          </a:xfrm>
          <a:prstGeom prst="line">
            <a:avLst/>
          </a:prstGeom>
          <a:solidFill>
            <a:schemeClr val="accent1"/>
          </a:solidFill>
          <a:ln w="254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Gerade Verbindung 14"/>
          <p:cNvCxnSpPr/>
          <p:nvPr/>
        </p:nvCxnSpPr>
        <p:spPr bwMode="auto">
          <a:xfrm>
            <a:off x="5632753" y="4614785"/>
            <a:ext cx="222637" cy="0"/>
          </a:xfrm>
          <a:prstGeom prst="line">
            <a:avLst/>
          </a:prstGeom>
          <a:solidFill>
            <a:schemeClr val="accent1"/>
          </a:solidFill>
          <a:ln w="254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1748543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CCCC50-A38D-D642-BADA-0DC916ED9DD7}"/>
              </a:ext>
            </a:extLst>
          </p:cNvPr>
          <p:cNvSpPr>
            <a:spLocks noGrp="1"/>
          </p:cNvSpPr>
          <p:nvPr>
            <p:ph type="title"/>
          </p:nvPr>
        </p:nvSpPr>
        <p:spPr>
          <a:xfrm>
            <a:off x="387952" y="387379"/>
            <a:ext cx="7727804" cy="884538"/>
          </a:xfrm>
        </p:spPr>
        <p:txBody>
          <a:bodyPr/>
          <a:lstStyle/>
          <a:p>
            <a:r>
              <a:rPr lang="en-GB" dirty="0"/>
              <a:t>With the ACATIS QILIN Marco Polo </a:t>
            </a:r>
            <a:r>
              <a:rPr lang="en-GB" dirty="0" err="1"/>
              <a:t>Asien</a:t>
            </a:r>
            <a:r>
              <a:rPr lang="en-GB" dirty="0"/>
              <a:t> Fonds, you gain exposure to the country that will dominate ten key industries by 2025</a:t>
            </a:r>
            <a:endParaRPr lang="de-DE" dirty="0"/>
          </a:p>
        </p:txBody>
      </p:sp>
      <p:sp>
        <p:nvSpPr>
          <p:cNvPr id="24" name="Textfeld 3">
            <a:extLst>
              <a:ext uri="{FF2B5EF4-FFF2-40B4-BE49-F238E27FC236}">
                <a16:creationId xmlns:a16="http://schemas.microsoft.com/office/drawing/2014/main" id="{2018D7FF-D2A3-024F-A0F0-D5867C118A2D}"/>
              </a:ext>
            </a:extLst>
          </p:cNvPr>
          <p:cNvSpPr txBox="1"/>
          <p:nvPr/>
        </p:nvSpPr>
        <p:spPr>
          <a:xfrm>
            <a:off x="406963" y="6453506"/>
            <a:ext cx="3936437" cy="246221"/>
          </a:xfrm>
          <a:prstGeom prst="rect">
            <a:avLst/>
          </a:prstGeom>
          <a:noFill/>
        </p:spPr>
        <p:txBody>
          <a:bodyPr wrap="square" rtlCol="0">
            <a:spAutoFit/>
          </a:bodyPr>
          <a:lstStyle/>
          <a:p>
            <a:r>
              <a:rPr lang="en-US" sz="1000">
                <a:latin typeface="+mn-lt"/>
              </a:rPr>
              <a:t>Source: Qilin Capital analysis</a:t>
            </a:r>
          </a:p>
        </p:txBody>
      </p:sp>
      <p:pic>
        <p:nvPicPr>
          <p:cNvPr id="25" name="Picture 24">
            <a:extLst>
              <a:ext uri="{FF2B5EF4-FFF2-40B4-BE49-F238E27FC236}">
                <a16:creationId xmlns:a16="http://schemas.microsoft.com/office/drawing/2014/main" id="{226578AF-2F25-5D4A-8A1F-EBE2673FA203}"/>
              </a:ext>
            </a:extLst>
          </p:cNvPr>
          <p:cNvPicPr>
            <a:picLocks noChangeAspect="1"/>
          </p:cNvPicPr>
          <p:nvPr/>
        </p:nvPicPr>
        <p:blipFill>
          <a:blip r:embed="rId2"/>
          <a:stretch>
            <a:fillRect/>
          </a:stretch>
        </p:blipFill>
        <p:spPr>
          <a:xfrm>
            <a:off x="6389701" y="1588124"/>
            <a:ext cx="1598920" cy="950560"/>
          </a:xfrm>
          <a:prstGeom prst="rect">
            <a:avLst/>
          </a:prstGeom>
        </p:spPr>
      </p:pic>
      <p:pic>
        <p:nvPicPr>
          <p:cNvPr id="26" name="Picture 25">
            <a:extLst>
              <a:ext uri="{FF2B5EF4-FFF2-40B4-BE49-F238E27FC236}">
                <a16:creationId xmlns:a16="http://schemas.microsoft.com/office/drawing/2014/main" id="{404C2F42-EE3D-B944-98A3-2D740D33C4B4}"/>
              </a:ext>
            </a:extLst>
          </p:cNvPr>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3874" y="2225492"/>
            <a:ext cx="723900" cy="733425"/>
          </a:xfrm>
          <a:prstGeom prst="rect">
            <a:avLst/>
          </a:prstGeom>
          <a:noFill/>
          <a:ln>
            <a:noFill/>
          </a:ln>
          <a:effectLst/>
        </p:spPr>
      </p:pic>
      <p:pic>
        <p:nvPicPr>
          <p:cNvPr id="27" name="Picture 26" descr="C:\Users\sri\Documents\Makro-Charts\China\Illustrationen\Schlüsseltechnos\Maschinen für die Landwirtschaft;.jpg">
            <a:extLst>
              <a:ext uri="{FF2B5EF4-FFF2-40B4-BE49-F238E27FC236}">
                <a16:creationId xmlns:a16="http://schemas.microsoft.com/office/drawing/2014/main" id="{33A07B77-6AB6-1947-879F-6BD3F89364EA}"/>
              </a:ext>
            </a:extLst>
          </p:cNvPr>
          <p:cNvPicPr>
            <a:picLocks noChangeAspect="1" noChangeArrowheads="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3874" y="3011304"/>
            <a:ext cx="704851" cy="762000"/>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27" descr="C:\Users\sri\Documents\Makro-Charts\China\Illustrationen\Schlüsseltechnos\Schiffbau und Meerestechnik.jpg">
            <a:extLst>
              <a:ext uri="{FF2B5EF4-FFF2-40B4-BE49-F238E27FC236}">
                <a16:creationId xmlns:a16="http://schemas.microsoft.com/office/drawing/2014/main" id="{D7D70080-3586-1B46-92E0-1E09531F268B}"/>
              </a:ext>
            </a:extLst>
          </p:cNvPr>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0064" y="5468755"/>
            <a:ext cx="714375" cy="762000"/>
          </a:xfrm>
          <a:prstGeom prst="rect">
            <a:avLst/>
          </a:prstGeom>
          <a:noFill/>
          <a:extLst>
            <a:ext uri="{909E8E84-426E-40dd-AFC4-6F175D3DCCD1}">
              <a14:hiddenFill xmlns:a14="http://schemas.microsoft.com/office/drawing/2010/main" xmlns="">
                <a:solidFill>
                  <a:srgbClr val="FFFFFF"/>
                </a:solidFill>
              </a14:hiddenFill>
            </a:ext>
          </a:extLst>
        </p:spPr>
      </p:pic>
      <p:pic>
        <p:nvPicPr>
          <p:cNvPr id="29" name="Picture 19" descr="C:\Users\sri\Documents\Makro-Charts\China\Illustrationen\Schlüsseltechnos\Luft- und Raumfahrttechnik.jpg">
            <a:extLst>
              <a:ext uri="{FF2B5EF4-FFF2-40B4-BE49-F238E27FC236}">
                <a16:creationId xmlns:a16="http://schemas.microsoft.com/office/drawing/2014/main" id="{694AA449-6DFE-E148-9AF2-BE09DDDB69C1}"/>
              </a:ext>
            </a:extLst>
          </p:cNvPr>
          <p:cNvPicPr>
            <a:picLocks noChangeAspect="1" noChangeArrowheads="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9388" y="4654246"/>
            <a:ext cx="714375" cy="704851"/>
          </a:xfrm>
          <a:prstGeom prst="rect">
            <a:avLst/>
          </a:prstGeom>
          <a:noFill/>
          <a:extLst>
            <a:ext uri="{909E8E84-426E-40dd-AFC4-6F175D3DCCD1}">
              <a14:hiddenFill xmlns:a14="http://schemas.microsoft.com/office/drawing/2010/main" xmlns="">
                <a:solidFill>
                  <a:srgbClr val="FFFFFF"/>
                </a:solidFill>
              </a14:hiddenFill>
            </a:ext>
          </a:extLst>
        </p:spPr>
      </p:pic>
      <p:pic>
        <p:nvPicPr>
          <p:cNvPr id="30" name="Picture 22" descr="C:\Users\sri\Documents\Makro-Charts\China\Illustrationen\Schlüsseltechnos\Robotertechnologie.jpg">
            <a:extLst>
              <a:ext uri="{FF2B5EF4-FFF2-40B4-BE49-F238E27FC236}">
                <a16:creationId xmlns:a16="http://schemas.microsoft.com/office/drawing/2014/main" id="{21D44C68-F43A-4340-A48F-9DE9A4C3C373}"/>
              </a:ext>
            </a:extLst>
          </p:cNvPr>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30611" y="3968557"/>
            <a:ext cx="704851" cy="714375"/>
          </a:xfrm>
          <a:prstGeom prst="rect">
            <a:avLst/>
          </a:prstGeom>
          <a:noFill/>
          <a:extLst>
            <a:ext uri="{909E8E84-426E-40dd-AFC4-6F175D3DCCD1}">
              <a14:hiddenFill xmlns:a14="http://schemas.microsoft.com/office/drawing/2010/main" xmlns="">
                <a:solidFill>
                  <a:srgbClr val="FFFFFF"/>
                </a:solidFill>
              </a14:hiddenFill>
            </a:ext>
          </a:extLst>
        </p:spPr>
      </p:pic>
      <p:pic>
        <p:nvPicPr>
          <p:cNvPr id="31" name="Picture 23" descr="C:\Users\sri\Documents\Makro-Charts\China\Illustrationen\Schlüsseltechnos\Schienenverkehr.jpg">
            <a:extLst>
              <a:ext uri="{FF2B5EF4-FFF2-40B4-BE49-F238E27FC236}">
                <a16:creationId xmlns:a16="http://schemas.microsoft.com/office/drawing/2014/main" id="{1906614F-A379-F24D-9B3F-02EA309EACC4}"/>
              </a:ext>
            </a:extLst>
          </p:cNvPr>
          <p:cNvPicPr>
            <a:picLocks noChangeAspect="1" noChangeArrowheads="1"/>
          </p:cNvPicPr>
          <p:nvPr/>
        </p:nvPicPr>
        <p:blipFill>
          <a:blip r:embed="rId8">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6723" y="3805451"/>
            <a:ext cx="762000" cy="790575"/>
          </a:xfrm>
          <a:prstGeom prst="rect">
            <a:avLst/>
          </a:prstGeom>
          <a:noFill/>
          <a:extLst>
            <a:ext uri="{909E8E84-426E-40dd-AFC4-6F175D3DCCD1}">
              <a14:hiddenFill xmlns:a14="http://schemas.microsoft.com/office/drawing/2010/main" xmlns="">
                <a:solidFill>
                  <a:srgbClr val="FFFFFF"/>
                </a:solidFill>
              </a14:hiddenFill>
            </a:ext>
          </a:extLst>
        </p:spPr>
      </p:pic>
      <p:pic>
        <p:nvPicPr>
          <p:cNvPr id="32" name="Picture 25" descr="C:\Users\sri\Documents\Makro-Charts\China\Illustrationen\Schlüsseltechnos\Energieeinsparung und Elektromobilität.jpg">
            <a:extLst>
              <a:ext uri="{FF2B5EF4-FFF2-40B4-BE49-F238E27FC236}">
                <a16:creationId xmlns:a16="http://schemas.microsoft.com/office/drawing/2014/main" id="{F123DF85-85C5-F342-903F-722699A71DE0}"/>
              </a:ext>
            </a:extLst>
          </p:cNvPr>
          <p:cNvPicPr>
            <a:picLocks noChangeAspect="1" noChangeArrowheads="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1564" y="3081544"/>
            <a:ext cx="733425" cy="771525"/>
          </a:xfrm>
          <a:prstGeom prst="rect">
            <a:avLst/>
          </a:prstGeom>
          <a:noFill/>
          <a:extLst>
            <a:ext uri="{909E8E84-426E-40dd-AFC4-6F175D3DCCD1}">
              <a14:hiddenFill xmlns:a14="http://schemas.microsoft.com/office/drawing/2010/main" xmlns="">
                <a:solidFill>
                  <a:srgbClr val="FFFFFF"/>
                </a:solidFill>
              </a14:hiddenFill>
            </a:ext>
          </a:extLst>
        </p:spPr>
      </p:pic>
      <p:pic>
        <p:nvPicPr>
          <p:cNvPr id="33" name="Picture 27" descr="C:\Users\sri\Documents\Makro-Charts\China\Illustrationen\Schlüsseltechnos\Luft- und Raumfahrttechnik.jpg">
            <a:extLst>
              <a:ext uri="{FF2B5EF4-FFF2-40B4-BE49-F238E27FC236}">
                <a16:creationId xmlns:a16="http://schemas.microsoft.com/office/drawing/2014/main" id="{5532882A-46DA-624A-B63E-6FCDEA0827CF}"/>
              </a:ext>
            </a:extLst>
          </p:cNvPr>
          <p:cNvPicPr>
            <a:picLocks noChangeAspect="1" noChangeArrowheads="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21088" y="4754371"/>
            <a:ext cx="714375" cy="704851"/>
          </a:xfrm>
          <a:prstGeom prst="rect">
            <a:avLst/>
          </a:prstGeom>
          <a:noFill/>
          <a:extLst>
            <a:ext uri="{909E8E84-426E-40dd-AFC4-6F175D3DCCD1}">
              <a14:hiddenFill xmlns:a14="http://schemas.microsoft.com/office/drawing/2010/main" xmlns="">
                <a:solidFill>
                  <a:srgbClr val="FFFFFF"/>
                </a:solidFill>
              </a14:hiddenFill>
            </a:ext>
          </a:extLst>
        </p:spPr>
      </p:pic>
      <p:pic>
        <p:nvPicPr>
          <p:cNvPr id="34" name="Picture 28" descr="C:\Users\sri\Documents\Makro-Charts\China\Illustrationen\Schlüsseltechnos\neue Werkstoffe und Materialien;.jpg">
            <a:extLst>
              <a:ext uri="{FF2B5EF4-FFF2-40B4-BE49-F238E27FC236}">
                <a16:creationId xmlns:a16="http://schemas.microsoft.com/office/drawing/2014/main" id="{6612B8E2-B95D-7B43-9C5D-6A60FD753F59}"/>
              </a:ext>
            </a:extLst>
          </p:cNvPr>
          <p:cNvPicPr>
            <a:picLocks noChangeAspect="1" noChangeArrowheads="1"/>
          </p:cNvPicPr>
          <p:nvPr/>
        </p:nvPicPr>
        <p:blipFill>
          <a:blip r:embed="rId10">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67200" y="5498506"/>
            <a:ext cx="666751" cy="723900"/>
          </a:xfrm>
          <a:prstGeom prst="rect">
            <a:avLst/>
          </a:prstGeom>
          <a:noFill/>
          <a:extLst>
            <a:ext uri="{909E8E84-426E-40dd-AFC4-6F175D3DCCD1}">
              <a14:hiddenFill xmlns:a14="http://schemas.microsoft.com/office/drawing/2010/main" xmlns="">
                <a:solidFill>
                  <a:srgbClr val="FFFFFF"/>
                </a:solidFill>
              </a14:hiddenFill>
            </a:ext>
          </a:extLst>
        </p:spPr>
      </p:pic>
      <p:pic>
        <p:nvPicPr>
          <p:cNvPr id="35" name="Picture 29" descr="C:\Users\sri\Documents\Makro-Charts\China\Illustrationen\Schlüsseltechnos\Informations- und Kommunikationstechnologien.jpg">
            <a:extLst>
              <a:ext uri="{FF2B5EF4-FFF2-40B4-BE49-F238E27FC236}">
                <a16:creationId xmlns:a16="http://schemas.microsoft.com/office/drawing/2014/main" id="{796371E5-3341-BA4C-B2F9-1EE588A57C8A}"/>
              </a:ext>
            </a:extLst>
          </p:cNvPr>
          <p:cNvPicPr>
            <a:picLocks noChangeAspect="1" noChangeArrowheads="1"/>
          </p:cNvPicPr>
          <p:nvPr/>
        </p:nvPicPr>
        <p:blipFill>
          <a:blip r:embed="rId11">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94703" y="2318527"/>
            <a:ext cx="657225" cy="695325"/>
          </a:xfrm>
          <a:prstGeom prst="rect">
            <a:avLst/>
          </a:prstGeom>
          <a:noFill/>
          <a:extLst>
            <a:ext uri="{909E8E84-426E-40dd-AFC4-6F175D3DCCD1}">
              <a14:hiddenFill xmlns:a14="http://schemas.microsoft.com/office/drawing/2010/main" xmlns="">
                <a:solidFill>
                  <a:srgbClr val="FFFFFF"/>
                </a:solidFill>
              </a14:hiddenFill>
            </a:ext>
          </a:extLst>
        </p:spPr>
      </p:pic>
      <p:sp>
        <p:nvSpPr>
          <p:cNvPr id="38" name="Ellipse 3">
            <a:extLst>
              <a:ext uri="{FF2B5EF4-FFF2-40B4-BE49-F238E27FC236}">
                <a16:creationId xmlns:a16="http://schemas.microsoft.com/office/drawing/2014/main" id="{27D41ECA-378D-D945-AD5E-168DE6B991DB}"/>
              </a:ext>
            </a:extLst>
          </p:cNvPr>
          <p:cNvSpPr/>
          <p:nvPr/>
        </p:nvSpPr>
        <p:spPr bwMode="auto">
          <a:xfrm>
            <a:off x="4251854" y="4809957"/>
            <a:ext cx="626459" cy="593679"/>
          </a:xfrm>
          <a:prstGeom prst="ellipse">
            <a:avLst/>
          </a:prstGeom>
          <a:solidFill>
            <a:schemeClr val="bg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a:endParaRPr lang="de-DE">
              <a:latin typeface="Gill Sans MT Light" pitchFamily="34" charset="0"/>
            </a:endParaRPr>
          </a:p>
        </p:txBody>
      </p:sp>
      <p:pic>
        <p:nvPicPr>
          <p:cNvPr id="39" name="Grafik 2">
            <a:extLst>
              <a:ext uri="{FF2B5EF4-FFF2-40B4-BE49-F238E27FC236}">
                <a16:creationId xmlns:a16="http://schemas.microsoft.com/office/drawing/2014/main" id="{97C31DC7-415C-CF41-88F0-36F041983C67}"/>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45680" y="4869441"/>
            <a:ext cx="474712" cy="474712"/>
          </a:xfrm>
          <a:prstGeom prst="rect">
            <a:avLst/>
          </a:prstGeom>
          <a:ln>
            <a:noFill/>
          </a:ln>
        </p:spPr>
      </p:pic>
      <p:sp>
        <p:nvSpPr>
          <p:cNvPr id="19" name="Textfeld 4">
            <a:extLst>
              <a:ext uri="{FF2B5EF4-FFF2-40B4-BE49-F238E27FC236}">
                <a16:creationId xmlns:a16="http://schemas.microsoft.com/office/drawing/2014/main" id="{CBC1CBC1-9726-5749-AB39-EF67EFAC6644}"/>
              </a:ext>
            </a:extLst>
          </p:cNvPr>
          <p:cNvSpPr txBox="1"/>
          <p:nvPr/>
        </p:nvSpPr>
        <p:spPr>
          <a:xfrm>
            <a:off x="4868224" y="2513618"/>
            <a:ext cx="3476625" cy="3754874"/>
          </a:xfrm>
          <a:prstGeom prst="rect">
            <a:avLst/>
          </a:prstGeom>
          <a:noFill/>
        </p:spPr>
        <p:txBody>
          <a:bodyPr wrap="square" rtlCol="0">
            <a:spAutoFit/>
          </a:bodyPr>
          <a:lstStyle/>
          <a:p>
            <a:r>
              <a:rPr lang="en-US" sz="1700" dirty="0"/>
              <a:t>Information technology</a:t>
            </a:r>
          </a:p>
          <a:p>
            <a:endParaRPr lang="en-US" sz="1700" dirty="0"/>
          </a:p>
          <a:p>
            <a:endParaRPr lang="en-US" sz="1700" dirty="0"/>
          </a:p>
          <a:p>
            <a:r>
              <a:rPr lang="en-US" sz="1700" dirty="0"/>
              <a:t>Green energy and green vehicles</a:t>
            </a:r>
          </a:p>
          <a:p>
            <a:endParaRPr lang="en-US" sz="1700" dirty="0"/>
          </a:p>
          <a:p>
            <a:endParaRPr lang="en-US" sz="1700" dirty="0"/>
          </a:p>
          <a:p>
            <a:r>
              <a:rPr lang="en-US" sz="1700" dirty="0"/>
              <a:t>Robotics</a:t>
            </a:r>
          </a:p>
          <a:p>
            <a:endParaRPr lang="en-US" sz="1700" dirty="0"/>
          </a:p>
          <a:p>
            <a:endParaRPr lang="en-US" sz="1700" dirty="0"/>
          </a:p>
          <a:p>
            <a:r>
              <a:rPr lang="en-US" sz="1700" dirty="0"/>
              <a:t>Medicine and medical devices</a:t>
            </a:r>
          </a:p>
          <a:p>
            <a:endParaRPr lang="en-US" sz="1700" dirty="0"/>
          </a:p>
          <a:p>
            <a:endParaRPr lang="en-US" sz="1700" dirty="0"/>
          </a:p>
          <a:p>
            <a:r>
              <a:rPr lang="en-US" sz="1700" dirty="0"/>
              <a:t>New Materials</a:t>
            </a:r>
          </a:p>
          <a:p>
            <a:endParaRPr lang="en-US" sz="1700" dirty="0"/>
          </a:p>
        </p:txBody>
      </p:sp>
      <p:sp>
        <p:nvSpPr>
          <p:cNvPr id="20" name="Textfeld 5">
            <a:extLst>
              <a:ext uri="{FF2B5EF4-FFF2-40B4-BE49-F238E27FC236}">
                <a16:creationId xmlns:a16="http://schemas.microsoft.com/office/drawing/2014/main" id="{DE8DE4EC-9BDC-8841-A3CA-039E8A8FCF0D}"/>
              </a:ext>
            </a:extLst>
          </p:cNvPr>
          <p:cNvSpPr txBox="1"/>
          <p:nvPr/>
        </p:nvSpPr>
        <p:spPr>
          <a:xfrm>
            <a:off x="1155379" y="2530879"/>
            <a:ext cx="2971800" cy="3754874"/>
          </a:xfrm>
          <a:prstGeom prst="rect">
            <a:avLst/>
          </a:prstGeom>
          <a:noFill/>
        </p:spPr>
        <p:txBody>
          <a:bodyPr wrap="square" rtlCol="0">
            <a:spAutoFit/>
          </a:bodyPr>
          <a:lstStyle/>
          <a:p>
            <a:r>
              <a:rPr lang="en-US" sz="1700" dirty="0"/>
              <a:t>Power equipment</a:t>
            </a:r>
          </a:p>
          <a:p>
            <a:endParaRPr lang="en-US" sz="1700" dirty="0"/>
          </a:p>
          <a:p>
            <a:endParaRPr lang="en-US" sz="1700" dirty="0"/>
          </a:p>
          <a:p>
            <a:r>
              <a:rPr lang="en-US" sz="1700" dirty="0"/>
              <a:t>Agricultural machinery</a:t>
            </a:r>
          </a:p>
          <a:p>
            <a:endParaRPr lang="en-US" sz="1700" dirty="0"/>
          </a:p>
          <a:p>
            <a:endParaRPr lang="en-US" sz="1700" dirty="0"/>
          </a:p>
          <a:p>
            <a:r>
              <a:rPr lang="en-US" sz="1700" dirty="0"/>
              <a:t>Railway equipment</a:t>
            </a:r>
          </a:p>
          <a:p>
            <a:endParaRPr lang="en-US" sz="1700" dirty="0"/>
          </a:p>
          <a:p>
            <a:endParaRPr lang="en-US" sz="1700" dirty="0"/>
          </a:p>
          <a:p>
            <a:r>
              <a:rPr lang="en-US" sz="1700" dirty="0"/>
              <a:t>Aerospace equipment</a:t>
            </a:r>
          </a:p>
          <a:p>
            <a:endParaRPr lang="en-US" sz="1700" dirty="0"/>
          </a:p>
          <a:p>
            <a:endParaRPr lang="en-US" sz="1700" dirty="0"/>
          </a:p>
          <a:p>
            <a:r>
              <a:rPr lang="en-US" sz="1700" dirty="0"/>
              <a:t>High-tech ships and ocean engineering</a:t>
            </a:r>
          </a:p>
        </p:txBody>
      </p:sp>
      <p:sp>
        <p:nvSpPr>
          <p:cNvPr id="21" name="Inhaltsplatzhalter 2">
            <a:extLst>
              <a:ext uri="{FF2B5EF4-FFF2-40B4-BE49-F238E27FC236}">
                <a16:creationId xmlns:a16="http://schemas.microsoft.com/office/drawing/2014/main" id="{2C54CA73-C560-0041-ABE3-0AA945EDCCF2}"/>
              </a:ext>
            </a:extLst>
          </p:cNvPr>
          <p:cNvSpPr>
            <a:spLocks noGrp="1"/>
          </p:cNvSpPr>
          <p:nvPr>
            <p:ph idx="1"/>
          </p:nvPr>
        </p:nvSpPr>
        <p:spPr>
          <a:xfrm>
            <a:off x="495300" y="1782523"/>
            <a:ext cx="1476376" cy="354980"/>
          </a:xfrm>
        </p:spPr>
        <p:txBody>
          <a:bodyPr/>
          <a:lstStyle/>
          <a:p>
            <a:pPr marL="0" indent="0">
              <a:buNone/>
            </a:pPr>
            <a:r>
              <a:rPr lang="en-GB" sz="1400" dirty="0">
                <a:latin typeface="Gill Sans MT" pitchFamily="34" charset="0"/>
              </a:rPr>
              <a:t>Infrastructure</a:t>
            </a:r>
          </a:p>
        </p:txBody>
      </p:sp>
      <p:sp>
        <p:nvSpPr>
          <p:cNvPr id="22" name="Inhaltsplatzhalter 2">
            <a:extLst>
              <a:ext uri="{FF2B5EF4-FFF2-40B4-BE49-F238E27FC236}">
                <a16:creationId xmlns:a16="http://schemas.microsoft.com/office/drawing/2014/main" id="{C49086D0-24B6-CE45-9A06-81A8187FC5D6}"/>
              </a:ext>
            </a:extLst>
          </p:cNvPr>
          <p:cNvSpPr txBox="1">
            <a:spLocks/>
          </p:cNvSpPr>
          <p:nvPr/>
        </p:nvSpPr>
        <p:spPr bwMode="auto">
          <a:xfrm>
            <a:off x="4163937" y="1818239"/>
            <a:ext cx="2225763" cy="354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lvl1pPr marL="342836" indent="-342836" algn="l" rtl="0" eaLnBrk="0" fontAlgn="base" hangingPunct="0">
              <a:lnSpc>
                <a:spcPct val="140000"/>
              </a:lnSpc>
              <a:spcBef>
                <a:spcPct val="0"/>
              </a:spcBef>
              <a:spcAft>
                <a:spcPct val="0"/>
              </a:spcAft>
              <a:buClr>
                <a:srgbClr val="7A929D"/>
              </a:buClr>
              <a:buFont typeface="Gill Sans MT Light" pitchFamily="34" charset="0"/>
              <a:buChar char="■"/>
              <a:defRPr sz="2100">
                <a:solidFill>
                  <a:schemeClr val="tx1"/>
                </a:solidFill>
                <a:latin typeface="+mn-lt"/>
                <a:ea typeface="+mn-ea"/>
                <a:cs typeface="+mn-cs"/>
              </a:defRPr>
            </a:lvl1pPr>
            <a:lvl2pPr marL="742810" indent="-285699"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2pPr>
            <a:lvl3pPr marL="1142784"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3pPr>
            <a:lvl4pPr marL="1599898"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4pPr>
            <a:lvl5pPr marL="2057010"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5pPr>
            <a:lvl6pPr marL="2514125"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6pPr>
            <a:lvl7pPr marL="2971237"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7pPr>
            <a:lvl8pPr marL="3428352"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8pPr>
            <a:lvl9pPr marL="3885466"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9pPr>
          </a:lstStyle>
          <a:p>
            <a:pPr marL="0" indent="0">
              <a:buFont typeface="Gill Sans MT Light" pitchFamily="34" charset="0"/>
              <a:buNone/>
            </a:pPr>
            <a:r>
              <a:rPr lang="en-GB" sz="1400" kern="0" dirty="0">
                <a:latin typeface="Gill Sans MT" pitchFamily="34" charset="0"/>
              </a:rPr>
              <a:t>Technologies</a:t>
            </a:r>
          </a:p>
        </p:txBody>
      </p:sp>
      <p:sp>
        <p:nvSpPr>
          <p:cNvPr id="23" name="Inhaltsplatzhalter 2">
            <a:extLst>
              <a:ext uri="{FF2B5EF4-FFF2-40B4-BE49-F238E27FC236}">
                <a16:creationId xmlns:a16="http://schemas.microsoft.com/office/drawing/2014/main" id="{83576735-43C9-43B8-A16F-F681B66DF384}"/>
              </a:ext>
            </a:extLst>
          </p:cNvPr>
          <p:cNvSpPr txBox="1">
            <a:spLocks/>
          </p:cNvSpPr>
          <p:nvPr/>
        </p:nvSpPr>
        <p:spPr bwMode="auto">
          <a:xfrm>
            <a:off x="6389700" y="1463259"/>
            <a:ext cx="2893289" cy="354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lvl1pPr marL="342836" indent="-342836" algn="l" rtl="0" eaLnBrk="0" fontAlgn="base" hangingPunct="0">
              <a:lnSpc>
                <a:spcPct val="140000"/>
              </a:lnSpc>
              <a:spcBef>
                <a:spcPct val="0"/>
              </a:spcBef>
              <a:spcAft>
                <a:spcPct val="0"/>
              </a:spcAft>
              <a:buClr>
                <a:srgbClr val="7A929D"/>
              </a:buClr>
              <a:buFont typeface="Gill Sans MT Light" pitchFamily="34" charset="0"/>
              <a:buChar char="■"/>
              <a:defRPr sz="2100">
                <a:solidFill>
                  <a:schemeClr val="tx1"/>
                </a:solidFill>
                <a:latin typeface="+mn-lt"/>
                <a:ea typeface="+mn-ea"/>
                <a:cs typeface="+mn-cs"/>
              </a:defRPr>
            </a:lvl1pPr>
            <a:lvl2pPr marL="742810" indent="-285699"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2pPr>
            <a:lvl3pPr marL="1142784"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3pPr>
            <a:lvl4pPr marL="1599898"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4pPr>
            <a:lvl5pPr marL="2057010"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5pPr>
            <a:lvl6pPr marL="2514125"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6pPr>
            <a:lvl7pPr marL="2971237"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7pPr>
            <a:lvl8pPr marL="3428352"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8pPr>
            <a:lvl9pPr marL="3885466"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9pPr>
          </a:lstStyle>
          <a:p>
            <a:pPr marL="0" indent="0">
              <a:buFont typeface="Gill Sans MT Light" pitchFamily="34" charset="0"/>
              <a:buNone/>
            </a:pPr>
            <a:r>
              <a:rPr lang="en-US" sz="1400" kern="0" dirty="0">
                <a:latin typeface="Gill Sans MT" pitchFamily="34" charset="0"/>
              </a:rPr>
              <a:t>China’s master plan 2025</a:t>
            </a:r>
          </a:p>
        </p:txBody>
      </p:sp>
    </p:spTree>
    <p:extLst>
      <p:ext uri="{BB962C8B-B14F-4D97-AF65-F5344CB8AC3E}">
        <p14:creationId xmlns:p14="http://schemas.microsoft.com/office/powerpoint/2010/main" val="28855995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62990" y="1311275"/>
            <a:ext cx="7664729" cy="993775"/>
          </a:xfrm>
        </p:spPr>
        <p:txBody>
          <a:bodyPr/>
          <a:lstStyle/>
          <a:p>
            <a:r>
              <a:rPr lang="en-GB" sz="2800" dirty="0"/>
              <a:t>With the ACATIS QILIN Marco Polo Asien Fonds, you gain exposure to a fund with </a:t>
            </a:r>
            <a:r>
              <a:rPr lang="en-GB" sz="2800"/>
              <a:t>local research expertise </a:t>
            </a:r>
            <a:r>
              <a:rPr lang="en-GB" sz="2800" dirty="0"/>
              <a:t>and long-standing relationships with China’s industry and policy-makers</a:t>
            </a:r>
            <a:br>
              <a:rPr lang="en-GB" sz="2800" dirty="0">
                <a:highlight>
                  <a:srgbClr val="FFFF00"/>
                </a:highlight>
              </a:rPr>
            </a:br>
            <a:br>
              <a:rPr lang="en-GB" sz="2800" b="1" dirty="0"/>
            </a:br>
            <a:endParaRPr lang="en-GB" sz="2800" b="1" dirty="0"/>
          </a:p>
        </p:txBody>
      </p:sp>
      <p:sp>
        <p:nvSpPr>
          <p:cNvPr id="3" name="Inhaltsplatzhalter 2"/>
          <p:cNvSpPr>
            <a:spLocks noGrp="1"/>
          </p:cNvSpPr>
          <p:nvPr>
            <p:ph idx="1"/>
          </p:nvPr>
        </p:nvSpPr>
        <p:spPr>
          <a:xfrm>
            <a:off x="4470613" y="3573477"/>
            <a:ext cx="3557106" cy="1745946"/>
          </a:xfrm>
        </p:spPr>
        <p:txBody>
          <a:bodyPr/>
          <a:lstStyle/>
          <a:p>
            <a:pPr>
              <a:lnSpc>
                <a:spcPct val="100000"/>
              </a:lnSpc>
              <a:spcAft>
                <a:spcPts val="1200"/>
              </a:spcAft>
              <a:buFont typeface="Wingdings" panose="05000000000000000000" pitchFamily="2" charset="2"/>
              <a:buChar char="§"/>
            </a:pPr>
            <a:r>
              <a:rPr lang="en-GB" sz="1800" dirty="0">
                <a:latin typeface="Gill Sans MT Light" panose="020B0302020104020203" pitchFamily="34" charset="0"/>
              </a:rPr>
              <a:t>Our research partners at QILIN Capital - Prof. Dr. Ingo Beyer von Morgenstern and Dr. Stefan Albrecht - are honorary professors at China’s elite Tsinghua University.</a:t>
            </a:r>
          </a:p>
          <a:p>
            <a:pPr>
              <a:lnSpc>
                <a:spcPct val="100000"/>
              </a:lnSpc>
              <a:buFont typeface="Wingdings" panose="05000000000000000000" pitchFamily="2" charset="2"/>
              <a:buChar char="§"/>
            </a:pPr>
            <a:r>
              <a:rPr lang="en-GB" sz="1800" dirty="0">
                <a:latin typeface="Gill Sans MT Light" panose="020B0302020104020203" pitchFamily="34" charset="0"/>
              </a:rPr>
              <a:t>80% of Chinese Politburo members are Tsinghua alumni.</a:t>
            </a:r>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8476" y="3053573"/>
            <a:ext cx="3721100" cy="3683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feld 3"/>
          <p:cNvSpPr txBox="1"/>
          <p:nvPr/>
        </p:nvSpPr>
        <p:spPr>
          <a:xfrm>
            <a:off x="411015" y="2776574"/>
            <a:ext cx="4486990" cy="307777"/>
          </a:xfrm>
          <a:prstGeom prst="rect">
            <a:avLst/>
          </a:prstGeom>
          <a:noFill/>
        </p:spPr>
        <p:txBody>
          <a:bodyPr wrap="square" rtlCol="0">
            <a:spAutoFit/>
          </a:bodyPr>
          <a:lstStyle/>
          <a:p>
            <a:r>
              <a:rPr lang="en-GB" sz="1400" dirty="0">
                <a:latin typeface="Gill Sans MT" panose="020B0502020104020203" pitchFamily="34" charset="0"/>
              </a:rPr>
              <a:t>Emblem of Tsinghua University, 100-year anniversary</a:t>
            </a:r>
          </a:p>
        </p:txBody>
      </p:sp>
    </p:spTree>
    <p:extLst>
      <p:ext uri="{BB962C8B-B14F-4D97-AF65-F5344CB8AC3E}">
        <p14:creationId xmlns:p14="http://schemas.microsoft.com/office/powerpoint/2010/main" val="29498190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a:extLst>
              <a:ext uri="{FF2B5EF4-FFF2-40B4-BE49-F238E27FC236}">
                <a16:creationId xmlns:a16="http://schemas.microsoft.com/office/drawing/2014/main" id="{641D1489-21DE-42B6-9CAE-EF5F4837F3BE}"/>
              </a:ext>
            </a:extLst>
          </p:cNvPr>
          <p:cNvGraphicFramePr>
            <a:graphicFrameLocks noChangeAspect="1"/>
          </p:cNvGraphicFramePr>
          <p:nvPr>
            <p:extLst>
              <p:ext uri="{D42A27DB-BD31-4B8C-83A1-F6EECF244321}">
                <p14:modId xmlns:p14="http://schemas.microsoft.com/office/powerpoint/2010/main" val="846522945"/>
              </p:ext>
            </p:extLst>
          </p:nvPr>
        </p:nvGraphicFramePr>
        <p:xfrm>
          <a:off x="384175" y="2216150"/>
          <a:ext cx="6323013" cy="3794125"/>
        </p:xfrm>
        <a:graphic>
          <a:graphicData uri="http://schemas.openxmlformats.org/presentationml/2006/ole">
            <mc:AlternateContent xmlns:mc="http://schemas.openxmlformats.org/markup-compatibility/2006">
              <mc:Choice xmlns:v="urn:schemas-microsoft-com:vml" Requires="v">
                <p:oleObj name="Worksheet" r:id="rId2" imgW="4572000" imgH="2743200" progId="Excel.Sheet.12">
                  <p:link updateAutomatic="1"/>
                </p:oleObj>
              </mc:Choice>
              <mc:Fallback>
                <p:oleObj name="Worksheet" r:id="rId2" imgW="4572000" imgH="2743200" progId="Excel.Sheet.12">
                  <p:link updateAutomatic="1"/>
                  <p:pic>
                    <p:nvPicPr>
                      <p:cNvPr id="3" name="Objekt 2">
                        <a:extLst>
                          <a:ext uri="{FF2B5EF4-FFF2-40B4-BE49-F238E27FC236}">
                            <a16:creationId xmlns:a16="http://schemas.microsoft.com/office/drawing/2014/main" id="{641D1489-21DE-42B6-9CAE-EF5F4837F3BE}"/>
                          </a:ext>
                        </a:extLst>
                      </p:cNvPr>
                      <p:cNvPicPr/>
                      <p:nvPr/>
                    </p:nvPicPr>
                    <p:blipFill>
                      <a:blip r:embed="rId3"/>
                      <a:stretch>
                        <a:fillRect/>
                      </a:stretch>
                    </p:blipFill>
                    <p:spPr>
                      <a:xfrm>
                        <a:off x="384175" y="2216150"/>
                        <a:ext cx="6323013" cy="3794125"/>
                      </a:xfrm>
                      <a:prstGeom prst="rect">
                        <a:avLst/>
                      </a:prstGeom>
                    </p:spPr>
                  </p:pic>
                </p:oleObj>
              </mc:Fallback>
            </mc:AlternateContent>
          </a:graphicData>
        </a:graphic>
      </p:graphicFrame>
      <p:sp>
        <p:nvSpPr>
          <p:cNvPr id="2" name="Titel 1"/>
          <p:cNvSpPr>
            <a:spLocks noGrp="1"/>
          </p:cNvSpPr>
          <p:nvPr>
            <p:ph type="title"/>
          </p:nvPr>
        </p:nvSpPr>
        <p:spPr>
          <a:xfrm>
            <a:off x="368658" y="438395"/>
            <a:ext cx="7618819" cy="976165"/>
          </a:xfrm>
        </p:spPr>
        <p:txBody>
          <a:bodyPr/>
          <a:lstStyle/>
          <a:p>
            <a:r>
              <a:rPr lang="en-US" sz="2800" dirty="0"/>
              <a:t>Significant Outperformance of the ACATIS QILIN Marco Polo </a:t>
            </a:r>
            <a:r>
              <a:rPr lang="en-US" sz="2800" dirty="0" err="1"/>
              <a:t>Asien</a:t>
            </a:r>
            <a:r>
              <a:rPr lang="en-US" sz="2800" dirty="0"/>
              <a:t> Fund</a:t>
            </a:r>
          </a:p>
        </p:txBody>
      </p:sp>
      <p:sp>
        <p:nvSpPr>
          <p:cNvPr id="5" name="Textfeld 4"/>
          <p:cNvSpPr txBox="1"/>
          <p:nvPr/>
        </p:nvSpPr>
        <p:spPr>
          <a:xfrm>
            <a:off x="302601" y="6390543"/>
            <a:ext cx="6401932" cy="246221"/>
          </a:xfrm>
          <a:prstGeom prst="rect">
            <a:avLst/>
          </a:prstGeom>
          <a:noFill/>
        </p:spPr>
        <p:txBody>
          <a:bodyPr wrap="square" rtlCol="0">
            <a:spAutoFit/>
          </a:bodyPr>
          <a:lstStyle/>
          <a:p>
            <a:pPr lvl="0">
              <a:defRPr/>
            </a:pPr>
            <a:r>
              <a:rPr kumimoji="0" lang="en-US" sz="1000" b="0" i="0" u="none" strike="noStrike" kern="1200" cap="none" spc="0" normalizeH="0" baseline="0" noProof="0" dirty="0">
                <a:ln>
                  <a:noFill/>
                </a:ln>
                <a:solidFill>
                  <a:srgbClr val="000000"/>
                </a:solidFill>
                <a:effectLst/>
                <a:uLnTx/>
                <a:uFillTx/>
                <a:latin typeface="Gill Sans MT Light"/>
              </a:rPr>
              <a:t>Source: ACATIS Research GmbH, </a:t>
            </a:r>
            <a:r>
              <a:rPr lang="en-US" sz="1000" dirty="0">
                <a:solidFill>
                  <a:srgbClr val="000000"/>
                </a:solidFill>
                <a:latin typeface="Gill Sans MT Light"/>
              </a:rPr>
              <a:t>calculation according to the BVI method</a:t>
            </a:r>
            <a:endParaRPr kumimoji="0" lang="en-US" sz="1000" b="0" i="0" u="none" strike="noStrike" kern="1200" cap="none" spc="0" normalizeH="0" baseline="0" noProof="0" dirty="0">
              <a:ln>
                <a:noFill/>
              </a:ln>
              <a:solidFill>
                <a:srgbClr val="000000"/>
              </a:solidFill>
              <a:effectLst/>
              <a:uLnTx/>
              <a:uFillTx/>
              <a:latin typeface="Gill Sans MT Light"/>
            </a:endParaRPr>
          </a:p>
        </p:txBody>
      </p:sp>
      <p:sp>
        <p:nvSpPr>
          <p:cNvPr id="4" name="Textfeld 3"/>
          <p:cNvSpPr txBox="1"/>
          <p:nvPr/>
        </p:nvSpPr>
        <p:spPr>
          <a:xfrm>
            <a:off x="6684164" y="3095799"/>
            <a:ext cx="1742537" cy="27699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
                <a:srgbClr val="6E848E"/>
              </a:buClr>
              <a:buSzPct val="120000"/>
              <a:buFontTx/>
              <a:buNone/>
              <a:tabLst/>
              <a:defRPr/>
            </a:pPr>
            <a:r>
              <a:rPr kumimoji="0" lang="en-US" sz="1200" b="0" i="0" u="none" strike="noStrike" kern="1200" cap="none" spc="0" normalizeH="0" baseline="0" noProof="0" dirty="0">
                <a:ln>
                  <a:noFill/>
                </a:ln>
                <a:solidFill>
                  <a:srgbClr val="000000"/>
                </a:solidFill>
                <a:effectLst/>
                <a:uLnTx/>
                <a:uFillTx/>
                <a:latin typeface="Gill Sans MT Light" pitchFamily="34" charset="0"/>
                <a:ea typeface="+mn-ea"/>
                <a:cs typeface="+mn-cs"/>
              </a:rPr>
              <a:t>+74.5% since inception</a:t>
            </a:r>
          </a:p>
        </p:txBody>
      </p:sp>
      <p:sp>
        <p:nvSpPr>
          <p:cNvPr id="8" name="Textfeld 7"/>
          <p:cNvSpPr txBox="1"/>
          <p:nvPr/>
        </p:nvSpPr>
        <p:spPr>
          <a:xfrm>
            <a:off x="6718672" y="2720519"/>
            <a:ext cx="1975449"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
                <a:srgbClr val="6E848E"/>
              </a:buClr>
              <a:buSzPct val="120000"/>
              <a:buFontTx/>
              <a:buNone/>
              <a:tabLst/>
              <a:defRPr/>
            </a:pPr>
            <a:r>
              <a:rPr kumimoji="0" lang="en-US" sz="1200" b="0" i="0" u="none" strike="noStrike" kern="1200" cap="none" spc="0" normalizeH="0" baseline="0" noProof="0" dirty="0">
                <a:ln>
                  <a:noFill/>
                </a:ln>
                <a:solidFill>
                  <a:srgbClr val="000000"/>
                </a:solidFill>
                <a:effectLst/>
                <a:uLnTx/>
                <a:uFillTx/>
                <a:latin typeface="Gill Sans MT Light" pitchFamily="34" charset="0"/>
                <a:ea typeface="+mn-ea"/>
                <a:cs typeface="+mn-cs"/>
              </a:rPr>
              <a:t>ACATIS QILIN Marco Polo </a:t>
            </a:r>
            <a:r>
              <a:rPr kumimoji="0" lang="en-US" sz="1200" b="0" i="0" u="none" strike="noStrike" kern="1200" cap="none" spc="0" normalizeH="0" baseline="0" noProof="0" dirty="0" err="1">
                <a:ln>
                  <a:noFill/>
                </a:ln>
                <a:solidFill>
                  <a:srgbClr val="000000"/>
                </a:solidFill>
                <a:effectLst/>
                <a:uLnTx/>
                <a:uFillTx/>
                <a:latin typeface="Gill Sans MT Light" pitchFamily="34" charset="0"/>
                <a:ea typeface="+mn-ea"/>
                <a:cs typeface="+mn-cs"/>
              </a:rPr>
              <a:t>Asien</a:t>
            </a:r>
            <a:r>
              <a:rPr kumimoji="0" lang="en-US" sz="1200" b="0" i="0" u="none" strike="noStrike" kern="1200" cap="none" spc="0" normalizeH="0" baseline="0" noProof="0" dirty="0">
                <a:ln>
                  <a:noFill/>
                </a:ln>
                <a:solidFill>
                  <a:srgbClr val="000000"/>
                </a:solidFill>
                <a:effectLst/>
                <a:uLnTx/>
                <a:uFillTx/>
                <a:latin typeface="Gill Sans MT Light" pitchFamily="34" charset="0"/>
                <a:ea typeface="+mn-ea"/>
                <a:cs typeface="+mn-cs"/>
              </a:rPr>
              <a:t> Fund</a:t>
            </a:r>
          </a:p>
        </p:txBody>
      </p:sp>
      <p:sp>
        <p:nvSpPr>
          <p:cNvPr id="11" name="Textfeld 10"/>
          <p:cNvSpPr txBox="1"/>
          <p:nvPr/>
        </p:nvSpPr>
        <p:spPr>
          <a:xfrm>
            <a:off x="6664038" y="3775688"/>
            <a:ext cx="1975449"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
                <a:srgbClr val="6E848E"/>
              </a:buClr>
              <a:buSzPct val="120000"/>
              <a:buFontTx/>
              <a:buNone/>
              <a:tabLst/>
              <a:defRPr/>
            </a:pPr>
            <a:r>
              <a:rPr kumimoji="0" lang="en-US" sz="1200" b="0" i="0" u="none" strike="noStrike" kern="1200" cap="none" spc="0" normalizeH="0" baseline="0" noProof="0" dirty="0">
                <a:ln>
                  <a:noFill/>
                </a:ln>
                <a:solidFill>
                  <a:srgbClr val="000000"/>
                </a:solidFill>
                <a:effectLst/>
                <a:uLnTx/>
                <a:uFillTx/>
              </a:rPr>
              <a:t>MSCI AC Asia GDR (EUR)</a:t>
            </a:r>
          </a:p>
          <a:p>
            <a:pPr marL="0" marR="0" lvl="0" indent="0" algn="l" defTabSz="914400" rtl="0" eaLnBrk="0" fontAlgn="base" latinLnBrk="0" hangingPunct="0">
              <a:lnSpc>
                <a:spcPct val="100000"/>
              </a:lnSpc>
              <a:spcBef>
                <a:spcPct val="0"/>
              </a:spcBef>
              <a:spcAft>
                <a:spcPct val="0"/>
              </a:spcAft>
              <a:buClr>
                <a:srgbClr val="6E848E"/>
              </a:buClr>
              <a:buSzPct val="120000"/>
              <a:buFontTx/>
              <a:buNone/>
              <a:tabLst/>
              <a:defRPr/>
            </a:pPr>
            <a:r>
              <a:rPr lang="en-US" dirty="0">
                <a:solidFill>
                  <a:srgbClr val="000000"/>
                </a:solidFill>
              </a:rPr>
              <a:t>+29.7%</a:t>
            </a:r>
            <a:endParaRPr kumimoji="0" lang="en-US" sz="1200" b="0" i="0" u="none" strike="noStrike" kern="1200" cap="none" spc="0" normalizeH="0" baseline="0" noProof="0" dirty="0">
              <a:ln>
                <a:noFill/>
              </a:ln>
              <a:solidFill>
                <a:srgbClr val="000000"/>
              </a:solidFill>
              <a:effectLst/>
              <a:uLnTx/>
              <a:uFillTx/>
            </a:endParaRPr>
          </a:p>
        </p:txBody>
      </p:sp>
      <p:cxnSp>
        <p:nvCxnSpPr>
          <p:cNvPr id="7" name="Gerade Verbindung 6"/>
          <p:cNvCxnSpPr/>
          <p:nvPr/>
        </p:nvCxnSpPr>
        <p:spPr bwMode="auto">
          <a:xfrm>
            <a:off x="6477132" y="2857116"/>
            <a:ext cx="241540" cy="1"/>
          </a:xfrm>
          <a:prstGeom prst="line">
            <a:avLst/>
          </a:prstGeom>
          <a:solidFill>
            <a:schemeClr val="accent1"/>
          </a:solidFill>
          <a:ln w="38100" cap="flat" cmpd="sng" algn="ctr">
            <a:solidFill>
              <a:srgbClr val="0070C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Gerade Verbindung 11"/>
          <p:cNvCxnSpPr/>
          <p:nvPr/>
        </p:nvCxnSpPr>
        <p:spPr bwMode="auto">
          <a:xfrm>
            <a:off x="6477132" y="3922814"/>
            <a:ext cx="241540" cy="1"/>
          </a:xfrm>
          <a:prstGeom prst="line">
            <a:avLst/>
          </a:prstGeom>
          <a:solidFill>
            <a:schemeClr val="accent1"/>
          </a:solidFill>
          <a:ln w="38100"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Textfeld 8"/>
          <p:cNvSpPr txBox="1"/>
          <p:nvPr/>
        </p:nvSpPr>
        <p:spPr>
          <a:xfrm>
            <a:off x="374420" y="1761910"/>
            <a:ext cx="4742121"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ill Sans MT" pitchFamily="34" charset="0"/>
                <a:ea typeface="+mn-ea"/>
                <a:cs typeface="+mn-cs"/>
              </a:rPr>
              <a:t>Performance of the fund versus MSCI AC Asia GDR (EUR),</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ill Sans MT" pitchFamily="34" charset="0"/>
                <a:ea typeface="+mn-ea"/>
                <a:cs typeface="+mn-cs"/>
              </a:rPr>
              <a:t>Time period 11 June 2019 to 2 February 2021</a:t>
            </a:r>
          </a:p>
        </p:txBody>
      </p:sp>
    </p:spTree>
    <p:extLst>
      <p:ext uri="{BB962C8B-B14F-4D97-AF65-F5344CB8AC3E}">
        <p14:creationId xmlns:p14="http://schemas.microsoft.com/office/powerpoint/2010/main" val="28071098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a:extLst>
              <a:ext uri="{FF2B5EF4-FFF2-40B4-BE49-F238E27FC236}">
                <a16:creationId xmlns:a16="http://schemas.microsoft.com/office/drawing/2014/main" id="{641D1489-21DE-42B6-9CAE-EF5F4837F3BE}"/>
              </a:ext>
            </a:extLst>
          </p:cNvPr>
          <p:cNvGraphicFramePr>
            <a:graphicFrameLocks noChangeAspect="1"/>
          </p:cNvGraphicFramePr>
          <p:nvPr>
            <p:extLst>
              <p:ext uri="{D42A27DB-BD31-4B8C-83A1-F6EECF244321}">
                <p14:modId xmlns:p14="http://schemas.microsoft.com/office/powerpoint/2010/main" val="2509906785"/>
              </p:ext>
            </p:extLst>
          </p:nvPr>
        </p:nvGraphicFramePr>
        <p:xfrm>
          <a:off x="384175" y="2216150"/>
          <a:ext cx="6323013" cy="3794125"/>
        </p:xfrm>
        <a:graphic>
          <a:graphicData uri="http://schemas.openxmlformats.org/presentationml/2006/ole">
            <mc:AlternateContent xmlns:mc="http://schemas.openxmlformats.org/markup-compatibility/2006">
              <mc:Choice xmlns:v="urn:schemas-microsoft-com:vml" Requires="v">
                <p:oleObj name="Worksheet" r:id="rId2" imgW="4572000" imgH="2743200" progId="Excel.Sheet.12">
                  <p:link updateAutomatic="1"/>
                </p:oleObj>
              </mc:Choice>
              <mc:Fallback>
                <p:oleObj name="Worksheet" r:id="rId2" imgW="4572000" imgH="2743200" progId="Excel.Sheet.12">
                  <p:link updateAutomatic="1"/>
                  <p:pic>
                    <p:nvPicPr>
                      <p:cNvPr id="3" name="Objekt 2">
                        <a:extLst>
                          <a:ext uri="{FF2B5EF4-FFF2-40B4-BE49-F238E27FC236}">
                            <a16:creationId xmlns:a16="http://schemas.microsoft.com/office/drawing/2014/main" id="{641D1489-21DE-42B6-9CAE-EF5F4837F3BE}"/>
                          </a:ext>
                        </a:extLst>
                      </p:cNvPr>
                      <p:cNvPicPr/>
                      <p:nvPr/>
                    </p:nvPicPr>
                    <p:blipFill>
                      <a:blip r:embed="rId3"/>
                      <a:stretch>
                        <a:fillRect/>
                      </a:stretch>
                    </p:blipFill>
                    <p:spPr>
                      <a:xfrm>
                        <a:off x="384175" y="2216150"/>
                        <a:ext cx="6323013" cy="3794125"/>
                      </a:xfrm>
                      <a:prstGeom prst="rect">
                        <a:avLst/>
                      </a:prstGeom>
                    </p:spPr>
                  </p:pic>
                </p:oleObj>
              </mc:Fallback>
            </mc:AlternateContent>
          </a:graphicData>
        </a:graphic>
      </p:graphicFrame>
      <p:sp>
        <p:nvSpPr>
          <p:cNvPr id="2" name="Titel 1"/>
          <p:cNvSpPr>
            <a:spLocks noGrp="1"/>
          </p:cNvSpPr>
          <p:nvPr>
            <p:ph type="title"/>
          </p:nvPr>
        </p:nvSpPr>
        <p:spPr>
          <a:xfrm>
            <a:off x="368658" y="438395"/>
            <a:ext cx="7618819" cy="976165"/>
          </a:xfrm>
        </p:spPr>
        <p:txBody>
          <a:bodyPr/>
          <a:lstStyle/>
          <a:p>
            <a:r>
              <a:rPr lang="en-US" sz="2800" dirty="0"/>
              <a:t>Significant Outperformance of the ACATIS QILIN Marco Polo </a:t>
            </a:r>
            <a:r>
              <a:rPr lang="en-US" sz="2800" dirty="0" err="1"/>
              <a:t>Asien</a:t>
            </a:r>
            <a:r>
              <a:rPr lang="en-US" sz="2800" dirty="0"/>
              <a:t> Fund</a:t>
            </a:r>
          </a:p>
        </p:txBody>
      </p:sp>
      <p:sp>
        <p:nvSpPr>
          <p:cNvPr id="5" name="Textfeld 4"/>
          <p:cNvSpPr txBox="1"/>
          <p:nvPr/>
        </p:nvSpPr>
        <p:spPr>
          <a:xfrm>
            <a:off x="302601" y="6390543"/>
            <a:ext cx="6401932" cy="246221"/>
          </a:xfrm>
          <a:prstGeom prst="rect">
            <a:avLst/>
          </a:prstGeom>
          <a:noFill/>
        </p:spPr>
        <p:txBody>
          <a:bodyPr wrap="square" rtlCol="0">
            <a:spAutoFit/>
          </a:bodyPr>
          <a:lstStyle/>
          <a:p>
            <a:pPr lvl="0">
              <a:defRPr/>
            </a:pPr>
            <a:r>
              <a:rPr kumimoji="0" lang="en-US" sz="1000" b="0" i="0" u="none" strike="noStrike" kern="1200" cap="none" spc="0" normalizeH="0" baseline="0" noProof="0" dirty="0">
                <a:ln>
                  <a:noFill/>
                </a:ln>
                <a:solidFill>
                  <a:srgbClr val="000000"/>
                </a:solidFill>
                <a:effectLst/>
                <a:uLnTx/>
                <a:uFillTx/>
                <a:latin typeface="Gill Sans MT Light"/>
              </a:rPr>
              <a:t>Source: ACATIS Research GmbH, </a:t>
            </a:r>
            <a:r>
              <a:rPr lang="en-US" sz="1000" dirty="0">
                <a:solidFill>
                  <a:srgbClr val="000000"/>
                </a:solidFill>
                <a:latin typeface="Gill Sans MT Light"/>
              </a:rPr>
              <a:t>calculation according to the BVI method</a:t>
            </a:r>
            <a:endParaRPr kumimoji="0" lang="en-US" sz="1000" b="0" i="0" u="none" strike="noStrike" kern="1200" cap="none" spc="0" normalizeH="0" baseline="0" noProof="0" dirty="0">
              <a:ln>
                <a:noFill/>
              </a:ln>
              <a:solidFill>
                <a:srgbClr val="000000"/>
              </a:solidFill>
              <a:effectLst/>
              <a:uLnTx/>
              <a:uFillTx/>
              <a:latin typeface="Gill Sans MT Light"/>
            </a:endParaRPr>
          </a:p>
        </p:txBody>
      </p:sp>
      <p:sp>
        <p:nvSpPr>
          <p:cNvPr id="4" name="Textfeld 3"/>
          <p:cNvSpPr txBox="1"/>
          <p:nvPr/>
        </p:nvSpPr>
        <p:spPr>
          <a:xfrm>
            <a:off x="6798464" y="2981499"/>
            <a:ext cx="1742537" cy="27699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
                <a:srgbClr val="6E848E"/>
              </a:buClr>
              <a:buSzPct val="120000"/>
              <a:buFontTx/>
              <a:buNone/>
              <a:tabLst/>
              <a:defRPr/>
            </a:pPr>
            <a:r>
              <a:rPr kumimoji="0" lang="en-US" sz="1200" b="0" i="0" u="none" strike="noStrike" kern="1200" cap="none" spc="0" normalizeH="0" baseline="0" noProof="0" dirty="0">
                <a:ln>
                  <a:noFill/>
                </a:ln>
                <a:solidFill>
                  <a:srgbClr val="000000"/>
                </a:solidFill>
                <a:effectLst/>
                <a:uLnTx/>
                <a:uFillTx/>
                <a:latin typeface="Gill Sans MT Light" pitchFamily="34" charset="0"/>
                <a:ea typeface="+mn-ea"/>
                <a:cs typeface="+mn-cs"/>
              </a:rPr>
              <a:t>+74.5% since inception</a:t>
            </a:r>
          </a:p>
        </p:txBody>
      </p:sp>
      <p:sp>
        <p:nvSpPr>
          <p:cNvPr id="8" name="Textfeld 7"/>
          <p:cNvSpPr txBox="1"/>
          <p:nvPr/>
        </p:nvSpPr>
        <p:spPr>
          <a:xfrm>
            <a:off x="6832972" y="2606219"/>
            <a:ext cx="1975449"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
                <a:srgbClr val="6E848E"/>
              </a:buClr>
              <a:buSzPct val="120000"/>
              <a:buFontTx/>
              <a:buNone/>
              <a:tabLst/>
              <a:defRPr/>
            </a:pPr>
            <a:r>
              <a:rPr kumimoji="0" lang="en-US" sz="1200" b="0" i="0" u="none" strike="noStrike" kern="1200" cap="none" spc="0" normalizeH="0" baseline="0" noProof="0" dirty="0">
                <a:ln>
                  <a:noFill/>
                </a:ln>
                <a:solidFill>
                  <a:srgbClr val="000000"/>
                </a:solidFill>
                <a:effectLst/>
                <a:uLnTx/>
                <a:uFillTx/>
                <a:latin typeface="Gill Sans MT Light" pitchFamily="34" charset="0"/>
                <a:ea typeface="+mn-ea"/>
                <a:cs typeface="+mn-cs"/>
              </a:rPr>
              <a:t>ACATIS QILIN Marco Polo </a:t>
            </a:r>
            <a:r>
              <a:rPr kumimoji="0" lang="en-US" sz="1200" b="0" i="0" u="none" strike="noStrike" kern="1200" cap="none" spc="0" normalizeH="0" baseline="0" noProof="0" dirty="0" err="1">
                <a:ln>
                  <a:noFill/>
                </a:ln>
                <a:solidFill>
                  <a:srgbClr val="000000"/>
                </a:solidFill>
                <a:effectLst/>
                <a:uLnTx/>
                <a:uFillTx/>
                <a:latin typeface="Gill Sans MT Light" pitchFamily="34" charset="0"/>
                <a:ea typeface="+mn-ea"/>
                <a:cs typeface="+mn-cs"/>
              </a:rPr>
              <a:t>Asien</a:t>
            </a:r>
            <a:r>
              <a:rPr kumimoji="0" lang="en-US" sz="1200" b="0" i="0" u="none" strike="noStrike" kern="1200" cap="none" spc="0" normalizeH="0" baseline="0" noProof="0" dirty="0">
                <a:ln>
                  <a:noFill/>
                </a:ln>
                <a:solidFill>
                  <a:srgbClr val="000000"/>
                </a:solidFill>
                <a:effectLst/>
                <a:uLnTx/>
                <a:uFillTx/>
                <a:latin typeface="Gill Sans MT Light" pitchFamily="34" charset="0"/>
                <a:ea typeface="+mn-ea"/>
                <a:cs typeface="+mn-cs"/>
              </a:rPr>
              <a:t> Fund</a:t>
            </a:r>
          </a:p>
        </p:txBody>
      </p:sp>
      <p:sp>
        <p:nvSpPr>
          <p:cNvPr id="11" name="Textfeld 10"/>
          <p:cNvSpPr txBox="1"/>
          <p:nvPr/>
        </p:nvSpPr>
        <p:spPr>
          <a:xfrm>
            <a:off x="6778338" y="3783308"/>
            <a:ext cx="1975449"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
                <a:srgbClr val="6E848E"/>
              </a:buClr>
              <a:buSzPct val="120000"/>
              <a:buFontTx/>
              <a:buNone/>
              <a:tabLst/>
              <a:defRPr/>
            </a:pPr>
            <a:r>
              <a:rPr kumimoji="0" lang="en-US" sz="1200" b="0" i="0" u="none" strike="noStrike" kern="1200" cap="none" spc="0" normalizeH="0" baseline="0" noProof="0" dirty="0">
                <a:ln>
                  <a:noFill/>
                </a:ln>
                <a:solidFill>
                  <a:srgbClr val="000000"/>
                </a:solidFill>
                <a:effectLst/>
                <a:uLnTx/>
                <a:uFillTx/>
              </a:rPr>
              <a:t>MSCI AC Asia GDR (EUR)</a:t>
            </a:r>
          </a:p>
          <a:p>
            <a:pPr marL="0" marR="0" lvl="0" indent="0" algn="l" defTabSz="914400" rtl="0" eaLnBrk="0" fontAlgn="base" latinLnBrk="0" hangingPunct="0">
              <a:lnSpc>
                <a:spcPct val="100000"/>
              </a:lnSpc>
              <a:spcBef>
                <a:spcPct val="0"/>
              </a:spcBef>
              <a:spcAft>
                <a:spcPct val="0"/>
              </a:spcAft>
              <a:buClr>
                <a:srgbClr val="6E848E"/>
              </a:buClr>
              <a:buSzPct val="120000"/>
              <a:buFontTx/>
              <a:buNone/>
              <a:tabLst/>
              <a:defRPr/>
            </a:pPr>
            <a:r>
              <a:rPr lang="en-US" dirty="0">
                <a:solidFill>
                  <a:srgbClr val="000000"/>
                </a:solidFill>
              </a:rPr>
              <a:t>+29.7%</a:t>
            </a:r>
            <a:endParaRPr kumimoji="0" lang="en-US" sz="1200" b="0" i="0" u="none" strike="noStrike" kern="1200" cap="none" spc="0" normalizeH="0" baseline="0" noProof="0" dirty="0">
              <a:ln>
                <a:noFill/>
              </a:ln>
              <a:solidFill>
                <a:srgbClr val="000000"/>
              </a:solidFill>
              <a:effectLst/>
              <a:uLnTx/>
              <a:uFillTx/>
            </a:endParaRPr>
          </a:p>
        </p:txBody>
      </p:sp>
      <p:cxnSp>
        <p:nvCxnSpPr>
          <p:cNvPr id="7" name="Gerade Verbindung 6"/>
          <p:cNvCxnSpPr/>
          <p:nvPr/>
        </p:nvCxnSpPr>
        <p:spPr bwMode="auto">
          <a:xfrm>
            <a:off x="6591432" y="2742816"/>
            <a:ext cx="241540" cy="1"/>
          </a:xfrm>
          <a:prstGeom prst="line">
            <a:avLst/>
          </a:prstGeom>
          <a:solidFill>
            <a:schemeClr val="accent1"/>
          </a:solidFill>
          <a:ln w="38100" cap="flat" cmpd="sng" algn="ctr">
            <a:solidFill>
              <a:srgbClr val="0070C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Gerade Verbindung 11"/>
          <p:cNvCxnSpPr/>
          <p:nvPr/>
        </p:nvCxnSpPr>
        <p:spPr bwMode="auto">
          <a:xfrm>
            <a:off x="6591432" y="3930434"/>
            <a:ext cx="241540" cy="1"/>
          </a:xfrm>
          <a:prstGeom prst="line">
            <a:avLst/>
          </a:prstGeom>
          <a:solidFill>
            <a:schemeClr val="accent1"/>
          </a:solidFill>
          <a:ln w="38100"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Textfeld 8"/>
          <p:cNvSpPr txBox="1"/>
          <p:nvPr/>
        </p:nvSpPr>
        <p:spPr>
          <a:xfrm>
            <a:off x="374420" y="1761910"/>
            <a:ext cx="4742121"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ill Sans MT" pitchFamily="34" charset="0"/>
                <a:ea typeface="+mn-ea"/>
                <a:cs typeface="+mn-cs"/>
              </a:rPr>
              <a:t>Performance of the fund versus MSCI AC Asia GDR (EUR),</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Gill Sans MT" pitchFamily="34" charset="0"/>
                <a:ea typeface="+mn-ea"/>
                <a:cs typeface="+mn-cs"/>
              </a:rPr>
              <a:t>Time period 11 June 2019 to </a:t>
            </a:r>
            <a:r>
              <a:rPr kumimoji="0" lang="en-US" sz="1200" b="0" i="0" u="none" strike="noStrike" kern="1200" cap="none" spc="0" normalizeH="0" baseline="0" noProof="0">
                <a:ln>
                  <a:noFill/>
                </a:ln>
                <a:solidFill>
                  <a:srgbClr val="000000"/>
                </a:solidFill>
                <a:effectLst/>
                <a:uLnTx/>
                <a:uFillTx/>
                <a:latin typeface="Gill Sans MT" pitchFamily="34" charset="0"/>
                <a:ea typeface="+mn-ea"/>
                <a:cs typeface="+mn-cs"/>
              </a:rPr>
              <a:t>2 February </a:t>
            </a:r>
            <a:r>
              <a:rPr kumimoji="0" lang="en-US" sz="1200" b="0" i="0" u="none" strike="noStrike" kern="1200" cap="none" spc="0" normalizeH="0" baseline="0" noProof="0" dirty="0">
                <a:ln>
                  <a:noFill/>
                </a:ln>
                <a:solidFill>
                  <a:srgbClr val="000000"/>
                </a:solidFill>
                <a:effectLst/>
                <a:uLnTx/>
                <a:uFillTx/>
                <a:latin typeface="Gill Sans MT" pitchFamily="34" charset="0"/>
                <a:ea typeface="+mn-ea"/>
                <a:cs typeface="+mn-cs"/>
              </a:rPr>
              <a:t>2021</a:t>
            </a:r>
          </a:p>
        </p:txBody>
      </p:sp>
    </p:spTree>
    <p:extLst>
      <p:ext uri="{BB962C8B-B14F-4D97-AF65-F5344CB8AC3E}">
        <p14:creationId xmlns:p14="http://schemas.microsoft.com/office/powerpoint/2010/main" val="13458908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688981" y="2952671"/>
            <a:ext cx="5854698" cy="533479"/>
          </a:xfrm>
          <a:noFill/>
        </p:spPr>
        <p:txBody>
          <a:bodyPr/>
          <a:lstStyle/>
          <a:p>
            <a:r>
              <a:rPr lang="en-GB" dirty="0"/>
              <a:t>Capital Investment Company and Research Team</a:t>
            </a:r>
          </a:p>
        </p:txBody>
      </p:sp>
    </p:spTree>
    <p:extLst>
      <p:ext uri="{BB962C8B-B14F-4D97-AF65-F5344CB8AC3E}">
        <p14:creationId xmlns:p14="http://schemas.microsoft.com/office/powerpoint/2010/main" val="40079449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ChangeArrowheads="1"/>
          </p:cNvSpPr>
          <p:nvPr/>
        </p:nvSpPr>
        <p:spPr bwMode="auto">
          <a:xfrm>
            <a:off x="374664" y="551830"/>
            <a:ext cx="7634288" cy="475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spAutoFit/>
          </a:bodyPr>
          <a:lstStyle>
            <a:lvl1pPr>
              <a:lnSpc>
                <a:spcPct val="140000"/>
              </a:lnSpc>
              <a:buClr>
                <a:srgbClr val="7A929D"/>
              </a:buClr>
              <a:buFont typeface="Arial" charset="0"/>
              <a:buChar char="■"/>
              <a:defRPr sz="2100">
                <a:solidFill>
                  <a:schemeClr val="tx1"/>
                </a:solidFill>
                <a:latin typeface="Gill Sans MT Light" pitchFamily="34" charset="0"/>
              </a:defRPr>
            </a:lvl1pPr>
            <a:lvl2pPr marL="742950" indent="-285750">
              <a:lnSpc>
                <a:spcPct val="140000"/>
              </a:lnSpc>
              <a:buClr>
                <a:srgbClr val="7A929D"/>
              </a:buClr>
              <a:buSzPct val="70000"/>
              <a:buFont typeface="Arial" charset="0"/>
              <a:buChar char="■"/>
              <a:defRPr sz="2100">
                <a:solidFill>
                  <a:schemeClr val="tx1"/>
                </a:solidFill>
                <a:latin typeface="Gill Sans MT Light" pitchFamily="34" charset="0"/>
              </a:defRPr>
            </a:lvl2pPr>
            <a:lvl3pPr marL="1143000" indent="-228600">
              <a:lnSpc>
                <a:spcPct val="140000"/>
              </a:lnSpc>
              <a:buClr>
                <a:srgbClr val="7A929D"/>
              </a:buClr>
              <a:buSzPct val="70000"/>
              <a:buFont typeface="Arial" charset="0"/>
              <a:buChar char="■"/>
              <a:defRPr sz="2100">
                <a:solidFill>
                  <a:schemeClr val="tx1"/>
                </a:solidFill>
                <a:latin typeface="Gill Sans MT Light" pitchFamily="34" charset="0"/>
              </a:defRPr>
            </a:lvl3pPr>
            <a:lvl4pPr marL="1600200" indent="-228600">
              <a:lnSpc>
                <a:spcPct val="140000"/>
              </a:lnSpc>
              <a:buClr>
                <a:srgbClr val="7A929D"/>
              </a:buClr>
              <a:buSzPct val="70000"/>
              <a:buFont typeface="Arial" charset="0"/>
              <a:buChar char="■"/>
              <a:defRPr sz="2100">
                <a:solidFill>
                  <a:schemeClr val="tx1"/>
                </a:solidFill>
                <a:latin typeface="Gill Sans MT Light" pitchFamily="34" charset="0"/>
              </a:defRPr>
            </a:lvl4pPr>
            <a:lvl5pPr marL="2057400" indent="-228600">
              <a:lnSpc>
                <a:spcPct val="140000"/>
              </a:lnSpc>
              <a:buClr>
                <a:srgbClr val="7A929D"/>
              </a:buClr>
              <a:buSzPct val="70000"/>
              <a:buFont typeface="Arial" charset="0"/>
              <a:buChar char="■"/>
              <a:defRPr sz="2100">
                <a:solidFill>
                  <a:schemeClr val="tx1"/>
                </a:solidFill>
                <a:latin typeface="Gill Sans MT Light" pitchFamily="34" charset="0"/>
              </a:defRPr>
            </a:lvl5pPr>
            <a:lvl6pPr marL="2514600" indent="-22860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Gill Sans MT Light" pitchFamily="34" charset="0"/>
              </a:defRPr>
            </a:lvl6pPr>
            <a:lvl7pPr marL="2971800" indent="-22860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Gill Sans MT Light" pitchFamily="34" charset="0"/>
              </a:defRPr>
            </a:lvl7pPr>
            <a:lvl8pPr marL="3429000" indent="-22860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Gill Sans MT Light" pitchFamily="34" charset="0"/>
              </a:defRPr>
            </a:lvl8pPr>
            <a:lvl9pPr marL="3886200" indent="-22860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Gill Sans MT Light" pitchFamily="34" charset="0"/>
              </a:defRPr>
            </a:lvl9pPr>
          </a:lstStyle>
          <a:p>
            <a:pPr eaLnBrk="1" hangingPunct="1">
              <a:lnSpc>
                <a:spcPct val="105000"/>
              </a:lnSpc>
              <a:buClrTx/>
              <a:buFontTx/>
              <a:buNone/>
            </a:pPr>
            <a:r>
              <a:rPr lang="de-DE" altLang="de-DE" sz="3100" dirty="0">
                <a:solidFill>
                  <a:srgbClr val="005B99"/>
                </a:solidFill>
                <a:latin typeface="+mj-lt"/>
                <a:ea typeface="+mj-ea"/>
                <a:cs typeface="+mj-cs"/>
              </a:rPr>
              <a:t>ACATIS Investment </a:t>
            </a:r>
          </a:p>
        </p:txBody>
      </p:sp>
      <p:sp>
        <p:nvSpPr>
          <p:cNvPr id="5124" name="Rectangle 3"/>
          <p:cNvSpPr>
            <a:spLocks noChangeArrowheads="1"/>
          </p:cNvSpPr>
          <p:nvPr/>
        </p:nvSpPr>
        <p:spPr bwMode="auto">
          <a:xfrm>
            <a:off x="3219450" y="1898650"/>
            <a:ext cx="5403850" cy="414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61938" indent="-261938">
              <a:lnSpc>
                <a:spcPct val="140000"/>
              </a:lnSpc>
              <a:buClr>
                <a:srgbClr val="7A929D"/>
              </a:buClr>
              <a:buFont typeface="Arial" charset="0"/>
              <a:buChar char="■"/>
              <a:defRPr sz="2100">
                <a:solidFill>
                  <a:schemeClr val="tx1"/>
                </a:solidFill>
                <a:latin typeface="Gill Sans MT Light" pitchFamily="34" charset="0"/>
              </a:defRPr>
            </a:lvl1pPr>
            <a:lvl2pPr marL="742950" indent="-285750">
              <a:lnSpc>
                <a:spcPct val="140000"/>
              </a:lnSpc>
              <a:buClr>
                <a:srgbClr val="7A929D"/>
              </a:buClr>
              <a:buSzPct val="70000"/>
              <a:buFont typeface="Arial" charset="0"/>
              <a:buChar char="■"/>
              <a:defRPr sz="2100">
                <a:solidFill>
                  <a:schemeClr val="tx1"/>
                </a:solidFill>
                <a:latin typeface="Gill Sans MT Light" pitchFamily="34" charset="0"/>
              </a:defRPr>
            </a:lvl2pPr>
            <a:lvl3pPr marL="1143000" indent="-228600">
              <a:lnSpc>
                <a:spcPct val="140000"/>
              </a:lnSpc>
              <a:buClr>
                <a:srgbClr val="7A929D"/>
              </a:buClr>
              <a:buSzPct val="70000"/>
              <a:buFont typeface="Arial" charset="0"/>
              <a:buChar char="■"/>
              <a:defRPr sz="2100">
                <a:solidFill>
                  <a:schemeClr val="tx1"/>
                </a:solidFill>
                <a:latin typeface="Gill Sans MT Light" pitchFamily="34" charset="0"/>
              </a:defRPr>
            </a:lvl3pPr>
            <a:lvl4pPr marL="1600200" indent="-228600">
              <a:lnSpc>
                <a:spcPct val="140000"/>
              </a:lnSpc>
              <a:buClr>
                <a:srgbClr val="7A929D"/>
              </a:buClr>
              <a:buSzPct val="70000"/>
              <a:buFont typeface="Arial" charset="0"/>
              <a:buChar char="■"/>
              <a:defRPr sz="2100">
                <a:solidFill>
                  <a:schemeClr val="tx1"/>
                </a:solidFill>
                <a:latin typeface="Gill Sans MT Light" pitchFamily="34" charset="0"/>
              </a:defRPr>
            </a:lvl4pPr>
            <a:lvl5pPr marL="2057400" indent="-228600">
              <a:lnSpc>
                <a:spcPct val="140000"/>
              </a:lnSpc>
              <a:buClr>
                <a:srgbClr val="7A929D"/>
              </a:buClr>
              <a:buSzPct val="70000"/>
              <a:buFont typeface="Arial" charset="0"/>
              <a:buChar char="■"/>
              <a:defRPr sz="2100">
                <a:solidFill>
                  <a:schemeClr val="tx1"/>
                </a:solidFill>
                <a:latin typeface="Gill Sans MT Light" pitchFamily="34" charset="0"/>
              </a:defRPr>
            </a:lvl5pPr>
            <a:lvl6pPr marL="2514600" indent="-22860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Gill Sans MT Light" pitchFamily="34" charset="0"/>
              </a:defRPr>
            </a:lvl6pPr>
            <a:lvl7pPr marL="2971800" indent="-22860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Gill Sans MT Light" pitchFamily="34" charset="0"/>
              </a:defRPr>
            </a:lvl7pPr>
            <a:lvl8pPr marL="3429000" indent="-22860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Gill Sans MT Light" pitchFamily="34" charset="0"/>
              </a:defRPr>
            </a:lvl8pPr>
            <a:lvl9pPr marL="3886200" indent="-22860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Gill Sans MT Light" pitchFamily="34" charset="0"/>
              </a:defRPr>
            </a:lvl9pPr>
          </a:lstStyle>
          <a:p>
            <a:pPr>
              <a:lnSpc>
                <a:spcPct val="100000"/>
              </a:lnSpc>
              <a:spcAft>
                <a:spcPts val="1200"/>
              </a:spcAft>
              <a:buClr>
                <a:srgbClr val="7493A4"/>
              </a:buClr>
            </a:pPr>
            <a:r>
              <a:rPr lang="de-DE" altLang="de-DE" sz="1600" dirty="0"/>
              <a:t>ACATIS – </a:t>
            </a:r>
            <a:r>
              <a:rPr lang="de-DE" altLang="de-DE" sz="1600" dirty="0" err="1"/>
              <a:t>value-focused</a:t>
            </a:r>
            <a:r>
              <a:rPr lang="de-DE" altLang="de-DE" sz="1600" dirty="0"/>
              <a:t> </a:t>
            </a:r>
            <a:r>
              <a:rPr lang="de-DE" altLang="de-DE" sz="1600" dirty="0" err="1"/>
              <a:t>asset</a:t>
            </a:r>
            <a:r>
              <a:rPr lang="de-DE" altLang="de-DE" sz="1600" dirty="0"/>
              <a:t> </a:t>
            </a:r>
            <a:r>
              <a:rPr lang="de-DE" altLang="de-DE" sz="1600" dirty="0" err="1"/>
              <a:t>manager</a:t>
            </a:r>
            <a:r>
              <a:rPr lang="de-DE" altLang="de-DE" sz="1600" dirty="0"/>
              <a:t> </a:t>
            </a:r>
            <a:r>
              <a:rPr lang="de-DE" altLang="de-DE" sz="1600" dirty="0" err="1"/>
              <a:t>founded</a:t>
            </a:r>
            <a:r>
              <a:rPr lang="de-DE" altLang="de-DE" sz="1600" dirty="0"/>
              <a:t> in 1994.</a:t>
            </a:r>
          </a:p>
          <a:p>
            <a:pPr>
              <a:lnSpc>
                <a:spcPct val="100000"/>
              </a:lnSpc>
              <a:spcAft>
                <a:spcPts val="1200"/>
              </a:spcAft>
              <a:buClr>
                <a:srgbClr val="7493A4"/>
              </a:buClr>
            </a:pPr>
            <a:r>
              <a:rPr lang="de-DE" altLang="de-DE" sz="1600" dirty="0"/>
              <a:t>ACATIS </a:t>
            </a:r>
            <a:r>
              <a:rPr lang="en-US" altLang="de-DE" sz="1600" dirty="0"/>
              <a:t>searches for undervalued stocks in a systematic and </a:t>
            </a:r>
            <a:br>
              <a:rPr lang="en-US" altLang="de-DE" sz="1600" dirty="0"/>
            </a:br>
            <a:r>
              <a:rPr lang="en-US" altLang="de-DE" sz="1600" dirty="0" err="1"/>
              <a:t>databased</a:t>
            </a:r>
            <a:r>
              <a:rPr lang="en-US" altLang="de-DE" sz="1600" dirty="0"/>
              <a:t> process.</a:t>
            </a:r>
            <a:endParaRPr lang="de-DE" altLang="de-DE" sz="1600" dirty="0"/>
          </a:p>
          <a:p>
            <a:pPr>
              <a:lnSpc>
                <a:spcPct val="100000"/>
              </a:lnSpc>
              <a:spcAft>
                <a:spcPts val="1200"/>
              </a:spcAft>
              <a:buClr>
                <a:srgbClr val="7493A4"/>
              </a:buClr>
            </a:pPr>
            <a:r>
              <a:rPr lang="en-US" altLang="de-DE" sz="1600" dirty="0"/>
              <a:t>The monthly investment process is effective and consistent, with the funds achieving outperformance over the long-term.</a:t>
            </a:r>
          </a:p>
          <a:p>
            <a:pPr>
              <a:lnSpc>
                <a:spcPct val="100000"/>
              </a:lnSpc>
              <a:spcAft>
                <a:spcPts val="1200"/>
              </a:spcAft>
              <a:buClr>
                <a:srgbClr val="7493A4"/>
              </a:buClr>
            </a:pPr>
            <a:r>
              <a:rPr lang="en-US" altLang="de-DE" sz="1600" dirty="0"/>
              <a:t>ACATIS offers value-equity funds, value-balanced funds, value-sustainability funds and value-bond funds. S</a:t>
            </a:r>
            <a:r>
              <a:rPr lang="de-DE" altLang="de-DE" sz="1600" dirty="0" err="1"/>
              <a:t>ince</a:t>
            </a:r>
            <a:r>
              <a:rPr lang="de-DE" altLang="de-DE" sz="1600" dirty="0"/>
              <a:t> </a:t>
            </a:r>
            <a:r>
              <a:rPr lang="de-DE" altLang="de-DE" sz="1600" dirty="0" err="1"/>
              <a:t>October</a:t>
            </a:r>
            <a:r>
              <a:rPr lang="de-DE" altLang="de-DE" sz="1600" dirty="0"/>
              <a:t> 2016, ACATIS </a:t>
            </a:r>
            <a:r>
              <a:rPr lang="de-DE" altLang="de-DE" sz="1600" dirty="0" err="1"/>
              <a:t>has</a:t>
            </a:r>
            <a:r>
              <a:rPr lang="de-DE" altLang="de-DE" sz="1600" dirty="0"/>
              <a:t> </a:t>
            </a:r>
            <a:r>
              <a:rPr lang="de-DE" altLang="de-DE" sz="1600" dirty="0" err="1"/>
              <a:t>been</a:t>
            </a:r>
            <a:r>
              <a:rPr lang="de-DE" altLang="de-DE" sz="1600" dirty="0"/>
              <a:t> </a:t>
            </a:r>
            <a:r>
              <a:rPr lang="de-DE" altLang="de-DE" sz="1600" dirty="0" err="1"/>
              <a:t>offering</a:t>
            </a:r>
            <a:r>
              <a:rPr lang="de-DE" altLang="de-DE" sz="1600" dirty="0"/>
              <a:t> </a:t>
            </a:r>
            <a:r>
              <a:rPr lang="de-DE" altLang="de-DE" sz="1600" dirty="0" err="1"/>
              <a:t>equity</a:t>
            </a:r>
            <a:r>
              <a:rPr lang="de-DE" altLang="de-DE" sz="1600" dirty="0"/>
              <a:t> </a:t>
            </a:r>
            <a:r>
              <a:rPr lang="de-DE" altLang="de-DE" sz="1600" dirty="0" err="1"/>
              <a:t>funds</a:t>
            </a:r>
            <a:r>
              <a:rPr lang="de-DE" altLang="de-DE" sz="1600" dirty="0"/>
              <a:t> </a:t>
            </a:r>
            <a:r>
              <a:rPr lang="de-DE" altLang="de-DE" sz="1600" dirty="0" err="1"/>
              <a:t>based</a:t>
            </a:r>
            <a:r>
              <a:rPr lang="de-DE" altLang="de-DE" sz="1600" dirty="0"/>
              <a:t> on </a:t>
            </a:r>
            <a:r>
              <a:rPr lang="de-DE" altLang="de-DE" sz="1600" dirty="0" err="1"/>
              <a:t>artificial</a:t>
            </a:r>
            <a:r>
              <a:rPr lang="de-DE" altLang="de-DE" sz="1600" dirty="0"/>
              <a:t> </a:t>
            </a:r>
            <a:r>
              <a:rPr lang="de-DE" altLang="de-DE" sz="1600" dirty="0" err="1"/>
              <a:t>intelligence</a:t>
            </a:r>
            <a:r>
              <a:rPr lang="en-US" altLang="de-DE" sz="1600" dirty="0"/>
              <a:t>.</a:t>
            </a:r>
            <a:endParaRPr lang="de-DE" altLang="de-DE" sz="1600" dirty="0"/>
          </a:p>
          <a:p>
            <a:pPr>
              <a:lnSpc>
                <a:spcPct val="100000"/>
              </a:lnSpc>
              <a:spcAft>
                <a:spcPts val="1200"/>
              </a:spcAft>
              <a:buClr>
                <a:srgbClr val="7493A4"/>
              </a:buClr>
            </a:pPr>
            <a:r>
              <a:rPr lang="en-US" altLang="de-DE" sz="1600" dirty="0"/>
              <a:t>Assets under management EUR 10.1 bn </a:t>
            </a:r>
            <a:r>
              <a:rPr lang="en-US" altLang="de-DE" sz="1200" dirty="0"/>
              <a:t>(as of 31 January 2021).</a:t>
            </a:r>
          </a:p>
          <a:p>
            <a:pPr marL="0" indent="0">
              <a:buClr>
                <a:srgbClr val="7493A4"/>
              </a:buClr>
              <a:buNone/>
            </a:pPr>
            <a:endParaRPr lang="en-US" altLang="de-DE" sz="1600" dirty="0"/>
          </a:p>
        </p:txBody>
      </p:sp>
      <p:pic>
        <p:nvPicPr>
          <p:cNvPr id="5125" name="Picture 15" descr="Vermögensverwaltu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8315" y="2014538"/>
            <a:ext cx="2349500" cy="351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400539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8" name="Rectangle 6"/>
          <p:cNvSpPr>
            <a:spLocks noGrp="1" noChangeArrowheads="1"/>
          </p:cNvSpPr>
          <p:nvPr>
            <p:ph type="title"/>
          </p:nvPr>
        </p:nvSpPr>
        <p:spPr>
          <a:xfrm>
            <a:off x="365079" y="770859"/>
            <a:ext cx="7231599" cy="475258"/>
          </a:xfrm>
        </p:spPr>
        <p:txBody>
          <a:bodyPr/>
          <a:lstStyle/>
          <a:p>
            <a:pPr eaLnBrk="1" hangingPunct="1"/>
            <a:r>
              <a:rPr lang="en-GB" sz="3100" dirty="0"/>
              <a:t>The </a:t>
            </a:r>
            <a:r>
              <a:rPr lang="en-GB" sz="3100" kern="1200" dirty="0"/>
              <a:t>Qilin Capital core team combines excellent Asia and China research expertise</a:t>
            </a:r>
          </a:p>
        </p:txBody>
      </p:sp>
      <p:sp>
        <p:nvSpPr>
          <p:cNvPr id="16" name="Text Box 12"/>
          <p:cNvSpPr txBox="1">
            <a:spLocks noChangeArrowheads="1"/>
          </p:cNvSpPr>
          <p:nvPr/>
        </p:nvSpPr>
        <p:spPr bwMode="auto">
          <a:xfrm>
            <a:off x="509095" y="4165057"/>
            <a:ext cx="1453711" cy="1862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r>
              <a:rPr lang="en-GB" sz="1000" b="1" dirty="0">
                <a:solidFill>
                  <a:srgbClr val="000000"/>
                </a:solidFill>
              </a:rPr>
              <a:t>Prof. Dr. Ingo Beyer von Morgenstern – “Asia and China Insider”</a:t>
            </a:r>
          </a:p>
          <a:p>
            <a:pPr eaLnBrk="0" fontAlgn="base" hangingPunct="0">
              <a:lnSpc>
                <a:spcPct val="50000"/>
              </a:lnSpc>
              <a:spcBef>
                <a:spcPct val="0"/>
              </a:spcBef>
              <a:spcAft>
                <a:spcPct val="0"/>
              </a:spcAft>
            </a:pPr>
            <a:endParaRPr lang="de-DE" sz="1000" b="1" dirty="0">
              <a:solidFill>
                <a:srgbClr val="000000"/>
              </a:solidFill>
            </a:endParaRPr>
          </a:p>
          <a:p>
            <a:pPr marL="171450" indent="-171450">
              <a:buClr>
                <a:srgbClr val="8A9DAB"/>
              </a:buClr>
              <a:buFont typeface="Wingdings" panose="05000000000000000000" pitchFamily="2" charset="2"/>
              <a:buChar char="§"/>
            </a:pPr>
            <a:r>
              <a:rPr lang="en-GB" sz="1000" dirty="0">
                <a:solidFill>
                  <a:srgbClr val="000000"/>
                </a:solidFill>
              </a:rPr>
              <a:t>30 years McKinsey &amp; Company, 10 years McKinsey China, McKinsey Asian Practice Leader</a:t>
            </a:r>
          </a:p>
          <a:p>
            <a:pPr marL="171450" indent="-171450">
              <a:buClr>
                <a:srgbClr val="8A9DAB"/>
              </a:buClr>
              <a:buFont typeface="Wingdings" panose="05000000000000000000" pitchFamily="2" charset="2"/>
              <a:buChar char="§"/>
            </a:pPr>
            <a:r>
              <a:rPr lang="en-GB" sz="1000" dirty="0">
                <a:solidFill>
                  <a:srgbClr val="000000"/>
                </a:solidFill>
              </a:rPr>
              <a:t>Honorary professor at Tsinghua University</a:t>
            </a:r>
          </a:p>
          <a:p>
            <a:pPr fontAlgn="base">
              <a:spcBef>
                <a:spcPct val="0"/>
              </a:spcBef>
              <a:spcAft>
                <a:spcPct val="0"/>
              </a:spcAft>
            </a:pPr>
            <a:endParaRPr lang="de-DE" sz="1000" dirty="0">
              <a:solidFill>
                <a:srgbClr val="000000"/>
              </a:solidFill>
            </a:endParaRPr>
          </a:p>
        </p:txBody>
      </p:sp>
      <p:sp>
        <p:nvSpPr>
          <p:cNvPr id="23" name="Text Box 12"/>
          <p:cNvSpPr txBox="1">
            <a:spLocks noChangeArrowheads="1"/>
          </p:cNvSpPr>
          <p:nvPr/>
        </p:nvSpPr>
        <p:spPr bwMode="auto">
          <a:xfrm>
            <a:off x="2155314" y="4149523"/>
            <a:ext cx="1478972" cy="2169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r>
              <a:rPr lang="en-GB" sz="1000" b="1" dirty="0">
                <a:solidFill>
                  <a:srgbClr val="000000"/>
                </a:solidFill>
              </a:rPr>
              <a:t>Dr. Stefan Albrecht – </a:t>
            </a:r>
          </a:p>
          <a:p>
            <a:r>
              <a:rPr lang="en-GB" sz="1000" b="1" dirty="0">
                <a:solidFill>
                  <a:srgbClr val="000000"/>
                </a:solidFill>
              </a:rPr>
              <a:t>“Asia and China Insider”</a:t>
            </a:r>
          </a:p>
          <a:p>
            <a:endParaRPr lang="en-GB" sz="1000" b="1" dirty="0">
              <a:solidFill>
                <a:srgbClr val="000000"/>
              </a:solidFill>
            </a:endParaRPr>
          </a:p>
          <a:p>
            <a:pPr eaLnBrk="0" fontAlgn="base" hangingPunct="0">
              <a:lnSpc>
                <a:spcPct val="50000"/>
              </a:lnSpc>
              <a:spcBef>
                <a:spcPct val="0"/>
              </a:spcBef>
              <a:spcAft>
                <a:spcPct val="0"/>
              </a:spcAft>
            </a:pPr>
            <a:endParaRPr lang="de-DE" sz="1000" b="1" dirty="0">
              <a:solidFill>
                <a:srgbClr val="000000"/>
              </a:solidFill>
            </a:endParaRPr>
          </a:p>
          <a:p>
            <a:pPr marL="171450" indent="-171450">
              <a:buClr>
                <a:srgbClr val="8A9DAB"/>
              </a:buClr>
              <a:buFont typeface="Wingdings" panose="05000000000000000000" pitchFamily="2" charset="2"/>
              <a:buChar char="§"/>
            </a:pPr>
            <a:r>
              <a:rPr lang="en-GB" sz="1000" dirty="0">
                <a:solidFill>
                  <a:srgbClr val="000000"/>
                </a:solidFill>
              </a:rPr>
              <a:t>20 years McKinsey &amp; Company, 15 years McKinsey China, McKinsey Asia Consumer Electronics Practice Leader</a:t>
            </a:r>
          </a:p>
          <a:p>
            <a:pPr marL="171450" indent="-171450">
              <a:buClr>
                <a:srgbClr val="8A9DAB"/>
              </a:buClr>
              <a:buFont typeface="Wingdings" panose="05000000000000000000" pitchFamily="2" charset="2"/>
              <a:buChar char="§"/>
            </a:pPr>
            <a:r>
              <a:rPr lang="en-GB" sz="1000" dirty="0">
                <a:solidFill>
                  <a:srgbClr val="000000"/>
                </a:solidFill>
              </a:rPr>
              <a:t>Scholar of the “Studienstiftung des deutschen Volkes”</a:t>
            </a:r>
          </a:p>
          <a:p>
            <a:pPr fontAlgn="base">
              <a:spcBef>
                <a:spcPct val="0"/>
              </a:spcBef>
              <a:spcAft>
                <a:spcPct val="0"/>
              </a:spcAft>
            </a:pPr>
            <a:endParaRPr lang="de-DE" sz="1000" dirty="0">
              <a:solidFill>
                <a:srgbClr val="000000"/>
              </a:solidFill>
            </a:endParaRPr>
          </a:p>
        </p:txBody>
      </p:sp>
      <p:sp>
        <p:nvSpPr>
          <p:cNvPr id="15" name="Text Box 12"/>
          <p:cNvSpPr txBox="1">
            <a:spLocks noChangeArrowheads="1"/>
          </p:cNvSpPr>
          <p:nvPr/>
        </p:nvSpPr>
        <p:spPr bwMode="auto">
          <a:xfrm>
            <a:off x="3845382" y="4141931"/>
            <a:ext cx="1482003" cy="1862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r>
              <a:rPr lang="en-GB" sz="1000" b="1" dirty="0">
                <a:solidFill>
                  <a:srgbClr val="000000"/>
                </a:solidFill>
              </a:rPr>
              <a:t>Patrick Liu – </a:t>
            </a:r>
          </a:p>
          <a:p>
            <a:r>
              <a:rPr lang="en-GB" sz="1000" b="1" dirty="0">
                <a:solidFill>
                  <a:srgbClr val="000000"/>
                </a:solidFill>
              </a:rPr>
              <a:t>China Research Manager</a:t>
            </a:r>
          </a:p>
          <a:p>
            <a:endParaRPr lang="en-GB" sz="1000" b="1" dirty="0">
              <a:solidFill>
                <a:srgbClr val="000000"/>
              </a:solidFill>
            </a:endParaRPr>
          </a:p>
          <a:p>
            <a:pPr eaLnBrk="0" fontAlgn="base" hangingPunct="0">
              <a:lnSpc>
                <a:spcPct val="50000"/>
              </a:lnSpc>
              <a:spcBef>
                <a:spcPct val="0"/>
              </a:spcBef>
              <a:spcAft>
                <a:spcPct val="0"/>
              </a:spcAft>
            </a:pPr>
            <a:endParaRPr lang="de-DE" sz="1000" b="1" dirty="0">
              <a:solidFill>
                <a:srgbClr val="000000"/>
              </a:solidFill>
            </a:endParaRPr>
          </a:p>
          <a:p>
            <a:pPr marL="171450" indent="-171450">
              <a:buClr>
                <a:srgbClr val="8A9DAB"/>
              </a:buClr>
              <a:buFont typeface="Wingdings" panose="05000000000000000000" pitchFamily="2" charset="2"/>
              <a:buChar char="§"/>
            </a:pPr>
            <a:r>
              <a:rPr lang="en-GB" sz="1000" dirty="0"/>
              <a:t>Manager of Asia Champions Research in Shanghai</a:t>
            </a:r>
          </a:p>
          <a:p>
            <a:pPr marL="171450" indent="-171450">
              <a:buClr>
                <a:srgbClr val="8A9DAB"/>
              </a:buClr>
              <a:buFont typeface="Wingdings" panose="05000000000000000000" pitchFamily="2" charset="2"/>
              <a:buChar char="§"/>
            </a:pPr>
            <a:r>
              <a:rPr lang="en-GB" sz="1000" dirty="0"/>
              <a:t>Former Manager of McKinsey High-Tech Practice Research in Shanghai</a:t>
            </a:r>
          </a:p>
          <a:p>
            <a:pPr fontAlgn="base">
              <a:spcBef>
                <a:spcPct val="0"/>
              </a:spcBef>
              <a:spcAft>
                <a:spcPct val="0"/>
              </a:spcAft>
            </a:pPr>
            <a:endParaRPr lang="de-DE" sz="1000" dirty="0">
              <a:solidFill>
                <a:srgbClr val="000000"/>
              </a:solidFill>
            </a:endParaRPr>
          </a:p>
        </p:txBody>
      </p:sp>
      <p:sp>
        <p:nvSpPr>
          <p:cNvPr id="10" name="Text Box 12"/>
          <p:cNvSpPr txBox="1">
            <a:spLocks noChangeArrowheads="1"/>
          </p:cNvSpPr>
          <p:nvPr/>
        </p:nvSpPr>
        <p:spPr bwMode="auto">
          <a:xfrm>
            <a:off x="5315550" y="4141931"/>
            <a:ext cx="1344705" cy="2046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r>
              <a:rPr lang="de-DE" sz="1000" b="1" dirty="0">
                <a:solidFill>
                  <a:srgbClr val="000000"/>
                </a:solidFill>
              </a:rPr>
              <a:t>MaryAnn Li – </a:t>
            </a:r>
          </a:p>
          <a:p>
            <a:r>
              <a:rPr lang="de-DE" sz="1000" b="1" dirty="0">
                <a:solidFill>
                  <a:srgbClr val="000000"/>
                </a:solidFill>
              </a:rPr>
              <a:t>China Investment Industry Professional</a:t>
            </a:r>
          </a:p>
          <a:p>
            <a:endParaRPr lang="en-US" sz="700" b="1" dirty="0">
              <a:solidFill>
                <a:srgbClr val="000000"/>
              </a:solidFill>
            </a:endParaRPr>
          </a:p>
          <a:p>
            <a:pPr marL="171450" indent="-171450">
              <a:buClr>
                <a:srgbClr val="8A9DAB"/>
              </a:buClr>
              <a:buFont typeface="Wingdings" panose="05000000000000000000" pitchFamily="2" charset="2"/>
              <a:buChar char="§"/>
            </a:pPr>
            <a:r>
              <a:rPr lang="de-DE" sz="1000" dirty="0">
                <a:solidFill>
                  <a:srgbClr val="000000"/>
                </a:solidFill>
              </a:rPr>
              <a:t>Former Associate </a:t>
            </a:r>
            <a:r>
              <a:rPr lang="de-DE" sz="1000" dirty="0" err="1">
                <a:solidFill>
                  <a:srgbClr val="000000"/>
                </a:solidFill>
              </a:rPr>
              <a:t>Principal</a:t>
            </a:r>
            <a:r>
              <a:rPr lang="de-DE" sz="1000" dirty="0">
                <a:solidFill>
                  <a:srgbClr val="000000"/>
                </a:solidFill>
              </a:rPr>
              <a:t> at McKinsey &amp; Company in Beijing</a:t>
            </a:r>
          </a:p>
          <a:p>
            <a:pPr marL="171450" indent="-171450">
              <a:buClr>
                <a:srgbClr val="8A9DAB"/>
              </a:buClr>
              <a:buFont typeface="Wingdings" panose="05000000000000000000" pitchFamily="2" charset="2"/>
              <a:buChar char="§"/>
            </a:pPr>
            <a:r>
              <a:rPr lang="de-DE" sz="1000" dirty="0">
                <a:solidFill>
                  <a:srgbClr val="000000"/>
                </a:solidFill>
              </a:rPr>
              <a:t>Former Manager </a:t>
            </a:r>
            <a:r>
              <a:rPr lang="de-DE" sz="1000" dirty="0" err="1">
                <a:solidFill>
                  <a:srgbClr val="000000"/>
                </a:solidFill>
              </a:rPr>
              <a:t>of</a:t>
            </a:r>
            <a:r>
              <a:rPr lang="de-DE" sz="1000" dirty="0">
                <a:solidFill>
                  <a:srgbClr val="000000"/>
                </a:solidFill>
              </a:rPr>
              <a:t> McKinsey Venture Capital Practice in Asia</a:t>
            </a:r>
          </a:p>
          <a:p>
            <a:pPr marL="171450" indent="-171450">
              <a:buFont typeface="Wingdings" panose="05000000000000000000" pitchFamily="2" charset="2"/>
              <a:buChar char="§"/>
            </a:pPr>
            <a:endParaRPr lang="en-GB" sz="1000" dirty="0">
              <a:solidFill>
                <a:srgbClr val="000000"/>
              </a:solidFill>
            </a:endParaRPr>
          </a:p>
          <a:p>
            <a:pPr fontAlgn="base">
              <a:spcBef>
                <a:spcPct val="0"/>
              </a:spcBef>
              <a:spcAft>
                <a:spcPct val="0"/>
              </a:spcAft>
            </a:pPr>
            <a:endParaRPr lang="de-DE" sz="1000" dirty="0">
              <a:solidFill>
                <a:srgbClr val="000000"/>
              </a:solidFill>
            </a:endParaRPr>
          </a:p>
        </p:txBody>
      </p:sp>
      <p:sp>
        <p:nvSpPr>
          <p:cNvPr id="11" name="Text Box 12"/>
          <p:cNvSpPr txBox="1">
            <a:spLocks noChangeArrowheads="1"/>
          </p:cNvSpPr>
          <p:nvPr/>
        </p:nvSpPr>
        <p:spPr bwMode="auto">
          <a:xfrm>
            <a:off x="6712087" y="4141932"/>
            <a:ext cx="1461377" cy="19133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a:defRPr sz="1200">
                <a:solidFill>
                  <a:schemeClr val="tx1"/>
                </a:solidFill>
                <a:latin typeface="Gill Sans MT Light" pitchFamily="34" charset="0"/>
              </a:defRPr>
            </a:lvl1pPr>
            <a:lvl2pPr marL="742950" indent="-285750">
              <a:defRPr sz="1200">
                <a:solidFill>
                  <a:schemeClr val="tx1"/>
                </a:solidFill>
                <a:latin typeface="Gill Sans MT Light" pitchFamily="34" charset="0"/>
              </a:defRPr>
            </a:lvl2pPr>
            <a:lvl3pPr marL="1143000" indent="-228600">
              <a:defRPr sz="1200">
                <a:solidFill>
                  <a:schemeClr val="tx1"/>
                </a:solidFill>
                <a:latin typeface="Gill Sans MT Light" pitchFamily="34" charset="0"/>
              </a:defRPr>
            </a:lvl3pPr>
            <a:lvl4pPr marL="1600200" indent="-228600">
              <a:defRPr sz="1200">
                <a:solidFill>
                  <a:schemeClr val="tx1"/>
                </a:solidFill>
                <a:latin typeface="Gill Sans MT Light" pitchFamily="34" charset="0"/>
              </a:defRPr>
            </a:lvl4pPr>
            <a:lvl5pPr marL="2057400" indent="-228600">
              <a:defRPr sz="1200">
                <a:solidFill>
                  <a:schemeClr val="tx1"/>
                </a:solidFill>
                <a:latin typeface="Gill Sans MT Light" pitchFamily="34" charset="0"/>
              </a:defRPr>
            </a:lvl5pPr>
            <a:lvl6pPr marL="2514600" indent="-228600" eaLnBrk="0" fontAlgn="base" hangingPunct="0">
              <a:spcBef>
                <a:spcPct val="0"/>
              </a:spcBef>
              <a:spcAft>
                <a:spcPct val="0"/>
              </a:spcAft>
              <a:defRPr sz="1200">
                <a:solidFill>
                  <a:schemeClr val="tx1"/>
                </a:solidFill>
                <a:latin typeface="Gill Sans MT Light" pitchFamily="34" charset="0"/>
              </a:defRPr>
            </a:lvl6pPr>
            <a:lvl7pPr marL="2971800" indent="-228600" eaLnBrk="0" fontAlgn="base" hangingPunct="0">
              <a:spcBef>
                <a:spcPct val="0"/>
              </a:spcBef>
              <a:spcAft>
                <a:spcPct val="0"/>
              </a:spcAft>
              <a:defRPr sz="1200">
                <a:solidFill>
                  <a:schemeClr val="tx1"/>
                </a:solidFill>
                <a:latin typeface="Gill Sans MT Light" pitchFamily="34" charset="0"/>
              </a:defRPr>
            </a:lvl7pPr>
            <a:lvl8pPr marL="3429000" indent="-228600" eaLnBrk="0" fontAlgn="base" hangingPunct="0">
              <a:spcBef>
                <a:spcPct val="0"/>
              </a:spcBef>
              <a:spcAft>
                <a:spcPct val="0"/>
              </a:spcAft>
              <a:defRPr sz="1200">
                <a:solidFill>
                  <a:schemeClr val="tx1"/>
                </a:solidFill>
                <a:latin typeface="Gill Sans MT Light" pitchFamily="34" charset="0"/>
              </a:defRPr>
            </a:lvl8pPr>
            <a:lvl9pPr marL="3886200" indent="-228600" eaLnBrk="0" fontAlgn="base" hangingPunct="0">
              <a:spcBef>
                <a:spcPct val="0"/>
              </a:spcBef>
              <a:spcAft>
                <a:spcPct val="0"/>
              </a:spcAft>
              <a:defRPr sz="1200">
                <a:solidFill>
                  <a:schemeClr val="tx1"/>
                </a:solidFill>
                <a:latin typeface="Gill Sans MT Light" pitchFamily="34" charset="0"/>
              </a:defRPr>
            </a:lvl9pPr>
          </a:lstStyle>
          <a:p>
            <a:pPr defTabSz="326018">
              <a:buSzPct val="120000"/>
            </a:pPr>
            <a:r>
              <a:rPr lang="en-GB" sz="1000" b="1" dirty="0"/>
              <a:t>Sofie Wang  – </a:t>
            </a:r>
          </a:p>
          <a:p>
            <a:pPr defTabSz="326018">
              <a:spcAft>
                <a:spcPts val="600"/>
              </a:spcAft>
              <a:buSzPct val="120000"/>
            </a:pPr>
            <a:r>
              <a:rPr lang="en-GB" sz="1000" b="1" dirty="0"/>
              <a:t>China Research Analyst</a:t>
            </a:r>
            <a:endParaRPr lang="de-DE" sz="1000" b="1" dirty="0"/>
          </a:p>
          <a:p>
            <a:pPr defTabSz="326018">
              <a:buSzPct val="120000"/>
            </a:pPr>
            <a:endParaRPr lang="de-DE" sz="1000" b="1" dirty="0"/>
          </a:p>
          <a:p>
            <a:pPr marL="182563" indent="-182563">
              <a:spcAft>
                <a:spcPts val="218"/>
              </a:spcAft>
              <a:buClr>
                <a:srgbClr val="8A9DAB"/>
              </a:buClr>
              <a:buFont typeface="Wingdings" pitchFamily="2" charset="2"/>
              <a:buChar char="§"/>
            </a:pPr>
            <a:r>
              <a:rPr lang="en-GB" sz="1000" dirty="0">
                <a:ea typeface="Calibri" pitchFamily="34" charset="0"/>
                <a:cs typeface="Calibri" pitchFamily="34" charset="0"/>
              </a:rPr>
              <a:t>Research Analyst at Asia Champions Research in Shanghai</a:t>
            </a:r>
          </a:p>
          <a:p>
            <a:pPr marL="182563" indent="-182563">
              <a:spcAft>
                <a:spcPts val="218"/>
              </a:spcAft>
              <a:buClr>
                <a:srgbClr val="8A9DAB"/>
              </a:buClr>
              <a:buFont typeface="Wingdings" pitchFamily="2" charset="2"/>
              <a:buChar char="§"/>
            </a:pPr>
            <a:r>
              <a:rPr lang="en-GB" sz="1000" dirty="0">
                <a:ea typeface="Calibri" pitchFamily="34" charset="0"/>
                <a:cs typeface="Calibri" pitchFamily="34" charset="0"/>
              </a:rPr>
              <a:t>Fund manager of the Hofstra Student Managed Investment Fund in New York</a:t>
            </a:r>
          </a:p>
          <a:p>
            <a:pPr fontAlgn="base">
              <a:spcBef>
                <a:spcPct val="0"/>
              </a:spcBef>
              <a:spcAft>
                <a:spcPct val="0"/>
              </a:spcAft>
            </a:pPr>
            <a:endParaRPr lang="de-DE" sz="1000" dirty="0">
              <a:solidFill>
                <a:srgbClr val="000000"/>
              </a:solidFill>
            </a:endParaRPr>
          </a:p>
        </p:txBody>
      </p:sp>
      <p:sp>
        <p:nvSpPr>
          <p:cNvPr id="19" name="Rectangle 2">
            <a:extLst>
              <a:ext uri="{FF2B5EF4-FFF2-40B4-BE49-F238E27FC236}">
                <a16:creationId xmlns:a16="http://schemas.microsoft.com/office/drawing/2014/main" id="{93E82117-1F95-41B6-9B08-959ED364F1F4}"/>
              </a:ext>
            </a:extLst>
          </p:cNvPr>
          <p:cNvSpPr>
            <a:spLocks noChangeArrowheads="1"/>
          </p:cNvSpPr>
          <p:nvPr/>
        </p:nvSpPr>
        <p:spPr bwMode="auto">
          <a:xfrm>
            <a:off x="509095" y="2523415"/>
            <a:ext cx="7433122" cy="1554272"/>
          </a:xfrm>
          <a:prstGeom prst="rect">
            <a:avLst/>
          </a:prstGeom>
          <a:solidFill>
            <a:srgbClr val="D9D9D9"/>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endParaRPr lang="de-DE"/>
          </a:p>
        </p:txBody>
      </p:sp>
      <p:pic>
        <p:nvPicPr>
          <p:cNvPr id="20" name="Picture 3" descr="Sofie_Wang-removebg-preview">
            <a:extLst>
              <a:ext uri="{FF2B5EF4-FFF2-40B4-BE49-F238E27FC236}">
                <a16:creationId xmlns:a16="http://schemas.microsoft.com/office/drawing/2014/main" id="{E9C4D07A-3F6C-4276-AE0B-4C05823BDA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b="3650"/>
          <a:stretch>
            <a:fillRect/>
          </a:stretch>
        </p:blipFill>
        <p:spPr bwMode="auto">
          <a:xfrm>
            <a:off x="6660255" y="2607929"/>
            <a:ext cx="1015504" cy="147452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21" name="Picture 4" descr="Patrick_Liu-removebg-preview">
            <a:extLst>
              <a:ext uri="{FF2B5EF4-FFF2-40B4-BE49-F238E27FC236}">
                <a16:creationId xmlns:a16="http://schemas.microsoft.com/office/drawing/2014/main" id="{3FD3197F-3244-405E-B2A4-E87F45FEC1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b="3426"/>
          <a:stretch>
            <a:fillRect/>
          </a:stretch>
        </p:blipFill>
        <p:spPr bwMode="auto">
          <a:xfrm>
            <a:off x="3793772" y="2597850"/>
            <a:ext cx="1098801" cy="1479837"/>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22" name="Picture 6" descr="Beyer_von_Morgenstern-removebg-preview">
            <a:extLst>
              <a:ext uri="{FF2B5EF4-FFF2-40B4-BE49-F238E27FC236}">
                <a16:creationId xmlns:a16="http://schemas.microsoft.com/office/drawing/2014/main" id="{9A81AE6E-F4FA-4C62-BFF7-A49CA59E19F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1574" y="2533755"/>
            <a:ext cx="1531232" cy="1531232"/>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24" name="Picture 7" descr="Stefan_Albrecht_2014_hellgrauer_Hintergrund-removebg-preview">
            <a:extLst>
              <a:ext uri="{FF2B5EF4-FFF2-40B4-BE49-F238E27FC236}">
                <a16:creationId xmlns:a16="http://schemas.microsoft.com/office/drawing/2014/main" id="{46A86903-9756-4503-A8EB-A05AC6EEC43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844182" y="2567427"/>
            <a:ext cx="1922902" cy="149756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25" name="Grafik 24" descr="Ein Bild, das Person, Frau, drinnen, haltend enthält.&#10;&#10;Automatisch generierte Beschreibung">
            <a:extLst>
              <a:ext uri="{FF2B5EF4-FFF2-40B4-BE49-F238E27FC236}">
                <a16:creationId xmlns:a16="http://schemas.microsoft.com/office/drawing/2014/main" id="{38021EC8-02EF-4065-83E3-899D61422BEE}"/>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b="17254"/>
          <a:stretch/>
        </p:blipFill>
        <p:spPr>
          <a:xfrm>
            <a:off x="5217003" y="2513891"/>
            <a:ext cx="1261231" cy="1563796"/>
          </a:xfrm>
          <a:prstGeom prst="rect">
            <a:avLst/>
          </a:prstGeom>
        </p:spPr>
      </p:pic>
    </p:spTree>
    <p:extLst>
      <p:ext uri="{BB962C8B-B14F-4D97-AF65-F5344CB8AC3E}">
        <p14:creationId xmlns:p14="http://schemas.microsoft.com/office/powerpoint/2010/main" val="178573659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elle 6"/>
          <p:cNvGraphicFramePr>
            <a:graphicFrameLocks noGrp="1"/>
          </p:cNvGraphicFramePr>
          <p:nvPr>
            <p:extLst>
              <p:ext uri="{D42A27DB-BD31-4B8C-83A1-F6EECF244321}">
                <p14:modId xmlns:p14="http://schemas.microsoft.com/office/powerpoint/2010/main" val="2824378775"/>
              </p:ext>
            </p:extLst>
          </p:nvPr>
        </p:nvGraphicFramePr>
        <p:xfrm>
          <a:off x="360151" y="2071475"/>
          <a:ext cx="7077073" cy="4575708"/>
        </p:xfrm>
        <a:graphic>
          <a:graphicData uri="http://schemas.openxmlformats.org/drawingml/2006/table">
            <a:tbl>
              <a:tblPr firstRow="1" bandRow="1">
                <a:tableStyleId>{5C22544A-7EE6-4342-B048-85BDC9FD1C3A}</a:tableStyleId>
              </a:tblPr>
              <a:tblGrid>
                <a:gridCol w="1436659">
                  <a:extLst>
                    <a:ext uri="{9D8B030D-6E8A-4147-A177-3AD203B41FA5}">
                      <a16:colId xmlns:a16="http://schemas.microsoft.com/office/drawing/2014/main" val="20000"/>
                    </a:ext>
                  </a:extLst>
                </a:gridCol>
                <a:gridCol w="2268564">
                  <a:extLst>
                    <a:ext uri="{9D8B030D-6E8A-4147-A177-3AD203B41FA5}">
                      <a16:colId xmlns:a16="http://schemas.microsoft.com/office/drawing/2014/main" val="20001"/>
                    </a:ext>
                  </a:extLst>
                </a:gridCol>
                <a:gridCol w="1136623">
                  <a:extLst>
                    <a:ext uri="{9D8B030D-6E8A-4147-A177-3AD203B41FA5}">
                      <a16:colId xmlns:a16="http://schemas.microsoft.com/office/drawing/2014/main" val="20002"/>
                    </a:ext>
                  </a:extLst>
                </a:gridCol>
                <a:gridCol w="2235227">
                  <a:extLst>
                    <a:ext uri="{9D8B030D-6E8A-4147-A177-3AD203B41FA5}">
                      <a16:colId xmlns:a16="http://schemas.microsoft.com/office/drawing/2014/main" val="20003"/>
                    </a:ext>
                  </a:extLst>
                </a:gridCol>
              </a:tblGrid>
              <a:tr h="762618">
                <a:tc>
                  <a:txBody>
                    <a:bodyPr/>
                    <a:lstStyle/>
                    <a:p>
                      <a:endParaRPr lang="de-DE" sz="16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226" rtl="0" eaLnBrk="1" fontAlgn="auto" latinLnBrk="0" hangingPunct="1">
                        <a:lnSpc>
                          <a:spcPct val="100000"/>
                        </a:lnSpc>
                        <a:spcBef>
                          <a:spcPts val="0"/>
                        </a:spcBef>
                        <a:spcAft>
                          <a:spcPts val="0"/>
                        </a:spcAft>
                        <a:buClrTx/>
                        <a:buSzTx/>
                        <a:buFontTx/>
                        <a:buNone/>
                        <a:tabLst/>
                        <a:defRPr/>
                      </a:pPr>
                      <a:r>
                        <a:rPr lang="de-DE" sz="1600" b="0" dirty="0">
                          <a:solidFill>
                            <a:schemeClr val="tx1"/>
                          </a:solidFill>
                          <a:latin typeface="+mn-lt"/>
                        </a:rPr>
                        <a:t>€ Fund Award 202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sz="16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sz="16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62618">
                <a:tc>
                  <a:txBody>
                    <a:bodyPr/>
                    <a:lstStyle/>
                    <a:p>
                      <a:endParaRPr lang="de-DE" sz="16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600" b="0" dirty="0">
                          <a:solidFill>
                            <a:schemeClr val="tx1"/>
                          </a:solidFill>
                          <a:latin typeface="+mn-lt"/>
                        </a:rPr>
                        <a:t>Fund Manager </a:t>
                      </a:r>
                      <a:r>
                        <a:rPr lang="de-DE" sz="1600" b="0" dirty="0" err="1">
                          <a:solidFill>
                            <a:schemeClr val="tx1"/>
                          </a:solidFill>
                          <a:latin typeface="+mn-lt"/>
                        </a:rPr>
                        <a:t>of</a:t>
                      </a:r>
                      <a:r>
                        <a:rPr lang="de-DE" sz="1600" b="0" dirty="0">
                          <a:solidFill>
                            <a:schemeClr val="tx1"/>
                          </a:solidFill>
                          <a:latin typeface="+mn-lt"/>
                        </a:rPr>
                        <a:t> </a:t>
                      </a:r>
                      <a:r>
                        <a:rPr lang="de-DE" sz="1600" b="0" dirty="0" err="1">
                          <a:solidFill>
                            <a:schemeClr val="tx1"/>
                          </a:solidFill>
                          <a:latin typeface="+mn-lt"/>
                        </a:rPr>
                        <a:t>the</a:t>
                      </a:r>
                      <a:r>
                        <a:rPr lang="de-DE" sz="1600" b="0" dirty="0">
                          <a:solidFill>
                            <a:schemeClr val="tx1"/>
                          </a:solidFill>
                          <a:latin typeface="+mn-lt"/>
                        </a:rPr>
                        <a:t> Year 2017</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sz="16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600" b="0" dirty="0">
                          <a:solidFill>
                            <a:schemeClr val="tx1"/>
                          </a:solidFill>
                          <a:latin typeface="+mn-lt"/>
                        </a:rPr>
                        <a:t>MLP Fund Award 201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62618">
                <a:tc>
                  <a:txBody>
                    <a:bodyPr/>
                    <a:lstStyle/>
                    <a:p>
                      <a:endParaRPr lang="de-DE" sz="16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600" b="0" dirty="0">
                          <a:solidFill>
                            <a:schemeClr val="tx1"/>
                          </a:solidFill>
                          <a:latin typeface="+mn-lt"/>
                        </a:rPr>
                        <a:t>Deutscher Fondspreis 2019 </a:t>
                      </a:r>
                      <a:r>
                        <a:rPr lang="de-DE" sz="1200" b="0" dirty="0">
                          <a:solidFill>
                            <a:schemeClr val="tx1"/>
                          </a:solidFill>
                          <a:latin typeface="+mn-lt"/>
                        </a:rPr>
                        <a:t>(German Fund Awar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sz="16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600" b="0" dirty="0" err="1">
                          <a:solidFill>
                            <a:schemeClr val="tx1"/>
                          </a:solidFill>
                          <a:latin typeface="+mn-lt"/>
                        </a:rPr>
                        <a:t>Lipper</a:t>
                      </a:r>
                      <a:r>
                        <a:rPr lang="de-DE" sz="1600" b="0" dirty="0">
                          <a:solidFill>
                            <a:schemeClr val="tx1"/>
                          </a:solidFill>
                          <a:latin typeface="+mn-lt"/>
                        </a:rPr>
                        <a:t> Lead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62618">
                <a:tc>
                  <a:txBody>
                    <a:bodyPr/>
                    <a:lstStyle/>
                    <a:p>
                      <a:endParaRPr lang="de-DE" sz="16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600" b="0" dirty="0" err="1">
                          <a:solidFill>
                            <a:schemeClr val="tx1"/>
                          </a:solidFill>
                          <a:latin typeface="+mn-lt"/>
                        </a:rPr>
                        <a:t>Morningstar</a:t>
                      </a:r>
                      <a:endParaRPr lang="de-DE" sz="16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sz="16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6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62618">
                <a:tc>
                  <a:txBody>
                    <a:bodyPr/>
                    <a:lstStyle/>
                    <a:p>
                      <a:endParaRPr lang="de-DE" sz="16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sz="16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sz="16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sz="16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762618">
                <a:tc>
                  <a:txBody>
                    <a:bodyPr/>
                    <a:lstStyle/>
                    <a:p>
                      <a:endParaRPr lang="de-DE" sz="16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sz="16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sz="16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sz="1600" b="0" dirty="0">
                        <a:solidFill>
                          <a:schemeClr val="tx1"/>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15362" name="Rectangle 2"/>
          <p:cNvSpPr>
            <a:spLocks noGrp="1" noChangeArrowheads="1"/>
          </p:cNvSpPr>
          <p:nvPr>
            <p:ph type="title"/>
          </p:nvPr>
        </p:nvSpPr>
        <p:spPr>
          <a:xfrm>
            <a:off x="373188" y="497997"/>
            <a:ext cx="7702550" cy="475258"/>
          </a:xfrm>
          <a:noFill/>
        </p:spPr>
        <p:txBody>
          <a:bodyPr/>
          <a:lstStyle/>
          <a:p>
            <a:pPr eaLnBrk="1" hangingPunct="1"/>
            <a:r>
              <a:rPr lang="de-DE" sz="3100" dirty="0" err="1"/>
              <a:t>How</a:t>
            </a:r>
            <a:r>
              <a:rPr lang="de-DE" sz="3100" dirty="0"/>
              <a:t> </a:t>
            </a:r>
            <a:r>
              <a:rPr lang="de-DE" sz="3100" kern="1200" dirty="0" err="1"/>
              <a:t>others</a:t>
            </a:r>
            <a:r>
              <a:rPr lang="de-DE" sz="3100" kern="1200" dirty="0"/>
              <a:t> </a:t>
            </a:r>
            <a:r>
              <a:rPr lang="de-DE" sz="3100" kern="1200" dirty="0" err="1"/>
              <a:t>evaluate</a:t>
            </a:r>
            <a:r>
              <a:rPr lang="de-DE" sz="3100" kern="1200" dirty="0"/>
              <a:t> </a:t>
            </a:r>
            <a:r>
              <a:rPr lang="de-DE" sz="3100" kern="1200" dirty="0" err="1"/>
              <a:t>us</a:t>
            </a:r>
            <a:r>
              <a:rPr lang="de-DE" sz="3100" kern="1200" dirty="0"/>
              <a:t> – ACATIS </a:t>
            </a:r>
            <a:r>
              <a:rPr lang="de-DE" sz="3100" kern="1200" dirty="0" err="1"/>
              <a:t>awards</a:t>
            </a:r>
            <a:r>
              <a:rPr lang="de-DE" sz="3100" kern="1200" dirty="0"/>
              <a:t>*</a:t>
            </a:r>
          </a:p>
        </p:txBody>
      </p:sp>
      <p:sp>
        <p:nvSpPr>
          <p:cNvPr id="3" name="Textfeld 2"/>
          <p:cNvSpPr txBox="1"/>
          <p:nvPr/>
        </p:nvSpPr>
        <p:spPr>
          <a:xfrm>
            <a:off x="291618" y="6373672"/>
            <a:ext cx="2455087" cy="246221"/>
          </a:xfrm>
          <a:prstGeom prst="rect">
            <a:avLst/>
          </a:prstGeom>
          <a:noFill/>
        </p:spPr>
        <p:txBody>
          <a:bodyPr wrap="square" rtlCol="0">
            <a:spAutoFit/>
          </a:bodyPr>
          <a:lstStyle/>
          <a:p>
            <a:r>
              <a:rPr lang="en-US" sz="1000" dirty="0"/>
              <a:t>*Only awards of the last four years</a:t>
            </a:r>
            <a:endParaRPr lang="de-DE" sz="1000" dirty="0"/>
          </a:p>
        </p:txBody>
      </p:sp>
      <p:pic>
        <p:nvPicPr>
          <p:cNvPr id="14" name="Picture 100" descr="http://www.markify.com/images/ctm/originals/002232585.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35054" y="3773943"/>
            <a:ext cx="552233" cy="4527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Grafik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7086" y="4660831"/>
            <a:ext cx="880342" cy="170065"/>
          </a:xfrm>
          <a:prstGeom prst="rect">
            <a:avLst/>
          </a:prstGeom>
        </p:spPr>
      </p:pic>
      <p:pic>
        <p:nvPicPr>
          <p:cNvPr id="21" name="Grafik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5564" y="2739283"/>
            <a:ext cx="337317" cy="681373"/>
          </a:xfrm>
          <a:prstGeom prst="rect">
            <a:avLst/>
          </a:prstGeom>
        </p:spPr>
      </p:pic>
      <p:pic>
        <p:nvPicPr>
          <p:cNvPr id="22" name="Grafik 2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93457" y="2775730"/>
            <a:ext cx="566421" cy="800983"/>
          </a:xfrm>
          <a:prstGeom prst="rect">
            <a:avLst/>
          </a:prstGeom>
        </p:spPr>
      </p:pic>
      <p:pic>
        <p:nvPicPr>
          <p:cNvPr id="13" name="Grafik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53428" y="3658297"/>
            <a:ext cx="431084" cy="658144"/>
          </a:xfrm>
          <a:prstGeom prst="rect">
            <a:avLst/>
          </a:prstGeom>
        </p:spPr>
      </p:pic>
      <p:pic>
        <p:nvPicPr>
          <p:cNvPr id="11" name="Grafik 10" descr="Ein Bild, das Text, Whiteboard enthält.&#10;&#10;Automatisch generierte Beschreibung">
            <a:extLst>
              <a:ext uri="{FF2B5EF4-FFF2-40B4-BE49-F238E27FC236}">
                <a16:creationId xmlns:a16="http://schemas.microsoft.com/office/drawing/2014/main" id="{07354E77-C71D-4DC5-AED5-2FC22ACF9F4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06768" y="1942283"/>
            <a:ext cx="346026" cy="678180"/>
          </a:xfrm>
          <a:prstGeom prst="rect">
            <a:avLst/>
          </a:prstGeom>
        </p:spPr>
      </p:pic>
    </p:spTree>
    <p:extLst>
      <p:ext uri="{BB962C8B-B14F-4D97-AF65-F5344CB8AC3E}">
        <p14:creationId xmlns:p14="http://schemas.microsoft.com/office/powerpoint/2010/main" val="5355962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688981" y="2952671"/>
            <a:ext cx="7126282" cy="533479"/>
          </a:xfrm>
          <a:noFill/>
        </p:spPr>
        <p:txBody>
          <a:bodyPr/>
          <a:lstStyle/>
          <a:p>
            <a:r>
              <a:rPr lang="en-GB" dirty="0"/>
              <a:t>Basic Data and Communication</a:t>
            </a:r>
          </a:p>
        </p:txBody>
      </p:sp>
    </p:spTree>
    <p:extLst>
      <p:ext uri="{BB962C8B-B14F-4D97-AF65-F5344CB8AC3E}">
        <p14:creationId xmlns:p14="http://schemas.microsoft.com/office/powerpoint/2010/main" val="24584186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2064" y="696582"/>
            <a:ext cx="6837363" cy="475258"/>
          </a:xfrm>
        </p:spPr>
        <p:txBody>
          <a:bodyPr/>
          <a:lstStyle/>
          <a:p>
            <a:r>
              <a:rPr lang="en-US" sz="3100" dirty="0">
                <a:solidFill>
                  <a:srgbClr val="005B99"/>
                </a:solidFill>
              </a:rPr>
              <a:t>Fund data</a:t>
            </a:r>
          </a:p>
        </p:txBody>
      </p:sp>
      <p:graphicFrame>
        <p:nvGraphicFramePr>
          <p:cNvPr id="5" name="Group 64"/>
          <p:cNvGraphicFramePr>
            <a:graphicFrameLocks noGrp="1"/>
          </p:cNvGraphicFramePr>
          <p:nvPr>
            <p:extLst>
              <p:ext uri="{D42A27DB-BD31-4B8C-83A1-F6EECF244321}">
                <p14:modId xmlns:p14="http://schemas.microsoft.com/office/powerpoint/2010/main" val="2966050192"/>
              </p:ext>
            </p:extLst>
          </p:nvPr>
        </p:nvGraphicFramePr>
        <p:xfrm>
          <a:off x="404675" y="1394232"/>
          <a:ext cx="7661022" cy="5045330"/>
        </p:xfrm>
        <a:graphic>
          <a:graphicData uri="http://schemas.openxmlformats.org/drawingml/2006/table">
            <a:tbl>
              <a:tblPr/>
              <a:tblGrid>
                <a:gridCol w="1165045">
                  <a:extLst>
                    <a:ext uri="{9D8B030D-6E8A-4147-A177-3AD203B41FA5}">
                      <a16:colId xmlns:a16="http://schemas.microsoft.com/office/drawing/2014/main" val="20000"/>
                    </a:ext>
                  </a:extLst>
                </a:gridCol>
                <a:gridCol w="2047717">
                  <a:extLst>
                    <a:ext uri="{9D8B030D-6E8A-4147-A177-3AD203B41FA5}">
                      <a16:colId xmlns:a16="http://schemas.microsoft.com/office/drawing/2014/main" val="20001"/>
                    </a:ext>
                  </a:extLst>
                </a:gridCol>
                <a:gridCol w="2224130">
                  <a:extLst>
                    <a:ext uri="{9D8B030D-6E8A-4147-A177-3AD203B41FA5}">
                      <a16:colId xmlns:a16="http://schemas.microsoft.com/office/drawing/2014/main" val="20002"/>
                    </a:ext>
                  </a:extLst>
                </a:gridCol>
                <a:gridCol w="2224130">
                  <a:extLst>
                    <a:ext uri="{9D8B030D-6E8A-4147-A177-3AD203B41FA5}">
                      <a16:colId xmlns:a16="http://schemas.microsoft.com/office/drawing/2014/main" val="1500351867"/>
                    </a:ext>
                  </a:extLst>
                </a:gridCol>
              </a:tblGrid>
              <a:tr h="250592">
                <a:tc>
                  <a:txBody>
                    <a:bodyPr/>
                    <a:lstStyle/>
                    <a:p>
                      <a:pPr marL="0" marR="0" lvl="0" indent="0" algn="l" defTabSz="914400" rtl="0" eaLnBrk="1" fontAlgn="base" latinLnBrk="0" hangingPunct="1">
                        <a:lnSpc>
                          <a:spcPct val="100000"/>
                        </a:lnSpc>
                        <a:spcBef>
                          <a:spcPct val="0"/>
                        </a:spcBef>
                        <a:spcAft>
                          <a:spcPct val="0"/>
                        </a:spcAft>
                        <a:buClr>
                          <a:schemeClr val="bg2"/>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Investment company</a:t>
                      </a:r>
                    </a:p>
                  </a:txBody>
                  <a:tcPr marL="91451" marR="91451" marT="19050" marB="19050"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gridSpan="3">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dirty="0">
                          <a:ln>
                            <a:noFill/>
                          </a:ln>
                          <a:solidFill>
                            <a:schemeClr val="tx1"/>
                          </a:solidFill>
                          <a:effectLst/>
                          <a:latin typeface="Gill Sans MT Light" pitchFamily="34" charset="0"/>
                        </a:rPr>
                        <a:t>ACATIS Investment </a:t>
                      </a:r>
                      <a:r>
                        <a:rPr kumimoji="0" lang="en-US" sz="1100" b="0" i="0" u="none" strike="noStrike" cap="none" normalizeH="0" baseline="0" noProof="0" dirty="0" err="1">
                          <a:ln>
                            <a:noFill/>
                          </a:ln>
                          <a:solidFill>
                            <a:schemeClr val="tx1"/>
                          </a:solidFill>
                          <a:effectLst/>
                          <a:latin typeface="Gill Sans MT Light" pitchFamily="34" charset="0"/>
                        </a:rPr>
                        <a:t>Kapitalverwaltungsgesellschaft</a:t>
                      </a:r>
                      <a:r>
                        <a:rPr kumimoji="0" lang="en-US" sz="1100" b="0" i="0" u="none" strike="noStrike" cap="none" normalizeH="0" baseline="0" noProof="0" dirty="0">
                          <a:ln>
                            <a:noFill/>
                          </a:ln>
                          <a:solidFill>
                            <a:schemeClr val="tx1"/>
                          </a:solidFill>
                          <a:effectLst/>
                          <a:latin typeface="Gill Sans MT Light" pitchFamily="34" charset="0"/>
                        </a:rPr>
                        <a:t> </a:t>
                      </a:r>
                      <a:r>
                        <a:rPr kumimoji="0" lang="en-US" sz="1100" b="0" i="0" u="none" strike="noStrike" cap="none" normalizeH="0" baseline="0" noProof="0" dirty="0" err="1">
                          <a:ln>
                            <a:noFill/>
                          </a:ln>
                          <a:solidFill>
                            <a:schemeClr val="tx1"/>
                          </a:solidFill>
                          <a:effectLst/>
                          <a:latin typeface="Gill Sans MT Light" pitchFamily="34" charset="0"/>
                        </a:rPr>
                        <a:t>mbH</a:t>
                      </a:r>
                      <a:r>
                        <a:rPr kumimoji="0" lang="en-US" sz="1100" b="0" i="0" u="none" strike="noStrike" cap="none" normalizeH="0" baseline="0" noProof="0" dirty="0">
                          <a:ln>
                            <a:noFill/>
                          </a:ln>
                          <a:solidFill>
                            <a:schemeClr val="tx1"/>
                          </a:solidFill>
                          <a:effectLst/>
                          <a:latin typeface="Gill Sans MT Light" pitchFamily="34" charset="0"/>
                        </a:rPr>
                        <a:t>, Frankfurt</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hMerge="1">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endParaRPr kumimoji="0" lang="de-DE" sz="1100" b="0" i="0" u="none" strike="noStrike" cap="none" normalizeH="0" baseline="0" dirty="0">
                        <a:ln>
                          <a:noFill/>
                        </a:ln>
                        <a:solidFill>
                          <a:schemeClr val="tx1"/>
                        </a:solidFill>
                        <a:effectLst/>
                        <a:latin typeface="Gill Sans MT Light" pitchFamily="34" charset="0"/>
                      </a:endParaRPr>
                    </a:p>
                  </a:txBody>
                  <a:tcPr marL="91451" marR="91451" marT="19050" marB="19050" horzOverflow="overflow">
                    <a:lnL w="6350" cap="flat" cmpd="sng" algn="ctr">
                      <a:solidFill>
                        <a:schemeClr val="bg1"/>
                      </a:solid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hMerge="1">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endParaRPr kumimoji="0" lang="en-US" sz="1100" b="0" i="0" u="none" strike="noStrike" cap="none" normalizeH="0" baseline="0" noProof="0" dirty="0">
                        <a:ln>
                          <a:noFill/>
                        </a:ln>
                        <a:solidFill>
                          <a:schemeClr val="tx1"/>
                        </a:solidFill>
                        <a:effectLst/>
                        <a:latin typeface="Gill Sans MT Light" pitchFamily="34" charset="0"/>
                      </a:endParaRP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extLst>
                  <a:ext uri="{0D108BD9-81ED-4DB2-BD59-A6C34878D82A}">
                    <a16:rowId xmlns:a16="http://schemas.microsoft.com/office/drawing/2014/main" val="10000"/>
                  </a:ext>
                </a:extLst>
              </a:tr>
              <a:tr h="250592">
                <a:tc>
                  <a:txBody>
                    <a:bodyPr/>
                    <a:lstStyle/>
                    <a:p>
                      <a:pPr marL="0" marR="0" lvl="0" indent="0" algn="l" defTabSz="914400" rtl="0" eaLnBrk="1" fontAlgn="base" latinLnBrk="0" hangingPunct="1">
                        <a:lnSpc>
                          <a:spcPct val="100000"/>
                        </a:lnSpc>
                        <a:spcBef>
                          <a:spcPct val="0"/>
                        </a:spcBef>
                        <a:spcAft>
                          <a:spcPct val="0"/>
                        </a:spcAft>
                        <a:buClr>
                          <a:schemeClr val="bg2"/>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Custodian </a:t>
                      </a:r>
                    </a:p>
                  </a:txBody>
                  <a:tcPr marL="91451" marR="91451" marT="19050" marB="19050"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gridSpan="3">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dirty="0">
                          <a:ln>
                            <a:noFill/>
                          </a:ln>
                          <a:solidFill>
                            <a:schemeClr val="tx1"/>
                          </a:solidFill>
                          <a:effectLst/>
                          <a:latin typeface="Gill Sans MT Light" pitchFamily="34" charset="0"/>
                        </a:rPr>
                        <a:t>UBS Europe SE, Frankfurt</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hMerge="1">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endParaRPr kumimoji="0" lang="de-DE" sz="1100" b="0" i="0" u="none" strike="noStrike" cap="none" normalizeH="0" baseline="0" dirty="0">
                        <a:ln>
                          <a:noFill/>
                        </a:ln>
                        <a:solidFill>
                          <a:schemeClr val="tx1"/>
                        </a:solidFill>
                        <a:effectLst/>
                        <a:latin typeface="Gill Sans MT Light" pitchFamily="34" charset="0"/>
                      </a:endParaRPr>
                    </a:p>
                  </a:txBody>
                  <a:tcPr marL="91451" marR="91451" marT="19050" marB="19050" horzOverflow="overflow">
                    <a:lnL w="63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hMerge="1">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endParaRPr kumimoji="0" lang="en-US" sz="1100" b="0" i="0" u="none" strike="noStrike" cap="none" normalizeH="0" baseline="0" noProof="0" dirty="0">
                        <a:ln>
                          <a:noFill/>
                        </a:ln>
                        <a:solidFill>
                          <a:schemeClr val="tx1"/>
                        </a:solidFill>
                        <a:effectLst/>
                        <a:latin typeface="Gill Sans MT Light" pitchFamily="34" charset="0"/>
                      </a:endParaRP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extLst>
                  <a:ext uri="{0D108BD9-81ED-4DB2-BD59-A6C34878D82A}">
                    <a16:rowId xmlns:a16="http://schemas.microsoft.com/office/drawing/2014/main" val="10001"/>
                  </a:ext>
                </a:extLst>
              </a:tr>
              <a:tr h="250592">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Manager</a:t>
                      </a:r>
                    </a:p>
                  </a:txBody>
                  <a:tcPr marL="91451" marR="91451" marT="19050" marB="19050"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gridSpan="3">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defRPr/>
                      </a:pPr>
                      <a:r>
                        <a:rPr kumimoji="0" lang="en-US" sz="1100" b="0" i="0" u="none" strike="noStrike" cap="none" normalizeH="0" baseline="0" noProof="0" dirty="0">
                          <a:ln>
                            <a:noFill/>
                          </a:ln>
                          <a:solidFill>
                            <a:schemeClr val="tx1"/>
                          </a:solidFill>
                          <a:effectLst/>
                          <a:latin typeface="Gill Sans MT Light" pitchFamily="34" charset="0"/>
                        </a:rPr>
                        <a:t>ACATIS Investment </a:t>
                      </a:r>
                      <a:r>
                        <a:rPr kumimoji="0" lang="en-US" sz="1100" b="0" i="0" u="none" strike="noStrike" cap="none" normalizeH="0" baseline="0" noProof="0" dirty="0" err="1">
                          <a:ln>
                            <a:noFill/>
                          </a:ln>
                          <a:solidFill>
                            <a:schemeClr val="tx1"/>
                          </a:solidFill>
                          <a:effectLst/>
                          <a:latin typeface="Gill Sans MT Light" pitchFamily="34" charset="0"/>
                        </a:rPr>
                        <a:t>Kapitalverwaltungsgesellschaft</a:t>
                      </a:r>
                      <a:r>
                        <a:rPr kumimoji="0" lang="en-US" sz="1100" b="0" i="0" u="none" strike="noStrike" cap="none" normalizeH="0" baseline="0" noProof="0" dirty="0">
                          <a:ln>
                            <a:noFill/>
                          </a:ln>
                          <a:solidFill>
                            <a:schemeClr val="tx1"/>
                          </a:solidFill>
                          <a:effectLst/>
                          <a:latin typeface="Gill Sans MT Light" pitchFamily="34" charset="0"/>
                        </a:rPr>
                        <a:t> </a:t>
                      </a:r>
                      <a:r>
                        <a:rPr kumimoji="0" lang="en-US" sz="1100" b="0" i="0" u="none" strike="noStrike" cap="none" normalizeH="0" baseline="0" noProof="0" dirty="0" err="1">
                          <a:ln>
                            <a:noFill/>
                          </a:ln>
                          <a:solidFill>
                            <a:schemeClr val="tx1"/>
                          </a:solidFill>
                          <a:effectLst/>
                          <a:latin typeface="Gill Sans MT Light" pitchFamily="34" charset="0"/>
                        </a:rPr>
                        <a:t>mbH</a:t>
                      </a:r>
                      <a:r>
                        <a:rPr kumimoji="0" lang="en-US" sz="1100" b="0" i="0" u="none" strike="noStrike" cap="none" normalizeH="0" baseline="0" noProof="0" dirty="0">
                          <a:ln>
                            <a:noFill/>
                          </a:ln>
                          <a:solidFill>
                            <a:schemeClr val="tx1"/>
                          </a:solidFill>
                          <a:effectLst/>
                          <a:latin typeface="Gill Sans MT Light" pitchFamily="34" charset="0"/>
                        </a:rPr>
                        <a:t>, Frankfurt</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hMerge="1">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defRPr/>
                      </a:pPr>
                      <a:endParaRPr kumimoji="0" lang="de-DE" sz="1100" b="0" i="0" u="none" strike="noStrike" cap="none" normalizeH="0" baseline="0" dirty="0">
                        <a:ln>
                          <a:noFill/>
                        </a:ln>
                        <a:solidFill>
                          <a:schemeClr val="tx1"/>
                        </a:solidFill>
                        <a:effectLst/>
                        <a:latin typeface="Gill Sans MT Light" pitchFamily="34" charset="0"/>
                      </a:endParaRPr>
                    </a:p>
                  </a:txBody>
                  <a:tcPr marL="91451" marR="91451" marT="19050" marB="19050" horzOverflow="overflow">
                    <a:lnL w="63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hMerge="1">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defRPr/>
                      </a:pPr>
                      <a:endParaRPr kumimoji="0" lang="en-US" sz="1100" b="0" i="0" u="none" strike="noStrike" cap="none" normalizeH="0" baseline="0" noProof="0" dirty="0">
                        <a:ln>
                          <a:noFill/>
                        </a:ln>
                        <a:solidFill>
                          <a:schemeClr val="tx1"/>
                        </a:solidFill>
                        <a:effectLst/>
                        <a:latin typeface="Gill Sans MT Light" pitchFamily="34" charset="0"/>
                      </a:endParaRP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extLst>
                  <a:ext uri="{0D108BD9-81ED-4DB2-BD59-A6C34878D82A}">
                    <a16:rowId xmlns:a16="http://schemas.microsoft.com/office/drawing/2014/main" val="10002"/>
                  </a:ext>
                </a:extLst>
              </a:tr>
              <a:tr h="250592">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Share class</a:t>
                      </a:r>
                    </a:p>
                  </a:txBody>
                  <a:tcPr marL="91451" marR="91451" marT="19050" marB="19050"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A</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dirty="0">
                          <a:ln>
                            <a:noFill/>
                          </a:ln>
                          <a:solidFill>
                            <a:schemeClr val="tx1"/>
                          </a:solidFill>
                          <a:effectLst/>
                          <a:latin typeface="Gill Sans MT Light" pitchFamily="34" charset="0"/>
                        </a:rPr>
                        <a:t>B</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dirty="0">
                          <a:ln>
                            <a:noFill/>
                          </a:ln>
                          <a:solidFill>
                            <a:schemeClr val="tx1"/>
                          </a:solidFill>
                          <a:effectLst/>
                          <a:latin typeface="Gill Sans MT Light" pitchFamily="34" charset="0"/>
                        </a:rPr>
                        <a:t>X</a:t>
                      </a:r>
                    </a:p>
                  </a:txBody>
                  <a:tcPr marL="91451" marR="91451" marT="19050" marB="19050" horzOverflow="overflow">
                    <a:lnL w="63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extLst>
                  <a:ext uri="{0D108BD9-81ED-4DB2-BD59-A6C34878D82A}">
                    <a16:rowId xmlns:a16="http://schemas.microsoft.com/office/drawing/2014/main" val="2809231769"/>
                  </a:ext>
                </a:extLst>
              </a:tr>
              <a:tr h="250592">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Investment focus</a:t>
                      </a:r>
                    </a:p>
                  </a:txBody>
                  <a:tcPr marL="91451" marR="91451" marT="19050" marB="19050"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Equity Asia with focus on China</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dirty="0">
                          <a:ln>
                            <a:noFill/>
                          </a:ln>
                          <a:solidFill>
                            <a:schemeClr val="tx1"/>
                          </a:solidFill>
                          <a:effectLst/>
                          <a:latin typeface="Gill Sans MT Light" pitchFamily="34" charset="0"/>
                        </a:rPr>
                        <a:t>Equity Asia with focus on China</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defRPr/>
                      </a:pPr>
                      <a:r>
                        <a:rPr kumimoji="0" lang="en-US" sz="1100" b="0" i="0" u="none" strike="noStrike" cap="none" normalizeH="0" baseline="0" noProof="0" dirty="0">
                          <a:ln>
                            <a:noFill/>
                          </a:ln>
                          <a:solidFill>
                            <a:schemeClr val="tx1"/>
                          </a:solidFill>
                          <a:effectLst/>
                          <a:latin typeface="Gill Sans MT Light" pitchFamily="34" charset="0"/>
                        </a:rPr>
                        <a:t>Equity Asia with focus on China</a:t>
                      </a:r>
                    </a:p>
                  </a:txBody>
                  <a:tcPr marL="91451" marR="91451" marT="19050" marB="19050" horzOverflow="overflow">
                    <a:lnL w="63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extLst>
                  <a:ext uri="{0D108BD9-81ED-4DB2-BD59-A6C34878D82A}">
                    <a16:rowId xmlns:a16="http://schemas.microsoft.com/office/drawing/2014/main" val="10003"/>
                  </a:ext>
                </a:extLst>
              </a:tr>
              <a:tr h="250592">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Domicile</a:t>
                      </a:r>
                    </a:p>
                  </a:txBody>
                  <a:tcPr marL="91451" marR="91451" marT="19050" marB="19050"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Germany</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Germany</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dirty="0">
                          <a:ln>
                            <a:noFill/>
                          </a:ln>
                          <a:solidFill>
                            <a:schemeClr val="tx1"/>
                          </a:solidFill>
                          <a:effectLst/>
                          <a:latin typeface="Gill Sans MT Light" pitchFamily="34" charset="0"/>
                        </a:rPr>
                        <a:t>Germany</a:t>
                      </a:r>
                    </a:p>
                  </a:txBody>
                  <a:tcPr marL="91451" marR="91451" marT="19050" marB="19050" horzOverflow="overflow">
                    <a:lnL w="63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extLst>
                  <a:ext uri="{0D108BD9-81ED-4DB2-BD59-A6C34878D82A}">
                    <a16:rowId xmlns:a16="http://schemas.microsoft.com/office/drawing/2014/main" val="10004"/>
                  </a:ext>
                </a:extLst>
              </a:tr>
              <a:tr h="250592">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Currency</a:t>
                      </a:r>
                    </a:p>
                  </a:txBody>
                  <a:tcPr marL="91451" marR="91451" marT="19050" marB="19050"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EUR</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EUR</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dirty="0">
                          <a:ln>
                            <a:noFill/>
                          </a:ln>
                          <a:solidFill>
                            <a:schemeClr val="tx1"/>
                          </a:solidFill>
                          <a:effectLst/>
                          <a:latin typeface="Gill Sans MT Light" pitchFamily="34" charset="0"/>
                        </a:rPr>
                        <a:t>EUR</a:t>
                      </a:r>
                    </a:p>
                  </a:txBody>
                  <a:tcPr marL="91451" marR="91451" marT="19050" marB="19050" horzOverflow="overflow">
                    <a:lnL w="63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extLst>
                  <a:ext uri="{0D108BD9-81ED-4DB2-BD59-A6C34878D82A}">
                    <a16:rowId xmlns:a16="http://schemas.microsoft.com/office/drawing/2014/main" val="10005"/>
                  </a:ext>
                </a:extLst>
              </a:tr>
              <a:tr h="250592">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Benchmark</a:t>
                      </a:r>
                    </a:p>
                  </a:txBody>
                  <a:tcPr marL="91451" marR="91451" marT="19050" marB="19050"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MSCI AC Asia GDR (EUR)</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dirty="0">
                          <a:ln>
                            <a:noFill/>
                          </a:ln>
                          <a:solidFill>
                            <a:schemeClr val="tx1"/>
                          </a:solidFill>
                          <a:effectLst/>
                          <a:latin typeface="Gill Sans MT Light" pitchFamily="34" charset="0"/>
                        </a:rPr>
                        <a:t>MSCI AC Asia GDR (EUR)</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defRPr/>
                      </a:pPr>
                      <a:r>
                        <a:rPr kumimoji="0" lang="en-US" sz="1100" b="0" i="0" u="none" strike="noStrike" cap="none" normalizeH="0" baseline="0" noProof="0" dirty="0">
                          <a:ln>
                            <a:noFill/>
                          </a:ln>
                          <a:solidFill>
                            <a:schemeClr val="tx1"/>
                          </a:solidFill>
                          <a:effectLst/>
                          <a:latin typeface="Gill Sans MT Light" pitchFamily="34" charset="0"/>
                        </a:rPr>
                        <a:t>MSCI AC Asia GDR (EUR)</a:t>
                      </a:r>
                    </a:p>
                  </a:txBody>
                  <a:tcPr marL="91451" marR="91451" marT="19050" marB="19050" horzOverflow="overflow">
                    <a:lnL w="63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extLst>
                  <a:ext uri="{0D108BD9-81ED-4DB2-BD59-A6C34878D82A}">
                    <a16:rowId xmlns:a16="http://schemas.microsoft.com/office/drawing/2014/main" val="10006"/>
                  </a:ext>
                </a:extLst>
              </a:tr>
              <a:tr h="250592">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ISIN</a:t>
                      </a:r>
                    </a:p>
                  </a:txBody>
                  <a:tcPr marL="91451" marR="91451" marT="19050" marB="19050"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DE000A2PB655 </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defRPr/>
                      </a:pPr>
                      <a:r>
                        <a:rPr kumimoji="0" lang="en-US" sz="1100" b="0" i="0" u="none" strike="noStrike" cap="none" normalizeH="0" baseline="0" noProof="0">
                          <a:ln>
                            <a:noFill/>
                          </a:ln>
                          <a:solidFill>
                            <a:schemeClr val="tx1"/>
                          </a:solidFill>
                          <a:effectLst/>
                          <a:latin typeface="Gill Sans MT Light" pitchFamily="34" charset="0"/>
                        </a:rPr>
                        <a:t>DE000A2PB663 </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defRPr/>
                      </a:pPr>
                      <a:r>
                        <a:rPr kumimoji="0" lang="en-US" sz="1100" b="0" i="0" u="none" strike="noStrike" cap="none" normalizeH="0" baseline="0" noProof="0" dirty="0">
                          <a:ln>
                            <a:noFill/>
                          </a:ln>
                          <a:solidFill>
                            <a:schemeClr val="tx1"/>
                          </a:solidFill>
                          <a:effectLst/>
                          <a:latin typeface="Gill Sans MT Light" pitchFamily="34" charset="0"/>
                        </a:rPr>
                        <a:t>DE000A2P9Q22</a:t>
                      </a:r>
                    </a:p>
                  </a:txBody>
                  <a:tcPr marL="91451" marR="91451" marT="19050" marB="19050" horzOverflow="overflow">
                    <a:lnL w="63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extLst>
                  <a:ext uri="{0D108BD9-81ED-4DB2-BD59-A6C34878D82A}">
                    <a16:rowId xmlns:a16="http://schemas.microsoft.com/office/drawing/2014/main" val="10007"/>
                  </a:ext>
                </a:extLst>
              </a:tr>
              <a:tr h="250592">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Inception</a:t>
                      </a:r>
                    </a:p>
                  </a:txBody>
                  <a:tcPr marL="91451" marR="91451" marT="19050" marB="19050"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11 June 2019</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11 June 2019</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dirty="0">
                          <a:ln>
                            <a:noFill/>
                          </a:ln>
                          <a:solidFill>
                            <a:schemeClr val="tx1"/>
                          </a:solidFill>
                          <a:effectLst/>
                          <a:latin typeface="Gill Sans MT Light" pitchFamily="34" charset="0"/>
                        </a:rPr>
                        <a:t>29 September 2020</a:t>
                      </a:r>
                    </a:p>
                  </a:txBody>
                  <a:tcPr marL="91451" marR="91451" marT="19050" marB="19050" horzOverflow="overflow">
                    <a:lnL w="63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extLst>
                  <a:ext uri="{0D108BD9-81ED-4DB2-BD59-A6C34878D82A}">
                    <a16:rowId xmlns:a16="http://schemas.microsoft.com/office/drawing/2014/main" val="10008"/>
                  </a:ext>
                </a:extLst>
              </a:tr>
              <a:tr h="304100">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Fiscal year-end</a:t>
                      </a:r>
                    </a:p>
                  </a:txBody>
                  <a:tcPr marL="91451" marR="91451" marT="19050" marB="19050"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30 September</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dirty="0">
                          <a:ln>
                            <a:noFill/>
                          </a:ln>
                          <a:solidFill>
                            <a:schemeClr val="tx1"/>
                          </a:solidFill>
                          <a:effectLst/>
                          <a:latin typeface="Gill Sans MT Light" pitchFamily="34" charset="0"/>
                        </a:rPr>
                        <a:t>30 September</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defRPr/>
                      </a:pPr>
                      <a:r>
                        <a:rPr kumimoji="0" lang="en-US" sz="1100" b="0" i="0" u="none" strike="noStrike" cap="none" normalizeH="0" baseline="0" noProof="0" dirty="0">
                          <a:ln>
                            <a:noFill/>
                          </a:ln>
                          <a:solidFill>
                            <a:schemeClr val="tx1"/>
                          </a:solidFill>
                          <a:effectLst/>
                          <a:latin typeface="Gill Sans MT Light" pitchFamily="34" charset="0"/>
                        </a:rPr>
                        <a:t>30 September</a:t>
                      </a:r>
                    </a:p>
                  </a:txBody>
                  <a:tcPr marL="91451" marR="91451" marT="19050" marB="19050" horzOverflow="overflow">
                    <a:lnL w="63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extLst>
                  <a:ext uri="{0D108BD9-81ED-4DB2-BD59-A6C34878D82A}">
                    <a16:rowId xmlns:a16="http://schemas.microsoft.com/office/drawing/2014/main" val="10009"/>
                  </a:ext>
                </a:extLst>
              </a:tr>
              <a:tr h="250592">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Front end fee</a:t>
                      </a:r>
                    </a:p>
                  </a:txBody>
                  <a:tcPr marL="91451" marR="91451" marT="19050" marB="19050"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dirty="0">
                          <a:ln>
                            <a:noFill/>
                          </a:ln>
                          <a:solidFill>
                            <a:schemeClr val="tx1"/>
                          </a:solidFill>
                          <a:effectLst/>
                          <a:latin typeface="Gill Sans MT Light" pitchFamily="34" charset="0"/>
                        </a:rPr>
                        <a:t>5%</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0%</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dirty="0">
                          <a:ln>
                            <a:noFill/>
                          </a:ln>
                          <a:solidFill>
                            <a:schemeClr val="tx1"/>
                          </a:solidFill>
                          <a:effectLst/>
                          <a:latin typeface="Gill Sans MT Light" pitchFamily="34" charset="0"/>
                        </a:rPr>
                        <a:t>0%</a:t>
                      </a:r>
                    </a:p>
                  </a:txBody>
                  <a:tcPr marL="91451" marR="91451" marT="19050" marB="19050" horzOverflow="overflow">
                    <a:lnL w="63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extLst>
                  <a:ext uri="{0D108BD9-81ED-4DB2-BD59-A6C34878D82A}">
                    <a16:rowId xmlns:a16="http://schemas.microsoft.com/office/drawing/2014/main" val="10010"/>
                  </a:ext>
                </a:extLst>
              </a:tr>
              <a:tr h="250592">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dirty="0">
                          <a:ln>
                            <a:noFill/>
                          </a:ln>
                          <a:solidFill>
                            <a:schemeClr val="tx1"/>
                          </a:solidFill>
                          <a:effectLst/>
                          <a:latin typeface="Gill Sans MT Light" pitchFamily="34" charset="0"/>
                        </a:rPr>
                        <a:t>Ongoing costs </a:t>
                      </a:r>
                    </a:p>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800" b="0" i="0" u="none" strike="noStrike" cap="none" normalizeH="0" baseline="0" noProof="0" dirty="0">
                          <a:ln>
                            <a:noFill/>
                          </a:ln>
                          <a:solidFill>
                            <a:schemeClr val="tx1"/>
                          </a:solidFill>
                          <a:effectLst/>
                          <a:latin typeface="Gill Sans MT Light" pitchFamily="34" charset="0"/>
                        </a:rPr>
                        <a:t>(30 September 2020)</a:t>
                      </a:r>
                    </a:p>
                  </a:txBody>
                  <a:tcPr marL="91451" marR="91451" marT="19050" marB="19050"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dirty="0">
                          <a:ln>
                            <a:noFill/>
                          </a:ln>
                          <a:solidFill>
                            <a:schemeClr val="tx1"/>
                          </a:solidFill>
                          <a:effectLst/>
                          <a:latin typeface="Gill Sans MT Light" pitchFamily="34" charset="0"/>
                        </a:rPr>
                        <a:t>1.93%</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dirty="0">
                          <a:ln>
                            <a:noFill/>
                          </a:ln>
                          <a:solidFill>
                            <a:schemeClr val="tx1"/>
                          </a:solidFill>
                          <a:effectLst/>
                          <a:latin typeface="Gill Sans MT Light" pitchFamily="34" charset="0"/>
                        </a:rPr>
                        <a:t>1.43%</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dirty="0">
                          <a:ln>
                            <a:noFill/>
                          </a:ln>
                          <a:solidFill>
                            <a:schemeClr val="tx1"/>
                          </a:solidFill>
                          <a:effectLst/>
                          <a:latin typeface="Gill Sans MT Light" pitchFamily="34" charset="0"/>
                        </a:rPr>
                        <a:t>1.50%</a:t>
                      </a:r>
                    </a:p>
                  </a:txBody>
                  <a:tcPr marL="91451" marR="91451" marT="19050" marB="19050" horzOverflow="overflow">
                    <a:lnL w="63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extLst>
                  <a:ext uri="{0D108BD9-81ED-4DB2-BD59-A6C34878D82A}">
                    <a16:rowId xmlns:a16="http://schemas.microsoft.com/office/drawing/2014/main" val="10011"/>
                  </a:ext>
                </a:extLst>
              </a:tr>
              <a:tr h="420412">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latin typeface="Gill Sans MT Light" pitchFamily="34" charset="0"/>
                        </a:rPr>
                        <a:t>Performance fee</a:t>
                      </a:r>
                    </a:p>
                  </a:txBody>
                  <a:tcPr marL="91451" marR="91451" marT="19050" marB="19050"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gridSpan="3">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dirty="0">
                          <a:ln>
                            <a:noFill/>
                          </a:ln>
                          <a:solidFill>
                            <a:schemeClr val="tx1"/>
                          </a:solidFill>
                          <a:latin typeface="Gill Sans MT Light" pitchFamily="34" charset="0"/>
                        </a:rPr>
                        <a:t>15% of the yield above the reference value that is generated by the fund during the settlement period </a:t>
                      </a:r>
                    </a:p>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dirty="0">
                          <a:ln>
                            <a:noFill/>
                          </a:ln>
                          <a:solidFill>
                            <a:schemeClr val="tx1"/>
                          </a:solidFill>
                          <a:latin typeface="Gill Sans MT Light" pitchFamily="34" charset="0"/>
                        </a:rPr>
                        <a:t>(MSCI® AC Asia GDR (EUR), but only if the unit price at the end of the relevant settlement period exceeds the unit price at the beginning of the settlement period.</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hMerge="1">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endParaRPr kumimoji="0" lang="de-DE" sz="1100" b="0" i="0" u="none" strike="noStrike" cap="none" normalizeH="0" baseline="0" dirty="0">
                        <a:ln>
                          <a:noFill/>
                        </a:ln>
                        <a:solidFill>
                          <a:schemeClr val="tx1"/>
                        </a:solidFill>
                        <a:effectLst/>
                        <a:latin typeface="Gill Sans MT Light" pitchFamily="34" charset="0"/>
                      </a:endParaRPr>
                    </a:p>
                  </a:txBody>
                  <a:tcPr marL="91451" marR="91451" marT="19050" marB="19050" horzOverflow="overflow">
                    <a:lnL w="63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hMerge="1">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endParaRPr kumimoji="0" lang="en-US" sz="1100" b="0" i="0" u="none" strike="noStrike" cap="none" normalizeH="0" baseline="0" noProof="0" dirty="0">
                        <a:ln>
                          <a:noFill/>
                        </a:ln>
                        <a:solidFill>
                          <a:schemeClr val="tx1"/>
                        </a:solidFill>
                        <a:latin typeface="Gill Sans MT Light" pitchFamily="34" charset="0"/>
                      </a:endParaRP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extLst>
                  <a:ext uri="{0D108BD9-81ED-4DB2-BD59-A6C34878D82A}">
                    <a16:rowId xmlns:a16="http://schemas.microsoft.com/office/drawing/2014/main" val="10012"/>
                  </a:ext>
                </a:extLst>
              </a:tr>
              <a:tr h="283204">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Minimum investments</a:t>
                      </a:r>
                    </a:p>
                  </a:txBody>
                  <a:tcPr marL="91451" marR="91451" marT="19050" marB="19050"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Non</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250,000 EUR initial investment</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dirty="0">
                          <a:ln>
                            <a:noFill/>
                          </a:ln>
                          <a:solidFill>
                            <a:schemeClr val="tx1"/>
                          </a:solidFill>
                          <a:effectLst/>
                          <a:latin typeface="Gill Sans MT Light" pitchFamily="34" charset="0"/>
                        </a:rPr>
                        <a:t>Non</a:t>
                      </a:r>
                    </a:p>
                  </a:txBody>
                  <a:tcPr marL="91451" marR="91451" marT="19050" marB="19050" horzOverflow="overflow">
                    <a:lnL w="63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extLst>
                  <a:ext uri="{0D108BD9-81ED-4DB2-BD59-A6C34878D82A}">
                    <a16:rowId xmlns:a16="http://schemas.microsoft.com/office/drawing/2014/main" val="10013"/>
                  </a:ext>
                </a:extLst>
              </a:tr>
              <a:tr h="283204">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Permission for public distribution</a:t>
                      </a:r>
                    </a:p>
                  </a:txBody>
                  <a:tcPr marL="91451" marR="91451" marT="19050" marB="19050"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DE, AT, CH, NL</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DE, AT, CH, NL</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dirty="0">
                          <a:ln>
                            <a:noFill/>
                          </a:ln>
                          <a:solidFill>
                            <a:schemeClr val="tx1"/>
                          </a:solidFill>
                          <a:effectLst/>
                          <a:latin typeface="Gill Sans MT Light" pitchFamily="34" charset="0"/>
                        </a:rPr>
                        <a:t>DE, CH, NL</a:t>
                      </a:r>
                    </a:p>
                  </a:txBody>
                  <a:tcPr marL="91451" marR="91451" marT="19050" marB="19050" horzOverflow="overflow">
                    <a:lnL w="63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extLst>
                  <a:ext uri="{0D108BD9-81ED-4DB2-BD59-A6C34878D82A}">
                    <a16:rowId xmlns:a16="http://schemas.microsoft.com/office/drawing/2014/main" val="10014"/>
                  </a:ext>
                </a:extLst>
              </a:tr>
              <a:tr h="246490">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Distribution</a:t>
                      </a:r>
                    </a:p>
                  </a:txBody>
                  <a:tcPr marL="91451" marR="91451" marT="19050" marB="19050"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a:ln>
                            <a:noFill/>
                          </a:ln>
                          <a:solidFill>
                            <a:schemeClr val="tx1"/>
                          </a:solidFill>
                          <a:effectLst/>
                          <a:latin typeface="Gill Sans MT Light" pitchFamily="34" charset="0"/>
                        </a:rPr>
                        <a:t>Distribution</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pPr>
                      <a:r>
                        <a:rPr kumimoji="0" lang="en-US" sz="1100" b="0" i="0" u="none" strike="noStrike" cap="none" normalizeH="0" baseline="0" noProof="0" dirty="0">
                          <a:ln>
                            <a:noFill/>
                          </a:ln>
                          <a:solidFill>
                            <a:schemeClr val="tx1"/>
                          </a:solidFill>
                          <a:effectLst/>
                          <a:latin typeface="Gill Sans MT Light" pitchFamily="34" charset="0"/>
                        </a:rPr>
                        <a:t>Distribution</a:t>
                      </a:r>
                    </a:p>
                  </a:txBody>
                  <a:tcPr marL="91451" marR="91451" marT="19050" marB="19050"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tc>
                  <a:txBody>
                    <a:bodyPr/>
                    <a:lstStyle/>
                    <a:p>
                      <a:pPr marL="0" marR="0" lvl="0" indent="0" algn="l" defTabSz="914400" rtl="0" eaLnBrk="1" fontAlgn="base" latinLnBrk="0" hangingPunct="1">
                        <a:lnSpc>
                          <a:spcPct val="100000"/>
                        </a:lnSpc>
                        <a:spcBef>
                          <a:spcPct val="0"/>
                        </a:spcBef>
                        <a:spcAft>
                          <a:spcPct val="0"/>
                        </a:spcAft>
                        <a:buClr>
                          <a:srgbClr val="7A929D"/>
                        </a:buClr>
                        <a:buSzTx/>
                        <a:buFont typeface="Arial" charset="0"/>
                        <a:buNone/>
                        <a:tabLst/>
                        <a:defRPr/>
                      </a:pPr>
                      <a:r>
                        <a:rPr kumimoji="0" lang="en-US" sz="1100" b="0" i="0" u="none" strike="noStrike" cap="none" normalizeH="0" baseline="0" noProof="0" dirty="0">
                          <a:ln>
                            <a:noFill/>
                          </a:ln>
                          <a:solidFill>
                            <a:schemeClr val="tx1"/>
                          </a:solidFill>
                          <a:effectLst/>
                          <a:latin typeface="Gill Sans MT Light" pitchFamily="34" charset="0"/>
                        </a:rPr>
                        <a:t>Distribution</a:t>
                      </a:r>
                    </a:p>
                  </a:txBody>
                  <a:tcPr marL="91451" marR="91451" marT="19050" marB="19050" horzOverflow="overflow">
                    <a:lnL w="63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blipFill dpi="0" rotWithShape="0">
                      <a:blip r:embed="rId2"/>
                      <a:srcRect/>
                      <a:stretch>
                        <a:fillRect/>
                      </a:stretch>
                    </a:blipFill>
                  </a:tcPr>
                </a:tc>
                <a:extLst>
                  <a:ext uri="{0D108BD9-81ED-4DB2-BD59-A6C34878D82A}">
                    <a16:rowId xmlns:a16="http://schemas.microsoft.com/office/drawing/2014/main" val="10015"/>
                  </a:ext>
                </a:extLst>
              </a:tr>
            </a:tbl>
          </a:graphicData>
        </a:graphic>
      </p:graphicFrame>
    </p:spTree>
    <p:extLst>
      <p:ext uri="{BB962C8B-B14F-4D97-AF65-F5344CB8AC3E}">
        <p14:creationId xmlns:p14="http://schemas.microsoft.com/office/powerpoint/2010/main" val="42751628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55604" y="654054"/>
            <a:ext cx="7555944" cy="976165"/>
          </a:xfrm>
        </p:spPr>
        <p:txBody>
          <a:bodyPr/>
          <a:lstStyle/>
          <a:p>
            <a:r>
              <a:rPr lang="en-US" altLang="de-DE" sz="3100" dirty="0">
                <a:solidFill>
                  <a:srgbClr val="005B99"/>
                </a:solidFill>
              </a:rPr>
              <a:t>ACATIS und QILIN places great value on investor communication</a:t>
            </a:r>
            <a:endParaRPr lang="en-US" sz="3100" dirty="0">
              <a:solidFill>
                <a:srgbClr val="005B99"/>
              </a:solidFill>
            </a:endParaRPr>
          </a:p>
        </p:txBody>
      </p:sp>
      <p:sp>
        <p:nvSpPr>
          <p:cNvPr id="4" name="Rectangle 27">
            <a:extLst>
              <a:ext uri="{FF2B5EF4-FFF2-40B4-BE49-F238E27FC236}">
                <a16:creationId xmlns:a16="http://schemas.microsoft.com/office/drawing/2014/main" id="{CDA26E47-20CC-4088-BAFC-CEA852012D64}"/>
              </a:ext>
            </a:extLst>
          </p:cNvPr>
          <p:cNvSpPr/>
          <p:nvPr/>
        </p:nvSpPr>
        <p:spPr>
          <a:xfrm>
            <a:off x="444635" y="2847880"/>
            <a:ext cx="2393680" cy="3220411"/>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w="9525">
            <a:noFill/>
            <a:miter lim="800000"/>
            <a:headEnd/>
            <a:tailEnd/>
          </a:ln>
          <a:effectLst/>
        </p:spPr>
        <p:txBody>
          <a:bodyPr wrap="square" lIns="174315" tIns="68635" rIns="68635" bIns="68635" anchor="t" anchorCtr="0">
            <a:noAutofit/>
          </a:bodyPr>
          <a:lstStyle/>
          <a:p>
            <a:pPr defTabSz="853378" eaLnBrk="1" fontAlgn="auto" hangingPunct="1">
              <a:spcBef>
                <a:spcPts val="0"/>
              </a:spcBef>
              <a:spcAft>
                <a:spcPts val="0"/>
              </a:spcAft>
              <a:buClr>
                <a:srgbClr val="1A6E5E"/>
              </a:buClr>
            </a:pPr>
            <a:r>
              <a:rPr lang="en-US" sz="2400" dirty="0">
                <a:solidFill>
                  <a:prstClr val="black"/>
                </a:solidFill>
                <a:latin typeface="+mn-lt"/>
              </a:rPr>
              <a:t>Monthly report</a:t>
            </a:r>
          </a:p>
        </p:txBody>
      </p:sp>
      <p:sp>
        <p:nvSpPr>
          <p:cNvPr id="6" name="Rectangle 27">
            <a:extLst>
              <a:ext uri="{FF2B5EF4-FFF2-40B4-BE49-F238E27FC236}">
                <a16:creationId xmlns:a16="http://schemas.microsoft.com/office/drawing/2014/main" id="{3AEE5A7A-54FE-4F4C-84CE-8272854C08EB}"/>
              </a:ext>
            </a:extLst>
          </p:cNvPr>
          <p:cNvSpPr/>
          <p:nvPr/>
        </p:nvSpPr>
        <p:spPr>
          <a:xfrm>
            <a:off x="3034796" y="2847882"/>
            <a:ext cx="2393679" cy="3220409"/>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w="9525">
            <a:noFill/>
            <a:miter lim="800000"/>
            <a:headEnd/>
            <a:tailEnd/>
          </a:ln>
          <a:effectLst/>
        </p:spPr>
        <p:txBody>
          <a:bodyPr wrap="square" lIns="174315" tIns="68635" rIns="68635" bIns="68635" anchor="t" anchorCtr="0">
            <a:noAutofit/>
          </a:bodyPr>
          <a:lstStyle/>
          <a:p>
            <a:pPr defTabSz="853378" eaLnBrk="1" fontAlgn="auto" hangingPunct="1">
              <a:spcBef>
                <a:spcPts val="0"/>
              </a:spcBef>
              <a:spcAft>
                <a:spcPts val="0"/>
              </a:spcAft>
              <a:buClr>
                <a:srgbClr val="1A6E5E"/>
              </a:buClr>
            </a:pPr>
            <a:r>
              <a:rPr lang="en-US" sz="2400" dirty="0">
                <a:solidFill>
                  <a:prstClr val="black"/>
                </a:solidFill>
                <a:latin typeface="+mn-lt"/>
              </a:rPr>
              <a:t>Webinars und conference calls</a:t>
            </a:r>
          </a:p>
        </p:txBody>
      </p:sp>
      <p:sp>
        <p:nvSpPr>
          <p:cNvPr id="8" name="Rectangle 27">
            <a:extLst>
              <a:ext uri="{FF2B5EF4-FFF2-40B4-BE49-F238E27FC236}">
                <a16:creationId xmlns:a16="http://schemas.microsoft.com/office/drawing/2014/main" id="{F45ACD4C-9E22-4330-8FA6-41457F7C3FF8}"/>
              </a:ext>
            </a:extLst>
          </p:cNvPr>
          <p:cNvSpPr/>
          <p:nvPr/>
        </p:nvSpPr>
        <p:spPr>
          <a:xfrm>
            <a:off x="5624956" y="2847881"/>
            <a:ext cx="2393681" cy="3220409"/>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w="9525">
            <a:noFill/>
            <a:miter lim="800000"/>
            <a:headEnd/>
            <a:tailEnd/>
          </a:ln>
          <a:effectLst/>
        </p:spPr>
        <p:txBody>
          <a:bodyPr wrap="square" lIns="174315" tIns="68635" rIns="68635" bIns="68635" anchor="t" anchorCtr="0">
            <a:noAutofit/>
          </a:bodyPr>
          <a:lstStyle/>
          <a:p>
            <a:pPr defTabSz="853378" eaLnBrk="1" fontAlgn="auto" hangingPunct="1">
              <a:spcBef>
                <a:spcPts val="0"/>
              </a:spcBef>
              <a:spcAft>
                <a:spcPts val="0"/>
              </a:spcAft>
              <a:buClr>
                <a:srgbClr val="1A6E5E"/>
              </a:buClr>
            </a:pPr>
            <a:r>
              <a:rPr lang="de-DE" sz="2200" dirty="0">
                <a:solidFill>
                  <a:prstClr val="black"/>
                </a:solidFill>
                <a:latin typeface="+mn-lt"/>
              </a:rPr>
              <a:t>Road </a:t>
            </a:r>
            <a:r>
              <a:rPr lang="de-DE" sz="2200" dirty="0" err="1">
                <a:solidFill>
                  <a:prstClr val="black"/>
                </a:solidFill>
                <a:latin typeface="+mn-lt"/>
              </a:rPr>
              <a:t>show</a:t>
            </a:r>
            <a:r>
              <a:rPr lang="de-DE" sz="2200" dirty="0">
                <a:solidFill>
                  <a:prstClr val="black"/>
                </a:solidFill>
                <a:latin typeface="+mn-lt"/>
              </a:rPr>
              <a:t>, </a:t>
            </a:r>
            <a:r>
              <a:rPr lang="de-DE" sz="2200" dirty="0" err="1">
                <a:solidFill>
                  <a:prstClr val="black"/>
                </a:solidFill>
                <a:latin typeface="+mn-lt"/>
              </a:rPr>
              <a:t>investment</a:t>
            </a:r>
            <a:r>
              <a:rPr lang="de-DE" sz="2200" dirty="0">
                <a:solidFill>
                  <a:prstClr val="black"/>
                </a:solidFill>
                <a:latin typeface="+mn-lt"/>
              </a:rPr>
              <a:t> </a:t>
            </a:r>
            <a:r>
              <a:rPr lang="de-DE" sz="2200" dirty="0" err="1">
                <a:solidFill>
                  <a:prstClr val="black"/>
                </a:solidFill>
                <a:latin typeface="+mn-lt"/>
              </a:rPr>
              <a:t>dialogues</a:t>
            </a:r>
            <a:r>
              <a:rPr lang="de-DE" sz="2200" dirty="0">
                <a:solidFill>
                  <a:prstClr val="black"/>
                </a:solidFill>
                <a:latin typeface="+mn-lt"/>
              </a:rPr>
              <a:t> and </a:t>
            </a:r>
            <a:r>
              <a:rPr lang="de-DE" sz="2200" dirty="0" err="1">
                <a:solidFill>
                  <a:prstClr val="black"/>
                </a:solidFill>
                <a:latin typeface="+mn-lt"/>
              </a:rPr>
              <a:t>presentations</a:t>
            </a:r>
            <a:r>
              <a:rPr lang="de-DE" sz="2200" dirty="0">
                <a:solidFill>
                  <a:prstClr val="black"/>
                </a:solidFill>
                <a:latin typeface="+mn-lt"/>
              </a:rPr>
              <a:t> on </a:t>
            </a:r>
            <a:r>
              <a:rPr lang="de-DE" sz="2200" dirty="0" err="1">
                <a:solidFill>
                  <a:prstClr val="black"/>
                </a:solidFill>
                <a:latin typeface="+mn-lt"/>
              </a:rPr>
              <a:t>the</a:t>
            </a:r>
            <a:r>
              <a:rPr lang="de-DE" sz="2200" dirty="0">
                <a:solidFill>
                  <a:prstClr val="black"/>
                </a:solidFill>
                <a:latin typeface="+mn-lt"/>
              </a:rPr>
              <a:t> </a:t>
            </a:r>
            <a:r>
              <a:rPr lang="de-DE" sz="2200" dirty="0" err="1">
                <a:solidFill>
                  <a:prstClr val="black"/>
                </a:solidFill>
                <a:latin typeface="+mn-lt"/>
              </a:rPr>
              <a:t>fund</a:t>
            </a:r>
            <a:endParaRPr lang="en-US" sz="2200" dirty="0">
              <a:solidFill>
                <a:prstClr val="black"/>
              </a:solidFill>
              <a:latin typeface="+mn-lt"/>
            </a:endParaRPr>
          </a:p>
        </p:txBody>
      </p:sp>
      <p:pic>
        <p:nvPicPr>
          <p:cNvPr id="6146" name="Picture 2" descr="How to Monetize Your Webinar Content | The Marketing Scope">
            <a:extLst>
              <a:ext uri="{FF2B5EF4-FFF2-40B4-BE49-F238E27FC236}">
                <a16:creationId xmlns:a16="http://schemas.microsoft.com/office/drawing/2014/main" id="{AD4CCBB3-D333-564E-921C-EEE95FD85A3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03424" y="4614055"/>
            <a:ext cx="1860303" cy="1211204"/>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Nachbericht zur 15. ACATIS-Value-Konferenz von Stefan Riße ...">
            <a:extLst>
              <a:ext uri="{FF2B5EF4-FFF2-40B4-BE49-F238E27FC236}">
                <a16:creationId xmlns:a16="http://schemas.microsoft.com/office/drawing/2014/main" id="{CA4E3255-16CD-FB46-B729-ECE473A964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09259" y="4586049"/>
            <a:ext cx="1862201" cy="123921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FE9A7B84-31FD-4E48-9ECB-4174C2C1265E}"/>
              </a:ext>
            </a:extLst>
          </p:cNvPr>
          <p:cNvPicPr>
            <a:picLocks noChangeAspect="1"/>
          </p:cNvPicPr>
          <p:nvPr/>
        </p:nvPicPr>
        <p:blipFill>
          <a:blip r:embed="rId5"/>
          <a:stretch>
            <a:fillRect/>
          </a:stretch>
        </p:blipFill>
        <p:spPr>
          <a:xfrm>
            <a:off x="685197" y="3476500"/>
            <a:ext cx="1772994" cy="2510631"/>
          </a:xfrm>
          <a:prstGeom prst="rect">
            <a:avLst/>
          </a:prstGeom>
        </p:spPr>
      </p:pic>
    </p:spTree>
    <p:extLst>
      <p:ext uri="{BB962C8B-B14F-4D97-AF65-F5344CB8AC3E}">
        <p14:creationId xmlns:p14="http://schemas.microsoft.com/office/powerpoint/2010/main" val="13208784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ChangeArrowheads="1"/>
          </p:cNvSpPr>
          <p:nvPr/>
        </p:nvSpPr>
        <p:spPr bwMode="auto">
          <a:xfrm>
            <a:off x="395536" y="386401"/>
            <a:ext cx="7680496" cy="8103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272" tIns="43636" rIns="87272" bIns="43636" anchor="ctr"/>
          <a:lstStyle/>
          <a:p>
            <a:pPr fontAlgn="base">
              <a:lnSpc>
                <a:spcPct val="105000"/>
              </a:lnSpc>
              <a:spcBef>
                <a:spcPct val="0"/>
              </a:spcBef>
              <a:spcAft>
                <a:spcPct val="0"/>
              </a:spcAft>
            </a:pPr>
            <a:r>
              <a:rPr lang="de-DE" sz="3100" dirty="0" err="1">
                <a:solidFill>
                  <a:srgbClr val="005B99"/>
                </a:solidFill>
                <a:latin typeface="+mj-lt"/>
                <a:ea typeface="+mj-ea"/>
                <a:cs typeface="+mj-cs"/>
              </a:rPr>
              <a:t>Contact</a:t>
            </a:r>
            <a:r>
              <a:rPr lang="de-DE" sz="3100" dirty="0">
                <a:solidFill>
                  <a:srgbClr val="005B99"/>
                </a:solidFill>
                <a:latin typeface="+mj-lt"/>
                <a:ea typeface="+mj-ea"/>
                <a:cs typeface="+mj-cs"/>
              </a:rPr>
              <a:t> – </a:t>
            </a:r>
            <a:r>
              <a:rPr lang="de-DE" sz="3100" dirty="0" err="1">
                <a:solidFill>
                  <a:srgbClr val="005B99"/>
                </a:solidFill>
                <a:latin typeface="+mj-lt"/>
                <a:ea typeface="+mj-ea"/>
                <a:cs typeface="+mj-cs"/>
              </a:rPr>
              <a:t>your</a:t>
            </a:r>
            <a:r>
              <a:rPr lang="de-DE" sz="3100" dirty="0">
                <a:solidFill>
                  <a:srgbClr val="005B99"/>
                </a:solidFill>
                <a:latin typeface="+mj-lt"/>
                <a:ea typeface="+mj-ea"/>
                <a:cs typeface="+mj-cs"/>
              </a:rPr>
              <a:t> </a:t>
            </a:r>
            <a:r>
              <a:rPr lang="de-DE" sz="3100" dirty="0" err="1">
                <a:solidFill>
                  <a:srgbClr val="005B99"/>
                </a:solidFill>
                <a:latin typeface="+mj-lt"/>
                <a:ea typeface="+mj-ea"/>
                <a:cs typeface="+mj-cs"/>
              </a:rPr>
              <a:t>persons</a:t>
            </a:r>
            <a:r>
              <a:rPr lang="de-DE" sz="3100" dirty="0">
                <a:solidFill>
                  <a:srgbClr val="005B99"/>
                </a:solidFill>
                <a:latin typeface="+mj-lt"/>
                <a:ea typeface="+mj-ea"/>
                <a:cs typeface="+mj-cs"/>
              </a:rPr>
              <a:t> </a:t>
            </a:r>
            <a:r>
              <a:rPr lang="de-DE" sz="3100" dirty="0" err="1">
                <a:solidFill>
                  <a:srgbClr val="005B99"/>
                </a:solidFill>
                <a:latin typeface="+mj-lt"/>
                <a:ea typeface="+mj-ea"/>
                <a:cs typeface="+mj-cs"/>
              </a:rPr>
              <a:t>to</a:t>
            </a:r>
            <a:r>
              <a:rPr lang="de-DE" sz="3100" dirty="0">
                <a:solidFill>
                  <a:srgbClr val="005B99"/>
                </a:solidFill>
                <a:latin typeface="+mj-lt"/>
                <a:ea typeface="+mj-ea"/>
                <a:cs typeface="+mj-cs"/>
              </a:rPr>
              <a:t> </a:t>
            </a:r>
            <a:r>
              <a:rPr lang="de-DE" sz="3100" dirty="0" err="1">
                <a:solidFill>
                  <a:srgbClr val="005B99"/>
                </a:solidFill>
                <a:latin typeface="+mj-lt"/>
                <a:ea typeface="+mj-ea"/>
                <a:cs typeface="+mj-cs"/>
              </a:rPr>
              <a:t>contact</a:t>
            </a:r>
            <a:endParaRPr lang="de-DE" sz="3100" dirty="0">
              <a:solidFill>
                <a:srgbClr val="005B99"/>
              </a:solidFill>
              <a:latin typeface="+mj-lt"/>
              <a:ea typeface="+mj-ea"/>
              <a:cs typeface="+mj-cs"/>
            </a:endParaRPr>
          </a:p>
        </p:txBody>
      </p:sp>
      <p:sp>
        <p:nvSpPr>
          <p:cNvPr id="18" name="Textfeld 17"/>
          <p:cNvSpPr txBox="1"/>
          <p:nvPr/>
        </p:nvSpPr>
        <p:spPr>
          <a:xfrm>
            <a:off x="1833704" y="4049777"/>
            <a:ext cx="1879810" cy="1169551"/>
          </a:xfrm>
          <a:prstGeom prst="rect">
            <a:avLst/>
          </a:prstGeom>
          <a:noFill/>
        </p:spPr>
        <p:txBody>
          <a:bodyPr wrap="square" rtlCol="0">
            <a:spAutoFit/>
          </a:bodyPr>
          <a:lstStyle/>
          <a:p>
            <a:r>
              <a:rPr lang="de-DE" sz="1000" b="1" dirty="0">
                <a:solidFill>
                  <a:srgbClr val="000000"/>
                </a:solidFill>
              </a:rPr>
              <a:t>Eva Zaragoza</a:t>
            </a:r>
          </a:p>
          <a:p>
            <a:r>
              <a:rPr lang="de-DE" sz="1000" dirty="0">
                <a:solidFill>
                  <a:srgbClr val="000000"/>
                </a:solidFill>
              </a:rPr>
              <a:t>ACATIS Investment </a:t>
            </a:r>
          </a:p>
          <a:p>
            <a:r>
              <a:rPr lang="de-DE" sz="1000" dirty="0">
                <a:solidFill>
                  <a:srgbClr val="000000"/>
                </a:solidFill>
              </a:rPr>
              <a:t>KVG mbH</a:t>
            </a:r>
          </a:p>
          <a:p>
            <a:r>
              <a:rPr lang="de-DE" sz="1000" dirty="0">
                <a:solidFill>
                  <a:srgbClr val="000000"/>
                </a:solidFill>
              </a:rPr>
              <a:t>Tel: +34 648 914 288  </a:t>
            </a:r>
          </a:p>
          <a:p>
            <a:r>
              <a:rPr lang="de-DE" sz="1000" dirty="0">
                <a:solidFill>
                  <a:srgbClr val="000000"/>
                </a:solidFill>
              </a:rPr>
              <a:t>Email: zaragoza@acatis.com</a:t>
            </a:r>
          </a:p>
          <a:p>
            <a:r>
              <a:rPr lang="de-DE" sz="1000" dirty="0" err="1">
                <a:solidFill>
                  <a:srgbClr val="000000"/>
                </a:solidFill>
              </a:rPr>
              <a:t>Institutional</a:t>
            </a:r>
            <a:r>
              <a:rPr lang="de-DE" sz="1000" dirty="0">
                <a:solidFill>
                  <a:srgbClr val="000000"/>
                </a:solidFill>
              </a:rPr>
              <a:t> Sales Iberia, </a:t>
            </a:r>
          </a:p>
          <a:p>
            <a:r>
              <a:rPr lang="de-DE" sz="1000" dirty="0" err="1">
                <a:solidFill>
                  <a:srgbClr val="000000"/>
                </a:solidFill>
              </a:rPr>
              <a:t>Italy</a:t>
            </a:r>
            <a:r>
              <a:rPr lang="de-DE" sz="1000" dirty="0">
                <a:solidFill>
                  <a:srgbClr val="000000"/>
                </a:solidFill>
              </a:rPr>
              <a:t>, UK</a:t>
            </a:r>
          </a:p>
        </p:txBody>
      </p:sp>
      <p:sp>
        <p:nvSpPr>
          <p:cNvPr id="15" name="Textfeld 14"/>
          <p:cNvSpPr txBox="1"/>
          <p:nvPr/>
        </p:nvSpPr>
        <p:spPr>
          <a:xfrm>
            <a:off x="5585463" y="4050743"/>
            <a:ext cx="1904461" cy="1169551"/>
          </a:xfrm>
          <a:prstGeom prst="rect">
            <a:avLst/>
          </a:prstGeom>
          <a:noFill/>
        </p:spPr>
        <p:txBody>
          <a:bodyPr wrap="square" rtlCol="0">
            <a:spAutoFit/>
          </a:bodyPr>
          <a:lstStyle/>
          <a:p>
            <a:r>
              <a:rPr lang="de-DE" sz="1000" b="1" dirty="0">
                <a:solidFill>
                  <a:srgbClr val="000000"/>
                </a:solidFill>
              </a:rPr>
              <a:t>Marie </a:t>
            </a:r>
            <a:r>
              <a:rPr lang="de-DE" sz="1000" b="1" dirty="0" err="1">
                <a:solidFill>
                  <a:srgbClr val="000000"/>
                </a:solidFill>
              </a:rPr>
              <a:t>Ballorain</a:t>
            </a:r>
            <a:endParaRPr lang="de-DE" sz="1000" b="1" dirty="0">
              <a:solidFill>
                <a:srgbClr val="000000"/>
              </a:solidFill>
            </a:endParaRPr>
          </a:p>
          <a:p>
            <a:r>
              <a:rPr lang="de-DE" sz="1000" dirty="0">
                <a:solidFill>
                  <a:srgbClr val="000000"/>
                </a:solidFill>
              </a:rPr>
              <a:t>ACATIS Investment </a:t>
            </a:r>
          </a:p>
          <a:p>
            <a:r>
              <a:rPr lang="de-DE" sz="1000" dirty="0">
                <a:solidFill>
                  <a:srgbClr val="000000"/>
                </a:solidFill>
              </a:rPr>
              <a:t>KVG mbH</a:t>
            </a:r>
          </a:p>
          <a:p>
            <a:r>
              <a:rPr lang="de-DE" sz="1000" dirty="0">
                <a:solidFill>
                  <a:srgbClr val="000000"/>
                </a:solidFill>
              </a:rPr>
              <a:t>Tel: +33 6 79 98 16 73</a:t>
            </a:r>
          </a:p>
          <a:p>
            <a:r>
              <a:rPr lang="de-DE" sz="1000" dirty="0">
                <a:solidFill>
                  <a:srgbClr val="000000"/>
                </a:solidFill>
              </a:rPr>
              <a:t>Email: ballorain@acatis.com</a:t>
            </a:r>
          </a:p>
          <a:p>
            <a:r>
              <a:rPr lang="de-DE" sz="1000" dirty="0" err="1">
                <a:solidFill>
                  <a:srgbClr val="000000"/>
                </a:solidFill>
              </a:rPr>
              <a:t>Institutional</a:t>
            </a:r>
            <a:r>
              <a:rPr lang="de-DE" sz="1000" dirty="0">
                <a:solidFill>
                  <a:srgbClr val="000000"/>
                </a:solidFill>
              </a:rPr>
              <a:t> Sales France, </a:t>
            </a:r>
          </a:p>
          <a:p>
            <a:r>
              <a:rPr lang="de-DE" sz="1000" dirty="0">
                <a:solidFill>
                  <a:srgbClr val="000000"/>
                </a:solidFill>
              </a:rPr>
              <a:t>Benelux</a:t>
            </a:r>
          </a:p>
        </p:txBody>
      </p:sp>
      <p:sp>
        <p:nvSpPr>
          <p:cNvPr id="14" name="Textfeld 13"/>
          <p:cNvSpPr txBox="1"/>
          <p:nvPr/>
        </p:nvSpPr>
        <p:spPr>
          <a:xfrm>
            <a:off x="1883265" y="5417867"/>
            <a:ext cx="1509681" cy="1015663"/>
          </a:xfrm>
          <a:prstGeom prst="rect">
            <a:avLst/>
          </a:prstGeom>
          <a:noFill/>
        </p:spPr>
        <p:txBody>
          <a:bodyPr wrap="square" rtlCol="0">
            <a:spAutoFit/>
          </a:bodyPr>
          <a:lstStyle/>
          <a:p>
            <a:r>
              <a:rPr lang="de-DE" sz="1000" b="1" dirty="0">
                <a:solidFill>
                  <a:srgbClr val="000000"/>
                </a:solidFill>
              </a:rPr>
              <a:t>Petra Weise</a:t>
            </a:r>
          </a:p>
          <a:p>
            <a:r>
              <a:rPr lang="de-DE" sz="1000" dirty="0">
                <a:solidFill>
                  <a:srgbClr val="000000"/>
                </a:solidFill>
              </a:rPr>
              <a:t>ACATIS Service GmbH </a:t>
            </a:r>
          </a:p>
          <a:p>
            <a:r>
              <a:rPr lang="de-DE" sz="1000" dirty="0">
                <a:solidFill>
                  <a:srgbClr val="000000"/>
                </a:solidFill>
              </a:rPr>
              <a:t>Tel: +41-71-886 45-51</a:t>
            </a:r>
          </a:p>
          <a:p>
            <a:r>
              <a:rPr lang="de-DE" sz="1000" dirty="0">
                <a:solidFill>
                  <a:srgbClr val="000000"/>
                </a:solidFill>
              </a:rPr>
              <a:t>Email: weise@acatis.ch</a:t>
            </a:r>
          </a:p>
          <a:p>
            <a:r>
              <a:rPr lang="de-DE" sz="1000" dirty="0" err="1">
                <a:solidFill>
                  <a:srgbClr val="000000"/>
                </a:solidFill>
              </a:rPr>
              <a:t>Institutional</a:t>
            </a:r>
            <a:r>
              <a:rPr lang="de-DE" sz="1000" dirty="0">
                <a:solidFill>
                  <a:srgbClr val="000000"/>
                </a:solidFill>
              </a:rPr>
              <a:t> Sales </a:t>
            </a:r>
            <a:r>
              <a:rPr lang="de-DE" sz="1000" dirty="0" err="1">
                <a:solidFill>
                  <a:srgbClr val="000000"/>
                </a:solidFill>
              </a:rPr>
              <a:t>Switzerland</a:t>
            </a:r>
            <a:endParaRPr lang="de-DE" sz="1000" dirty="0">
              <a:solidFill>
                <a:srgbClr val="000000"/>
              </a:solidFill>
            </a:endParaRPr>
          </a:p>
        </p:txBody>
      </p:sp>
      <p:sp>
        <p:nvSpPr>
          <p:cNvPr id="21" name="Textfeld 20"/>
          <p:cNvSpPr txBox="1"/>
          <p:nvPr/>
        </p:nvSpPr>
        <p:spPr>
          <a:xfrm>
            <a:off x="1830133" y="2688215"/>
            <a:ext cx="1950289" cy="1323439"/>
          </a:xfrm>
          <a:prstGeom prst="rect">
            <a:avLst/>
          </a:prstGeom>
          <a:noFill/>
        </p:spPr>
        <p:txBody>
          <a:bodyPr wrap="square" rtlCol="0">
            <a:spAutoFit/>
          </a:bodyPr>
          <a:lstStyle/>
          <a:p>
            <a:r>
              <a:rPr lang="de-DE" sz="1000" b="1" dirty="0">
                <a:solidFill>
                  <a:srgbClr val="000000"/>
                </a:solidFill>
              </a:rPr>
              <a:t>Amit Kapoor</a:t>
            </a:r>
          </a:p>
          <a:p>
            <a:r>
              <a:rPr lang="de-DE" sz="1000" dirty="0">
                <a:solidFill>
                  <a:srgbClr val="000000"/>
                </a:solidFill>
              </a:rPr>
              <a:t>ACATIS Investment </a:t>
            </a:r>
          </a:p>
          <a:p>
            <a:r>
              <a:rPr lang="de-DE" sz="1000" dirty="0">
                <a:solidFill>
                  <a:srgbClr val="000000"/>
                </a:solidFill>
              </a:rPr>
              <a:t>KVG mbH</a:t>
            </a:r>
          </a:p>
          <a:p>
            <a:r>
              <a:rPr lang="de-DE" sz="1000" dirty="0">
                <a:solidFill>
                  <a:srgbClr val="000000"/>
                </a:solidFill>
              </a:rPr>
              <a:t>Tel: +</a:t>
            </a:r>
            <a:r>
              <a:rPr lang="de-DE" sz="1000" dirty="0"/>
              <a:t>44 7500 373 205</a:t>
            </a:r>
            <a:endParaRPr lang="de-DE" sz="1000" dirty="0">
              <a:solidFill>
                <a:srgbClr val="000000"/>
              </a:solidFill>
            </a:endParaRPr>
          </a:p>
          <a:p>
            <a:r>
              <a:rPr lang="de-DE" sz="1000" dirty="0">
                <a:solidFill>
                  <a:srgbClr val="000000"/>
                </a:solidFill>
              </a:rPr>
              <a:t>Email: kapoor@acatis.com</a:t>
            </a:r>
          </a:p>
          <a:p>
            <a:r>
              <a:rPr lang="de-DE" sz="1000" dirty="0" err="1">
                <a:solidFill>
                  <a:srgbClr val="000000"/>
                </a:solidFill>
              </a:rPr>
              <a:t>Institutional</a:t>
            </a:r>
            <a:r>
              <a:rPr lang="de-DE" sz="1000" dirty="0">
                <a:solidFill>
                  <a:srgbClr val="000000"/>
                </a:solidFill>
              </a:rPr>
              <a:t> Sales </a:t>
            </a:r>
          </a:p>
          <a:p>
            <a:r>
              <a:rPr lang="de-DE" sz="1000" dirty="0">
                <a:solidFill>
                  <a:srgbClr val="000000"/>
                </a:solidFill>
              </a:rPr>
              <a:t>International</a:t>
            </a:r>
          </a:p>
          <a:p>
            <a:endParaRPr lang="de-DE" sz="1000" dirty="0">
              <a:solidFill>
                <a:srgbClr val="000000"/>
              </a:solidFill>
            </a:endParaRPr>
          </a:p>
        </p:txBody>
      </p:sp>
      <p:pic>
        <p:nvPicPr>
          <p:cNvPr id="20" name="Grafik 19"/>
          <p:cNvPicPr>
            <a:picLocks noChangeAspect="1"/>
          </p:cNvPicPr>
          <p:nvPr/>
        </p:nvPicPr>
        <p:blipFill rotWithShape="1">
          <a:blip r:embed="rId3" cstate="print">
            <a:extLst>
              <a:ext uri="{28A0092B-C50C-407E-A947-70E740481C1C}">
                <a14:useLocalDpi xmlns:a14="http://schemas.microsoft.com/office/drawing/2010/main" val="0"/>
              </a:ext>
            </a:extLst>
          </a:blip>
          <a:srcRect l="-1" t="13384" r="3209" b="13950"/>
          <a:stretch/>
        </p:blipFill>
        <p:spPr>
          <a:xfrm>
            <a:off x="537527" y="5417867"/>
            <a:ext cx="1250177" cy="1251437"/>
          </a:xfrm>
          <a:prstGeom prst="rect">
            <a:avLst/>
          </a:prstGeom>
        </p:spPr>
      </p:pic>
      <p:pic>
        <p:nvPicPr>
          <p:cNvPr id="5" name="Grafik 4"/>
          <p:cNvPicPr>
            <a:picLocks noChangeAspect="1"/>
          </p:cNvPicPr>
          <p:nvPr/>
        </p:nvPicPr>
        <p:blipFill rotWithShape="1">
          <a:blip r:embed="rId4" cstate="print">
            <a:extLst>
              <a:ext uri="{28A0092B-C50C-407E-A947-70E740481C1C}">
                <a14:useLocalDpi xmlns:a14="http://schemas.microsoft.com/office/drawing/2010/main" val="0"/>
              </a:ext>
            </a:extLst>
          </a:blip>
          <a:srcRect l="7643" t="9861" r="5217" b="25325"/>
          <a:stretch/>
        </p:blipFill>
        <p:spPr>
          <a:xfrm>
            <a:off x="4267745" y="4050743"/>
            <a:ext cx="1260879" cy="1250465"/>
          </a:xfrm>
          <a:prstGeom prst="rect">
            <a:avLst/>
          </a:prstGeom>
        </p:spPr>
      </p:pic>
      <p:pic>
        <p:nvPicPr>
          <p:cNvPr id="8" name="Grafik 7"/>
          <p:cNvPicPr>
            <a:picLocks noChangeAspect="1"/>
          </p:cNvPicPr>
          <p:nvPr/>
        </p:nvPicPr>
        <p:blipFill rotWithShape="1">
          <a:blip r:embed="rId5" cstate="print">
            <a:extLst>
              <a:ext uri="{28A0092B-C50C-407E-A947-70E740481C1C}">
                <a14:useLocalDpi xmlns:a14="http://schemas.microsoft.com/office/drawing/2010/main" val="0"/>
              </a:ext>
            </a:extLst>
          </a:blip>
          <a:srcRect l="7556" t="14988" r="7556" b="21411"/>
          <a:stretch/>
        </p:blipFill>
        <p:spPr>
          <a:xfrm>
            <a:off x="533077" y="2681687"/>
            <a:ext cx="1250177" cy="1257551"/>
          </a:xfrm>
          <a:prstGeom prst="rect">
            <a:avLst/>
          </a:prstGeom>
        </p:spPr>
      </p:pic>
      <p:sp>
        <p:nvSpPr>
          <p:cNvPr id="25" name="Textfeld 24"/>
          <p:cNvSpPr txBox="1"/>
          <p:nvPr/>
        </p:nvSpPr>
        <p:spPr>
          <a:xfrm>
            <a:off x="5604148" y="2623807"/>
            <a:ext cx="1950289" cy="1477328"/>
          </a:xfrm>
          <a:prstGeom prst="rect">
            <a:avLst/>
          </a:prstGeom>
          <a:noFill/>
        </p:spPr>
        <p:txBody>
          <a:bodyPr wrap="square" rtlCol="0">
            <a:spAutoFit/>
          </a:bodyPr>
          <a:lstStyle/>
          <a:p>
            <a:r>
              <a:rPr lang="de-DE" sz="1000" b="1" dirty="0">
                <a:solidFill>
                  <a:srgbClr val="000000"/>
                </a:solidFill>
              </a:rPr>
              <a:t>Frits Nieuwenhuijsen</a:t>
            </a:r>
          </a:p>
          <a:p>
            <a:r>
              <a:rPr lang="de-DE" sz="1000" dirty="0">
                <a:solidFill>
                  <a:srgbClr val="000000"/>
                </a:solidFill>
              </a:rPr>
              <a:t>ACATIS Investment </a:t>
            </a:r>
          </a:p>
          <a:p>
            <a:r>
              <a:rPr lang="de-DE" sz="1000" dirty="0">
                <a:solidFill>
                  <a:srgbClr val="000000"/>
                </a:solidFill>
              </a:rPr>
              <a:t>KVG mbH</a:t>
            </a:r>
          </a:p>
          <a:p>
            <a:r>
              <a:rPr lang="de-DE" sz="1000" dirty="0">
                <a:solidFill>
                  <a:srgbClr val="000000"/>
                </a:solidFill>
              </a:rPr>
              <a:t>Tel: +31 6 30 00 56 41</a:t>
            </a:r>
          </a:p>
          <a:p>
            <a:r>
              <a:rPr lang="de-DE" sz="1000" dirty="0">
                <a:solidFill>
                  <a:srgbClr val="000000"/>
                </a:solidFill>
              </a:rPr>
              <a:t>Email: </a:t>
            </a:r>
            <a:r>
              <a:rPr lang="de-DE" sz="1000" dirty="0" err="1">
                <a:solidFill>
                  <a:srgbClr val="000000"/>
                </a:solidFill>
              </a:rPr>
              <a:t>nieuwenhuijsen</a:t>
            </a:r>
            <a:endParaRPr lang="de-DE" sz="1000" dirty="0">
              <a:solidFill>
                <a:srgbClr val="000000"/>
              </a:solidFill>
            </a:endParaRPr>
          </a:p>
          <a:p>
            <a:r>
              <a:rPr lang="de-DE" sz="1000" dirty="0">
                <a:solidFill>
                  <a:srgbClr val="000000"/>
                </a:solidFill>
              </a:rPr>
              <a:t>@acatis.com</a:t>
            </a:r>
          </a:p>
          <a:p>
            <a:r>
              <a:rPr lang="de-DE" sz="1000" dirty="0" err="1">
                <a:solidFill>
                  <a:srgbClr val="000000"/>
                </a:solidFill>
              </a:rPr>
              <a:t>Institutional</a:t>
            </a:r>
            <a:r>
              <a:rPr lang="de-DE" sz="1000" dirty="0">
                <a:solidFill>
                  <a:srgbClr val="000000"/>
                </a:solidFill>
              </a:rPr>
              <a:t> Sales </a:t>
            </a:r>
          </a:p>
          <a:p>
            <a:r>
              <a:rPr lang="de-DE" sz="1000" dirty="0" err="1">
                <a:solidFill>
                  <a:srgbClr val="000000"/>
                </a:solidFill>
              </a:rPr>
              <a:t>Netherlands</a:t>
            </a:r>
            <a:r>
              <a:rPr lang="de-DE" sz="1000" dirty="0">
                <a:solidFill>
                  <a:srgbClr val="000000"/>
                </a:solidFill>
              </a:rPr>
              <a:t>, </a:t>
            </a:r>
            <a:r>
              <a:rPr lang="de-DE" sz="1000" dirty="0" err="1">
                <a:solidFill>
                  <a:srgbClr val="000000"/>
                </a:solidFill>
              </a:rPr>
              <a:t>Belgium</a:t>
            </a:r>
            <a:r>
              <a:rPr lang="de-DE" sz="1000" dirty="0">
                <a:solidFill>
                  <a:srgbClr val="000000"/>
                </a:solidFill>
              </a:rPr>
              <a:t>, </a:t>
            </a:r>
            <a:r>
              <a:rPr lang="de-DE" sz="1000">
                <a:solidFill>
                  <a:srgbClr val="000000"/>
                </a:solidFill>
              </a:rPr>
              <a:t>Denmark</a:t>
            </a:r>
            <a:endParaRPr lang="de-DE" sz="1000" dirty="0">
              <a:solidFill>
                <a:srgbClr val="000000"/>
              </a:solidFill>
            </a:endParaRPr>
          </a:p>
          <a:p>
            <a:endParaRPr lang="de-DE" sz="1000" dirty="0">
              <a:solidFill>
                <a:srgbClr val="000000"/>
              </a:solidFill>
            </a:endParaRPr>
          </a:p>
        </p:txBody>
      </p:sp>
      <p:pic>
        <p:nvPicPr>
          <p:cNvPr id="26" name="Grafik 25"/>
          <p:cNvPicPr>
            <a:picLocks noChangeAspect="1"/>
          </p:cNvPicPr>
          <p:nvPr/>
        </p:nvPicPr>
        <p:blipFill rotWithShape="1">
          <a:blip r:embed="rId6" cstate="print">
            <a:extLst>
              <a:ext uri="{28A0092B-C50C-407E-A947-70E740481C1C}">
                <a14:useLocalDpi xmlns:a14="http://schemas.microsoft.com/office/drawing/2010/main" val="0"/>
              </a:ext>
            </a:extLst>
          </a:blip>
          <a:srcRect l="10559" t="8947" r="3239" b="26998"/>
          <a:stretch/>
        </p:blipFill>
        <p:spPr>
          <a:xfrm>
            <a:off x="4267745" y="2712891"/>
            <a:ext cx="1263085" cy="1251437"/>
          </a:xfrm>
          <a:prstGeom prst="rect">
            <a:avLst/>
          </a:prstGeom>
        </p:spPr>
      </p:pic>
      <p:pic>
        <p:nvPicPr>
          <p:cNvPr id="2" name="Grafik 1"/>
          <p:cNvPicPr>
            <a:picLocks noChangeAspect="1"/>
          </p:cNvPicPr>
          <p:nvPr/>
        </p:nvPicPr>
        <p:blipFill rotWithShape="1">
          <a:blip r:embed="rId7" cstate="print">
            <a:extLst>
              <a:ext uri="{28A0092B-C50C-407E-A947-70E740481C1C}">
                <a14:useLocalDpi xmlns:a14="http://schemas.microsoft.com/office/drawing/2010/main" val="0"/>
              </a:ext>
            </a:extLst>
          </a:blip>
          <a:srcRect t="16306" b="11762"/>
          <a:stretch/>
        </p:blipFill>
        <p:spPr>
          <a:xfrm>
            <a:off x="533079" y="4050743"/>
            <a:ext cx="1250176" cy="1250465"/>
          </a:xfrm>
          <a:prstGeom prst="rect">
            <a:avLst/>
          </a:prstGeom>
        </p:spPr>
      </p:pic>
      <p:sp>
        <p:nvSpPr>
          <p:cNvPr id="29" name="Textfeld 28">
            <a:extLst>
              <a:ext uri="{FF2B5EF4-FFF2-40B4-BE49-F238E27FC236}">
                <a16:creationId xmlns:a16="http://schemas.microsoft.com/office/drawing/2014/main" id="{DE4C8A60-D859-435F-B49F-A3B486E2AEFD}"/>
              </a:ext>
            </a:extLst>
          </p:cNvPr>
          <p:cNvSpPr txBox="1"/>
          <p:nvPr/>
        </p:nvSpPr>
        <p:spPr>
          <a:xfrm>
            <a:off x="1839088" y="1235346"/>
            <a:ext cx="1660649" cy="1169551"/>
          </a:xfrm>
          <a:prstGeom prst="rect">
            <a:avLst/>
          </a:prstGeom>
          <a:noFill/>
        </p:spPr>
        <p:txBody>
          <a:bodyPr wrap="square" rtlCol="0">
            <a:spAutoFit/>
          </a:bodyPr>
          <a:lstStyle/>
          <a:p>
            <a:pPr eaLnBrk="1" fontAlgn="auto" hangingPunct="1">
              <a:spcBef>
                <a:spcPts val="0"/>
              </a:spcBef>
              <a:spcAft>
                <a:spcPts val="0"/>
              </a:spcAft>
            </a:pPr>
            <a:r>
              <a:rPr lang="de-DE" sz="1000" b="1" dirty="0">
                <a:solidFill>
                  <a:srgbClr val="000000"/>
                </a:solidFill>
                <a:latin typeface="Gill Sans MT Light"/>
              </a:rPr>
              <a:t>Felix Müller</a:t>
            </a:r>
          </a:p>
          <a:p>
            <a:pPr eaLnBrk="1" fontAlgn="auto" hangingPunct="1">
              <a:spcBef>
                <a:spcPts val="0"/>
              </a:spcBef>
              <a:spcAft>
                <a:spcPts val="0"/>
              </a:spcAft>
            </a:pPr>
            <a:r>
              <a:rPr lang="de-DE" sz="1000" dirty="0">
                <a:solidFill>
                  <a:srgbClr val="000000"/>
                </a:solidFill>
                <a:latin typeface="Gill Sans MT Light"/>
              </a:rPr>
              <a:t>ACATIS Investment </a:t>
            </a:r>
          </a:p>
          <a:p>
            <a:pPr eaLnBrk="1" fontAlgn="auto" hangingPunct="1">
              <a:spcBef>
                <a:spcPts val="0"/>
              </a:spcBef>
              <a:spcAft>
                <a:spcPts val="0"/>
              </a:spcAft>
            </a:pPr>
            <a:r>
              <a:rPr lang="de-DE" sz="1000" dirty="0">
                <a:solidFill>
                  <a:srgbClr val="000000"/>
                </a:solidFill>
                <a:latin typeface="Gill Sans MT Light"/>
              </a:rPr>
              <a:t>KVG mbH</a:t>
            </a:r>
          </a:p>
          <a:p>
            <a:pPr eaLnBrk="1" fontAlgn="auto" hangingPunct="1">
              <a:spcBef>
                <a:spcPts val="0"/>
              </a:spcBef>
              <a:spcAft>
                <a:spcPts val="0"/>
              </a:spcAft>
            </a:pPr>
            <a:r>
              <a:rPr lang="de-DE" sz="1000" dirty="0">
                <a:solidFill>
                  <a:srgbClr val="000000"/>
                </a:solidFill>
                <a:latin typeface="Gill Sans MT Light"/>
              </a:rPr>
              <a:t>Tel: +49-69-97 58 37-60</a:t>
            </a:r>
          </a:p>
          <a:p>
            <a:pPr eaLnBrk="1" fontAlgn="auto" hangingPunct="1">
              <a:spcBef>
                <a:spcPts val="0"/>
              </a:spcBef>
              <a:spcAft>
                <a:spcPts val="0"/>
              </a:spcAft>
            </a:pPr>
            <a:r>
              <a:rPr lang="de-DE" sz="1000" dirty="0">
                <a:solidFill>
                  <a:srgbClr val="000000"/>
                </a:solidFill>
                <a:latin typeface="Gill Sans MT Light"/>
              </a:rPr>
              <a:t>Email: mueller@acatis.de</a:t>
            </a:r>
          </a:p>
          <a:p>
            <a:r>
              <a:rPr lang="en-US" sz="1000" dirty="0">
                <a:solidFill>
                  <a:srgbClr val="000000"/>
                </a:solidFill>
              </a:rPr>
              <a:t>Member of the Extended Management Board, Sales</a:t>
            </a:r>
          </a:p>
        </p:txBody>
      </p:sp>
      <p:pic>
        <p:nvPicPr>
          <p:cNvPr id="30" name="Grafik 29" descr="Ein Bild, das Person, Mann, Anzug, Schlips enthält.&#10;&#10;Automatisch generierte Beschreibung">
            <a:extLst>
              <a:ext uri="{FF2B5EF4-FFF2-40B4-BE49-F238E27FC236}">
                <a16:creationId xmlns:a16="http://schemas.microsoft.com/office/drawing/2014/main" id="{FF1516C5-F74E-49B4-A5E9-10B009A42F15}"/>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8462" t="9792" r="5520" b="20805"/>
          <a:stretch/>
        </p:blipFill>
        <p:spPr>
          <a:xfrm>
            <a:off x="533077" y="1249991"/>
            <a:ext cx="1234899" cy="1328150"/>
          </a:xfrm>
          <a:prstGeom prst="rect">
            <a:avLst/>
          </a:prstGeom>
        </p:spPr>
      </p:pic>
    </p:spTree>
    <p:extLst>
      <p:ext uri="{BB962C8B-B14F-4D97-AF65-F5344CB8AC3E}">
        <p14:creationId xmlns:p14="http://schemas.microsoft.com/office/powerpoint/2010/main" val="388111574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ChangeArrowheads="1"/>
          </p:cNvSpPr>
          <p:nvPr/>
        </p:nvSpPr>
        <p:spPr bwMode="auto">
          <a:xfrm>
            <a:off x="369650" y="537599"/>
            <a:ext cx="7799601" cy="5879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272" tIns="43636" rIns="87272" bIns="43636" anchor="ctr"/>
          <a:lstStyle/>
          <a:p>
            <a:pPr eaLnBrk="1" fontAlgn="auto" hangingPunct="1">
              <a:lnSpc>
                <a:spcPct val="105000"/>
              </a:lnSpc>
              <a:spcBef>
                <a:spcPts val="0"/>
              </a:spcBef>
              <a:spcAft>
                <a:spcPts val="0"/>
              </a:spcAft>
            </a:pPr>
            <a:r>
              <a:rPr lang="en-US" sz="3100" dirty="0">
                <a:solidFill>
                  <a:srgbClr val="005B99"/>
                </a:solidFill>
                <a:latin typeface="+mj-lt"/>
                <a:ea typeface="+mj-ea"/>
                <a:cs typeface="+mj-cs"/>
              </a:rPr>
              <a:t>Contact information</a:t>
            </a:r>
          </a:p>
        </p:txBody>
      </p:sp>
      <p:sp>
        <p:nvSpPr>
          <p:cNvPr id="31747" name="Rectangle 3"/>
          <p:cNvSpPr>
            <a:spLocks noChangeArrowheads="1"/>
          </p:cNvSpPr>
          <p:nvPr/>
        </p:nvSpPr>
        <p:spPr bwMode="auto">
          <a:xfrm>
            <a:off x="422251" y="1646709"/>
            <a:ext cx="4343400" cy="335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272" tIns="43636" rIns="87272" bIns="43636"/>
          <a:lstStyle/>
          <a:p>
            <a:pPr marL="261938" indent="-261938" eaLnBrk="1" fontAlgn="auto" hangingPunct="1">
              <a:lnSpc>
                <a:spcPct val="90000"/>
              </a:lnSpc>
              <a:spcBef>
                <a:spcPts val="0"/>
              </a:spcBef>
              <a:spcAft>
                <a:spcPts val="0"/>
              </a:spcAft>
              <a:buClr>
                <a:srgbClr val="7A929D"/>
              </a:buClr>
              <a:buFont typeface="Arial" charset="0"/>
              <a:buChar char="■"/>
            </a:pPr>
            <a:r>
              <a:rPr lang="en-US" sz="1400" b="1" dirty="0">
                <a:solidFill>
                  <a:srgbClr val="000000"/>
                </a:solidFill>
                <a:latin typeface="Gill Sans MT Light"/>
              </a:rPr>
              <a:t>ACATIS</a:t>
            </a:r>
            <a:r>
              <a:rPr lang="en-US" sz="1400" dirty="0">
                <a:solidFill>
                  <a:srgbClr val="000000"/>
                </a:solidFill>
                <a:latin typeface="Gill Sans MT Light"/>
              </a:rPr>
              <a:t> </a:t>
            </a:r>
            <a:br>
              <a:rPr lang="en-US" sz="1400" dirty="0">
                <a:solidFill>
                  <a:srgbClr val="000000"/>
                </a:solidFill>
                <a:latin typeface="Gill Sans MT Light"/>
              </a:rPr>
            </a:br>
            <a:r>
              <a:rPr lang="en-US" sz="1400" dirty="0">
                <a:solidFill>
                  <a:srgbClr val="000000"/>
                </a:solidFill>
                <a:latin typeface="Gill Sans MT Light"/>
              </a:rPr>
              <a:t>Investment </a:t>
            </a:r>
            <a:r>
              <a:rPr lang="en-US" sz="1400" dirty="0" err="1">
                <a:solidFill>
                  <a:srgbClr val="000000"/>
                </a:solidFill>
                <a:latin typeface="Gill Sans MT Light"/>
              </a:rPr>
              <a:t>Kapitalverwaltungsgesellschaft</a:t>
            </a:r>
            <a:r>
              <a:rPr lang="en-US" sz="1400" dirty="0">
                <a:solidFill>
                  <a:srgbClr val="000000"/>
                </a:solidFill>
                <a:latin typeface="Gill Sans MT Light"/>
              </a:rPr>
              <a:t> </a:t>
            </a:r>
            <a:r>
              <a:rPr lang="en-US" sz="1400" dirty="0" err="1">
                <a:solidFill>
                  <a:srgbClr val="000000"/>
                </a:solidFill>
                <a:latin typeface="Gill Sans MT Light"/>
              </a:rPr>
              <a:t>mbH</a:t>
            </a:r>
            <a:endParaRPr lang="en-US" sz="1400" dirty="0">
              <a:solidFill>
                <a:srgbClr val="000000"/>
              </a:solidFill>
              <a:latin typeface="Gill Sans MT Light"/>
            </a:endParaRPr>
          </a:p>
          <a:p>
            <a:pPr marL="266700" eaLnBrk="1" fontAlgn="auto" hangingPunct="1">
              <a:lnSpc>
                <a:spcPct val="90000"/>
              </a:lnSpc>
              <a:spcBef>
                <a:spcPts val="0"/>
              </a:spcBef>
              <a:spcAft>
                <a:spcPts val="0"/>
              </a:spcAft>
              <a:buClr>
                <a:srgbClr val="7A929D"/>
              </a:buClr>
            </a:pPr>
            <a:r>
              <a:rPr lang="en-US" sz="1400" dirty="0">
                <a:solidFill>
                  <a:srgbClr val="000000"/>
                </a:solidFill>
                <a:latin typeface="Gill Sans MT Light"/>
              </a:rPr>
              <a:t>Germany</a:t>
            </a:r>
          </a:p>
          <a:p>
            <a:pPr marL="261938" indent="-261938" eaLnBrk="1" fontAlgn="auto" hangingPunct="1">
              <a:lnSpc>
                <a:spcPct val="90000"/>
              </a:lnSpc>
              <a:spcBef>
                <a:spcPts val="0"/>
              </a:spcBef>
              <a:spcAft>
                <a:spcPts val="0"/>
              </a:spcAft>
              <a:buClr>
                <a:srgbClr val="7A929D"/>
              </a:buClr>
              <a:buFont typeface="Arial" charset="0"/>
              <a:buChar char="■"/>
            </a:pPr>
            <a:endParaRPr lang="en-US" sz="1400" dirty="0">
              <a:solidFill>
                <a:srgbClr val="000000"/>
              </a:solidFill>
              <a:latin typeface="Gill Sans MT Light"/>
            </a:endParaRPr>
          </a:p>
          <a:p>
            <a:pPr marL="261938" indent="-261938" eaLnBrk="1" fontAlgn="auto" hangingPunct="1">
              <a:lnSpc>
                <a:spcPct val="90000"/>
              </a:lnSpc>
              <a:spcBef>
                <a:spcPts val="0"/>
              </a:spcBef>
              <a:spcAft>
                <a:spcPts val="0"/>
              </a:spcAft>
              <a:buClr>
                <a:srgbClr val="7A929D"/>
              </a:buClr>
              <a:buFont typeface="Arial" charset="0"/>
              <a:buChar char="■"/>
            </a:pPr>
            <a:r>
              <a:rPr lang="en-US" sz="1400" dirty="0">
                <a:solidFill>
                  <a:srgbClr val="000000"/>
                </a:solidFill>
                <a:latin typeface="Gill Sans MT Light"/>
              </a:rPr>
              <a:t>Address</a:t>
            </a:r>
          </a:p>
          <a:p>
            <a:pPr marL="623888" lvl="1" indent="-182563" eaLnBrk="1" fontAlgn="auto" hangingPunct="1">
              <a:lnSpc>
                <a:spcPct val="90000"/>
              </a:lnSpc>
              <a:spcBef>
                <a:spcPts val="0"/>
              </a:spcBef>
              <a:spcAft>
                <a:spcPts val="0"/>
              </a:spcAft>
              <a:buClr>
                <a:srgbClr val="7A929D"/>
              </a:buClr>
              <a:buSzPct val="70000"/>
              <a:buFont typeface="Arial" charset="0"/>
              <a:buChar char="■"/>
            </a:pPr>
            <a:r>
              <a:rPr lang="en-US" sz="1400" dirty="0" err="1">
                <a:solidFill>
                  <a:srgbClr val="000000"/>
                </a:solidFill>
                <a:latin typeface="Gill Sans MT Light"/>
              </a:rPr>
              <a:t>mainBuilding</a:t>
            </a:r>
            <a:endParaRPr lang="en-US" sz="1400" dirty="0">
              <a:solidFill>
                <a:srgbClr val="000000"/>
              </a:solidFill>
              <a:latin typeface="Gill Sans MT Light"/>
            </a:endParaRPr>
          </a:p>
          <a:p>
            <a:pPr marL="623888" lvl="1" indent="-182563" eaLnBrk="1" fontAlgn="auto" hangingPunct="1">
              <a:lnSpc>
                <a:spcPct val="90000"/>
              </a:lnSpc>
              <a:spcBef>
                <a:spcPts val="0"/>
              </a:spcBef>
              <a:spcAft>
                <a:spcPts val="0"/>
              </a:spcAft>
              <a:buClr>
                <a:srgbClr val="7A929D"/>
              </a:buClr>
              <a:buSzPct val="70000"/>
              <a:buFont typeface="Arial" charset="0"/>
              <a:buChar char="■"/>
            </a:pPr>
            <a:r>
              <a:rPr lang="en-US" sz="1400" dirty="0" err="1">
                <a:solidFill>
                  <a:srgbClr val="000000"/>
                </a:solidFill>
                <a:latin typeface="Gill Sans MT Light"/>
              </a:rPr>
              <a:t>Taunusanlage</a:t>
            </a:r>
            <a:r>
              <a:rPr lang="en-US" sz="1400" dirty="0">
                <a:solidFill>
                  <a:srgbClr val="000000"/>
                </a:solidFill>
                <a:latin typeface="Gill Sans MT Light"/>
              </a:rPr>
              <a:t> 18</a:t>
            </a:r>
          </a:p>
          <a:p>
            <a:pPr marL="623888" lvl="1" indent="-182563" eaLnBrk="1" fontAlgn="auto" hangingPunct="1">
              <a:lnSpc>
                <a:spcPct val="90000"/>
              </a:lnSpc>
              <a:spcBef>
                <a:spcPts val="0"/>
              </a:spcBef>
              <a:spcAft>
                <a:spcPts val="0"/>
              </a:spcAft>
              <a:buClr>
                <a:srgbClr val="7A929D"/>
              </a:buClr>
              <a:buSzPct val="70000"/>
              <a:buFont typeface="Arial" charset="0"/>
              <a:buChar char="■"/>
            </a:pPr>
            <a:r>
              <a:rPr lang="en-US" sz="1400" dirty="0">
                <a:solidFill>
                  <a:srgbClr val="000000"/>
                </a:solidFill>
                <a:latin typeface="Gill Sans MT Light"/>
              </a:rPr>
              <a:t>D-60325 Frankfurt</a:t>
            </a:r>
          </a:p>
          <a:p>
            <a:pPr marL="623888" lvl="1" indent="-182563" eaLnBrk="1" fontAlgn="auto" hangingPunct="1">
              <a:lnSpc>
                <a:spcPct val="90000"/>
              </a:lnSpc>
              <a:spcBef>
                <a:spcPts val="0"/>
              </a:spcBef>
              <a:spcAft>
                <a:spcPts val="0"/>
              </a:spcAft>
              <a:buClr>
                <a:srgbClr val="7A929D"/>
              </a:buClr>
              <a:buSzPct val="70000"/>
              <a:buFont typeface="Arial" charset="0"/>
              <a:buChar char="■"/>
            </a:pPr>
            <a:r>
              <a:rPr lang="en-US" sz="1400" dirty="0">
                <a:solidFill>
                  <a:srgbClr val="000000"/>
                </a:solidFill>
                <a:latin typeface="Gill Sans MT Light"/>
              </a:rPr>
              <a:t>Tel:      +49-69-97 58 37-77</a:t>
            </a:r>
          </a:p>
          <a:p>
            <a:pPr marL="623888" lvl="1" indent="-182563" eaLnBrk="1" fontAlgn="auto" hangingPunct="1">
              <a:lnSpc>
                <a:spcPct val="90000"/>
              </a:lnSpc>
              <a:spcBef>
                <a:spcPts val="0"/>
              </a:spcBef>
              <a:spcAft>
                <a:spcPts val="0"/>
              </a:spcAft>
              <a:buClr>
                <a:srgbClr val="7A929D"/>
              </a:buClr>
              <a:buSzPct val="70000"/>
              <a:buFont typeface="Arial" charset="0"/>
              <a:buChar char="■"/>
            </a:pPr>
            <a:r>
              <a:rPr lang="en-US" sz="1400" dirty="0">
                <a:solidFill>
                  <a:srgbClr val="000000"/>
                </a:solidFill>
                <a:latin typeface="Gill Sans MT Light"/>
              </a:rPr>
              <a:t>Fax:      +49-69-97 58 37-99</a:t>
            </a:r>
          </a:p>
          <a:p>
            <a:pPr marL="623888" lvl="1" indent="-182563" eaLnBrk="1" fontAlgn="auto" hangingPunct="1">
              <a:lnSpc>
                <a:spcPct val="90000"/>
              </a:lnSpc>
              <a:spcBef>
                <a:spcPts val="0"/>
              </a:spcBef>
              <a:spcAft>
                <a:spcPts val="0"/>
              </a:spcAft>
              <a:buClr>
                <a:srgbClr val="7A929D"/>
              </a:buClr>
              <a:buSzPct val="70000"/>
              <a:buFont typeface="Arial" charset="0"/>
              <a:buChar char="■"/>
            </a:pPr>
            <a:r>
              <a:rPr lang="en-US" sz="1400" dirty="0">
                <a:solidFill>
                  <a:srgbClr val="000000"/>
                </a:solidFill>
                <a:latin typeface="Gill Sans MT Light"/>
              </a:rPr>
              <a:t>Website: </a:t>
            </a:r>
            <a:r>
              <a:rPr lang="en-US" sz="1400" dirty="0" err="1">
                <a:solidFill>
                  <a:srgbClr val="000000"/>
                </a:solidFill>
                <a:latin typeface="Gill Sans MT Light"/>
              </a:rPr>
              <a:t>www.acatis.com</a:t>
            </a:r>
            <a:endParaRPr lang="en-US" sz="1400" dirty="0">
              <a:solidFill>
                <a:srgbClr val="000000"/>
              </a:solidFill>
              <a:latin typeface="Gill Sans MT Light"/>
            </a:endParaRPr>
          </a:p>
        </p:txBody>
      </p:sp>
      <p:sp>
        <p:nvSpPr>
          <p:cNvPr id="31748" name="Rectangle 4"/>
          <p:cNvSpPr>
            <a:spLocks noChangeArrowheads="1"/>
          </p:cNvSpPr>
          <p:nvPr/>
        </p:nvSpPr>
        <p:spPr bwMode="auto">
          <a:xfrm>
            <a:off x="419310" y="4293096"/>
            <a:ext cx="4343400" cy="2304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272" tIns="43636" rIns="87272" bIns="43636"/>
          <a:lstStyle/>
          <a:p>
            <a:pPr marL="261938" indent="-261938" eaLnBrk="1" fontAlgn="auto" hangingPunct="1">
              <a:lnSpc>
                <a:spcPct val="90000"/>
              </a:lnSpc>
              <a:spcBef>
                <a:spcPts val="0"/>
              </a:spcBef>
              <a:spcAft>
                <a:spcPts val="0"/>
              </a:spcAft>
              <a:buClr>
                <a:srgbClr val="7A929D"/>
              </a:buClr>
              <a:buFont typeface="Arial" charset="0"/>
              <a:buNone/>
            </a:pPr>
            <a:endParaRPr lang="en-US" sz="1400" dirty="0">
              <a:solidFill>
                <a:srgbClr val="000000"/>
              </a:solidFill>
              <a:latin typeface="Gill Sans MT Light"/>
            </a:endParaRPr>
          </a:p>
          <a:p>
            <a:pPr marL="261938" indent="-261938" eaLnBrk="1" fontAlgn="auto" hangingPunct="1">
              <a:lnSpc>
                <a:spcPct val="90000"/>
              </a:lnSpc>
              <a:spcBef>
                <a:spcPts val="0"/>
              </a:spcBef>
              <a:spcAft>
                <a:spcPts val="0"/>
              </a:spcAft>
              <a:buClr>
                <a:srgbClr val="7A929D"/>
              </a:buClr>
              <a:buFont typeface="Arial" charset="0"/>
              <a:buChar char="■"/>
            </a:pPr>
            <a:r>
              <a:rPr lang="en-US" sz="1400" b="1" dirty="0">
                <a:solidFill>
                  <a:srgbClr val="000000"/>
                </a:solidFill>
                <a:latin typeface="Gill Sans MT Light"/>
              </a:rPr>
              <a:t>ACATIS</a:t>
            </a:r>
          </a:p>
          <a:p>
            <a:pPr marL="266700" eaLnBrk="1" fontAlgn="auto" hangingPunct="1">
              <a:lnSpc>
                <a:spcPct val="90000"/>
              </a:lnSpc>
              <a:spcBef>
                <a:spcPts val="0"/>
              </a:spcBef>
              <a:spcAft>
                <a:spcPts val="0"/>
              </a:spcAft>
              <a:buClr>
                <a:srgbClr val="7A929D"/>
              </a:buClr>
            </a:pPr>
            <a:r>
              <a:rPr lang="en-US" sz="1400" dirty="0">
                <a:solidFill>
                  <a:srgbClr val="000000"/>
                </a:solidFill>
                <a:latin typeface="Gill Sans MT Light"/>
              </a:rPr>
              <a:t>Service GmbH</a:t>
            </a:r>
          </a:p>
          <a:p>
            <a:pPr marL="266700" eaLnBrk="1" fontAlgn="auto" hangingPunct="1">
              <a:lnSpc>
                <a:spcPct val="90000"/>
              </a:lnSpc>
              <a:spcBef>
                <a:spcPts val="0"/>
              </a:spcBef>
              <a:spcAft>
                <a:spcPts val="0"/>
              </a:spcAft>
              <a:buClr>
                <a:srgbClr val="7A929D"/>
              </a:buClr>
            </a:pPr>
            <a:r>
              <a:rPr lang="en-US" sz="1400" dirty="0">
                <a:solidFill>
                  <a:srgbClr val="000000"/>
                </a:solidFill>
                <a:latin typeface="Gill Sans MT Light"/>
              </a:rPr>
              <a:t>Switzerland</a:t>
            </a:r>
          </a:p>
          <a:p>
            <a:pPr marL="261938" indent="-261938" eaLnBrk="1" fontAlgn="auto" hangingPunct="1">
              <a:lnSpc>
                <a:spcPct val="90000"/>
              </a:lnSpc>
              <a:spcBef>
                <a:spcPts val="0"/>
              </a:spcBef>
              <a:spcAft>
                <a:spcPts val="0"/>
              </a:spcAft>
              <a:buClr>
                <a:srgbClr val="7A929D"/>
              </a:buClr>
              <a:buFont typeface="Arial" charset="0"/>
              <a:buChar char="■"/>
            </a:pPr>
            <a:endParaRPr lang="en-US" sz="1400" dirty="0">
              <a:solidFill>
                <a:srgbClr val="000000"/>
              </a:solidFill>
              <a:latin typeface="Gill Sans MT Light"/>
            </a:endParaRPr>
          </a:p>
          <a:p>
            <a:pPr marL="261938" indent="-261938" eaLnBrk="1" fontAlgn="auto" hangingPunct="1">
              <a:lnSpc>
                <a:spcPct val="90000"/>
              </a:lnSpc>
              <a:spcBef>
                <a:spcPts val="0"/>
              </a:spcBef>
              <a:spcAft>
                <a:spcPts val="0"/>
              </a:spcAft>
              <a:buClr>
                <a:srgbClr val="7A929D"/>
              </a:buClr>
              <a:buFont typeface="Arial" charset="0"/>
              <a:buChar char="■"/>
            </a:pPr>
            <a:r>
              <a:rPr lang="en-US" sz="1400" dirty="0">
                <a:solidFill>
                  <a:srgbClr val="000000"/>
                </a:solidFill>
                <a:latin typeface="Gill Sans MT Light"/>
              </a:rPr>
              <a:t>Address</a:t>
            </a:r>
          </a:p>
          <a:p>
            <a:pPr marL="623888" lvl="1" indent="-182563" eaLnBrk="1" fontAlgn="auto" hangingPunct="1">
              <a:lnSpc>
                <a:spcPct val="90000"/>
              </a:lnSpc>
              <a:spcBef>
                <a:spcPts val="0"/>
              </a:spcBef>
              <a:spcAft>
                <a:spcPts val="0"/>
              </a:spcAft>
              <a:buClr>
                <a:srgbClr val="7A929D"/>
              </a:buClr>
              <a:buSzPct val="70000"/>
              <a:buFont typeface="Arial" charset="0"/>
              <a:buChar char="■"/>
            </a:pPr>
            <a:r>
              <a:rPr lang="en-US" sz="1400" dirty="0" err="1">
                <a:solidFill>
                  <a:srgbClr val="000000"/>
                </a:solidFill>
                <a:latin typeface="Gill Sans MT Light"/>
              </a:rPr>
              <a:t>Güetli</a:t>
            </a:r>
            <a:r>
              <a:rPr lang="en-US" sz="1400" dirty="0">
                <a:solidFill>
                  <a:srgbClr val="000000"/>
                </a:solidFill>
                <a:latin typeface="Gill Sans MT Light"/>
              </a:rPr>
              <a:t> 166</a:t>
            </a:r>
          </a:p>
          <a:p>
            <a:pPr marL="623888" lvl="1" indent="-182563" eaLnBrk="1" fontAlgn="auto" hangingPunct="1">
              <a:lnSpc>
                <a:spcPct val="90000"/>
              </a:lnSpc>
              <a:spcBef>
                <a:spcPts val="0"/>
              </a:spcBef>
              <a:spcAft>
                <a:spcPts val="0"/>
              </a:spcAft>
              <a:buClr>
                <a:srgbClr val="7A929D"/>
              </a:buClr>
              <a:buSzPct val="70000"/>
              <a:buFont typeface="Arial" charset="0"/>
              <a:buChar char="■"/>
            </a:pPr>
            <a:r>
              <a:rPr lang="en-US" sz="1400" dirty="0">
                <a:solidFill>
                  <a:srgbClr val="000000"/>
                </a:solidFill>
                <a:latin typeface="Gill Sans MT Light"/>
              </a:rPr>
              <a:t>CH-9428 </a:t>
            </a:r>
            <a:r>
              <a:rPr lang="en-US" sz="1400" dirty="0" err="1">
                <a:solidFill>
                  <a:srgbClr val="000000"/>
                </a:solidFill>
                <a:latin typeface="Gill Sans MT Light"/>
              </a:rPr>
              <a:t>Walzenhausen</a:t>
            </a:r>
            <a:endParaRPr lang="en-US" sz="1400" dirty="0">
              <a:solidFill>
                <a:srgbClr val="000000"/>
              </a:solidFill>
              <a:latin typeface="Gill Sans MT Light"/>
            </a:endParaRPr>
          </a:p>
          <a:p>
            <a:pPr marL="623888" lvl="1" indent="-182563" eaLnBrk="1" fontAlgn="auto" hangingPunct="1">
              <a:lnSpc>
                <a:spcPct val="90000"/>
              </a:lnSpc>
              <a:spcBef>
                <a:spcPts val="0"/>
              </a:spcBef>
              <a:spcAft>
                <a:spcPts val="0"/>
              </a:spcAft>
              <a:buClr>
                <a:srgbClr val="7A929D"/>
              </a:buClr>
              <a:buSzPct val="70000"/>
              <a:buFont typeface="Arial" charset="0"/>
              <a:buChar char="■"/>
            </a:pPr>
            <a:r>
              <a:rPr lang="en-US" sz="1400" dirty="0">
                <a:solidFill>
                  <a:srgbClr val="000000"/>
                </a:solidFill>
                <a:latin typeface="Gill Sans MT Light"/>
              </a:rPr>
              <a:t>Tel:      +41-71-886 45-51</a:t>
            </a:r>
          </a:p>
        </p:txBody>
      </p:sp>
      <p:pic>
        <p:nvPicPr>
          <p:cNvPr id="3" name="Grafik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55428" y="1646709"/>
            <a:ext cx="3114910" cy="4653136"/>
          </a:xfrm>
          <a:prstGeom prst="rect">
            <a:avLst/>
          </a:prstGeom>
        </p:spPr>
      </p:pic>
    </p:spTree>
    <p:extLst>
      <p:ext uri="{BB962C8B-B14F-4D97-AF65-F5344CB8AC3E}">
        <p14:creationId xmlns:p14="http://schemas.microsoft.com/office/powerpoint/2010/main" val="22516198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688981" y="2952671"/>
            <a:ext cx="5854698" cy="533479"/>
          </a:xfrm>
          <a:noFill/>
        </p:spPr>
        <p:txBody>
          <a:bodyPr/>
          <a:lstStyle/>
          <a:p>
            <a:r>
              <a:rPr lang="en-GB" dirty="0"/>
              <a:t>Macroeconomic Environment and the “Next New Normal”</a:t>
            </a:r>
          </a:p>
        </p:txBody>
      </p:sp>
    </p:spTree>
    <p:extLst>
      <p:ext uri="{BB962C8B-B14F-4D97-AF65-F5344CB8AC3E}">
        <p14:creationId xmlns:p14="http://schemas.microsoft.com/office/powerpoint/2010/main" val="166507404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a:xfrm>
            <a:off x="371663" y="660400"/>
            <a:ext cx="7747000" cy="475258"/>
          </a:xfrm>
        </p:spPr>
        <p:txBody>
          <a:bodyPr/>
          <a:lstStyle/>
          <a:p>
            <a:pPr fontAlgn="auto">
              <a:spcBef>
                <a:spcPts val="0"/>
              </a:spcBef>
              <a:spcAft>
                <a:spcPts val="0"/>
              </a:spcAft>
            </a:pPr>
            <a:r>
              <a:rPr lang="en-GB" sz="3100" kern="1200" dirty="0">
                <a:solidFill>
                  <a:srgbClr val="005B99"/>
                </a:solidFill>
              </a:rPr>
              <a:t>Disclaimer</a:t>
            </a:r>
          </a:p>
        </p:txBody>
      </p:sp>
      <p:sp>
        <p:nvSpPr>
          <p:cNvPr id="5" name="Rectangle 4099"/>
          <p:cNvSpPr txBox="1">
            <a:spLocks noChangeArrowheads="1"/>
          </p:cNvSpPr>
          <p:nvPr/>
        </p:nvSpPr>
        <p:spPr bwMode="auto">
          <a:xfrm>
            <a:off x="374837" y="1375683"/>
            <a:ext cx="8264526" cy="46456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1938" indent="-261938" algn="l" rtl="0" eaLnBrk="0" fontAlgn="base" hangingPunct="0">
              <a:lnSpc>
                <a:spcPct val="140000"/>
              </a:lnSpc>
              <a:spcBef>
                <a:spcPct val="0"/>
              </a:spcBef>
              <a:spcAft>
                <a:spcPct val="0"/>
              </a:spcAft>
              <a:buClr>
                <a:srgbClr val="7A929D"/>
              </a:buClr>
              <a:buFont typeface="Arial" charset="0"/>
              <a:buChar char="■"/>
              <a:defRPr sz="2100">
                <a:solidFill>
                  <a:schemeClr val="tx1"/>
                </a:solidFill>
                <a:latin typeface="+mn-lt"/>
                <a:ea typeface="+mn-ea"/>
                <a:cs typeface="+mn-cs"/>
              </a:defRPr>
            </a:lvl1pPr>
            <a:lvl2pPr marL="623888" indent="-182563" algn="l" rtl="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mn-lt"/>
              </a:defRPr>
            </a:lvl2pPr>
            <a:lvl3pPr marL="1074738" indent="-160338" algn="l" rtl="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mn-lt"/>
              </a:defRPr>
            </a:lvl3pPr>
            <a:lvl4pPr marL="1600200" indent="-228600" algn="l" rtl="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mn-lt"/>
              </a:defRPr>
            </a:lvl4pPr>
            <a:lvl5pPr marL="2057400" indent="-228600" algn="l" rtl="0" eaLnBrk="0" fontAlgn="base" hangingPunct="0">
              <a:lnSpc>
                <a:spcPct val="140000"/>
              </a:lnSpc>
              <a:spcBef>
                <a:spcPct val="0"/>
              </a:spcBef>
              <a:spcAft>
                <a:spcPct val="0"/>
              </a:spcAft>
              <a:buClr>
                <a:srgbClr val="7A929D"/>
              </a:buClr>
              <a:buSzPct val="70000"/>
              <a:buFont typeface="Arial" charset="0"/>
              <a:buChar char="■"/>
              <a:defRPr sz="2100">
                <a:solidFill>
                  <a:schemeClr val="tx1"/>
                </a:solidFill>
                <a:latin typeface="+mn-lt"/>
              </a:defRPr>
            </a:lvl5pPr>
            <a:lvl6pPr marL="2514600" indent="-228600" algn="l" rtl="0" fontAlgn="base">
              <a:lnSpc>
                <a:spcPct val="140000"/>
              </a:lnSpc>
              <a:spcBef>
                <a:spcPct val="0"/>
              </a:spcBef>
              <a:spcAft>
                <a:spcPct val="0"/>
              </a:spcAft>
              <a:buClr>
                <a:srgbClr val="7A929D"/>
              </a:buClr>
              <a:buSzPct val="70000"/>
              <a:buFont typeface="Arial" charset="0"/>
              <a:buChar char="■"/>
              <a:defRPr sz="2100">
                <a:solidFill>
                  <a:schemeClr val="tx1"/>
                </a:solidFill>
                <a:latin typeface="+mn-lt"/>
              </a:defRPr>
            </a:lvl6pPr>
            <a:lvl7pPr marL="2971800" indent="-228600" algn="l" rtl="0" fontAlgn="base">
              <a:lnSpc>
                <a:spcPct val="140000"/>
              </a:lnSpc>
              <a:spcBef>
                <a:spcPct val="0"/>
              </a:spcBef>
              <a:spcAft>
                <a:spcPct val="0"/>
              </a:spcAft>
              <a:buClr>
                <a:srgbClr val="7A929D"/>
              </a:buClr>
              <a:buSzPct val="70000"/>
              <a:buFont typeface="Arial" charset="0"/>
              <a:buChar char="■"/>
              <a:defRPr sz="2100">
                <a:solidFill>
                  <a:schemeClr val="tx1"/>
                </a:solidFill>
                <a:latin typeface="+mn-lt"/>
              </a:defRPr>
            </a:lvl7pPr>
            <a:lvl8pPr marL="3429000" indent="-228600" algn="l" rtl="0" fontAlgn="base">
              <a:lnSpc>
                <a:spcPct val="140000"/>
              </a:lnSpc>
              <a:spcBef>
                <a:spcPct val="0"/>
              </a:spcBef>
              <a:spcAft>
                <a:spcPct val="0"/>
              </a:spcAft>
              <a:buClr>
                <a:srgbClr val="7A929D"/>
              </a:buClr>
              <a:buSzPct val="70000"/>
              <a:buFont typeface="Arial" charset="0"/>
              <a:buChar char="■"/>
              <a:defRPr sz="2100">
                <a:solidFill>
                  <a:schemeClr val="tx1"/>
                </a:solidFill>
                <a:latin typeface="+mn-lt"/>
              </a:defRPr>
            </a:lvl8pPr>
            <a:lvl9pPr marL="3886200" indent="-228600" algn="l" rtl="0" fontAlgn="base">
              <a:lnSpc>
                <a:spcPct val="140000"/>
              </a:lnSpc>
              <a:spcBef>
                <a:spcPct val="0"/>
              </a:spcBef>
              <a:spcAft>
                <a:spcPct val="0"/>
              </a:spcAft>
              <a:buClr>
                <a:srgbClr val="7A929D"/>
              </a:buClr>
              <a:buSzPct val="70000"/>
              <a:buFont typeface="Arial" charset="0"/>
              <a:buChar char="■"/>
              <a:defRPr sz="2100">
                <a:solidFill>
                  <a:schemeClr val="tx1"/>
                </a:solidFill>
                <a:latin typeface="+mn-lt"/>
              </a:defRPr>
            </a:lvl9pPr>
          </a:lstStyle>
          <a:p>
            <a:r>
              <a:rPr lang="en-GB" sz="1150" dirty="0">
                <a:solidFill>
                  <a:srgbClr val="000000"/>
                </a:solidFill>
              </a:rPr>
              <a:t>This document is only intended for information purposes. It is solely directed at professional clients or suitable counterparties in terms of the Securities Trading Act, and is not intended for distribution to retail customers.</a:t>
            </a:r>
          </a:p>
          <a:p>
            <a:r>
              <a:rPr lang="en-GB" sz="1150" dirty="0">
                <a:solidFill>
                  <a:srgbClr val="000000"/>
                </a:solidFill>
              </a:rPr>
              <a:t>Past performance does not guarantee future results. ACATIS accepts no liability that the market forecasts will be achieved. The information is based on carefully selected sources which ACATIS deems to be reliable, but ACATIS makes no guarantee as to its correctness, completeness or accuracy. Holdings and allocations may change. The opinions are those of the fund managers at the time of publication and may not agree with an opinion at a later time. The opinions promote understanding of the investment process and are not intended as a recommendation to invest. </a:t>
            </a:r>
          </a:p>
          <a:p>
            <a:r>
              <a:rPr lang="en-GB" sz="1150" dirty="0">
                <a:solidFill>
                  <a:srgbClr val="000000"/>
                </a:solidFill>
              </a:rPr>
              <a:t>The investment opportunity discussed in this document may be unsuitable for certain investors depending on their specific investment objectives and depending on their financial situation. Furthermore, this document does not constitute an offer to persons to whom it may not be distributed under the respectively prevailing laws.</a:t>
            </a:r>
          </a:p>
          <a:p>
            <a:r>
              <a:rPr lang="en-GB" sz="1150" dirty="0">
                <a:solidFill>
                  <a:srgbClr val="000000"/>
                </a:solidFill>
              </a:rPr>
              <a:t>The information does not represent an offer nor an invitation to subscription for shares and is intended solely for informational purposes. Private individuals and non-institutional investors should not buy the funds directly. Please contact your financial adviser for additional information on ACATIS products. The information may not be reproduced or distributed to other persons.</a:t>
            </a:r>
          </a:p>
          <a:p>
            <a:r>
              <a:rPr lang="en-US" sz="1200" dirty="0">
                <a:solidFill>
                  <a:srgbClr val="000000"/>
                </a:solidFill>
              </a:rPr>
              <a:t>Not all ACATIS funds are authorized in all European jurisdictions. </a:t>
            </a:r>
          </a:p>
          <a:p>
            <a:r>
              <a:rPr lang="en-US" sz="1200" dirty="0">
                <a:solidFill>
                  <a:srgbClr val="000000"/>
                </a:solidFill>
              </a:rPr>
              <a:t>ACATIS Investment KVG </a:t>
            </a:r>
            <a:r>
              <a:rPr lang="en-US" sz="1200" dirty="0" err="1">
                <a:solidFill>
                  <a:srgbClr val="000000"/>
                </a:solidFill>
              </a:rPr>
              <a:t>mbH</a:t>
            </a:r>
            <a:r>
              <a:rPr lang="en-US" sz="1200" dirty="0">
                <a:solidFill>
                  <a:srgbClr val="000000"/>
                </a:solidFill>
              </a:rPr>
              <a:t> is headquartered in Germany and provides the sales prospectus, semi-annual report, annual report and "KID" in German free of charge. The documents can be downloaded from the website www.acatis.com</a:t>
            </a:r>
            <a:r>
              <a:rPr lang="en-GB" sz="1150" dirty="0">
                <a:solidFill>
                  <a:srgbClr val="000000"/>
                </a:solidFill>
              </a:rPr>
              <a:t>. </a:t>
            </a:r>
          </a:p>
          <a:p>
            <a:r>
              <a:rPr lang="en-GB" sz="1150" dirty="0">
                <a:solidFill>
                  <a:srgbClr val="000000"/>
                </a:solidFill>
              </a:rPr>
              <a:t>ACATIS Investment </a:t>
            </a:r>
            <a:r>
              <a:rPr lang="en-GB" sz="1150" dirty="0" err="1">
                <a:solidFill>
                  <a:srgbClr val="000000"/>
                </a:solidFill>
              </a:rPr>
              <a:t>Kapitalverwaltungsgesellschaft</a:t>
            </a:r>
            <a:r>
              <a:rPr lang="en-GB" sz="1150" dirty="0">
                <a:solidFill>
                  <a:srgbClr val="000000"/>
                </a:solidFill>
              </a:rPr>
              <a:t> </a:t>
            </a:r>
            <a:r>
              <a:rPr lang="en-GB" sz="1150" dirty="0" err="1">
                <a:solidFill>
                  <a:srgbClr val="000000"/>
                </a:solidFill>
              </a:rPr>
              <a:t>mbH</a:t>
            </a:r>
            <a:r>
              <a:rPr lang="en-GB" sz="1150" dirty="0">
                <a:solidFill>
                  <a:srgbClr val="000000"/>
                </a:solidFill>
              </a:rPr>
              <a:t> is regulated by the German Federal Financial Supervisory Authority, BAFIN, Lurgiallee 12, 60439 Frankfurt.</a:t>
            </a:r>
          </a:p>
          <a:p>
            <a:pPr marL="177800" indent="-177800" eaLnBrk="1" hangingPunct="1">
              <a:lnSpc>
                <a:spcPct val="130000"/>
              </a:lnSpc>
            </a:pPr>
            <a:endParaRPr lang="en-GB" sz="1150" dirty="0">
              <a:solidFill>
                <a:srgbClr val="000000"/>
              </a:solidFill>
              <a:cs typeface="Times New Roman" pitchFamily="18" charset="0"/>
            </a:endParaRPr>
          </a:p>
          <a:p>
            <a:pPr marL="177800" indent="-177800" eaLnBrk="1" hangingPunct="1">
              <a:lnSpc>
                <a:spcPct val="130000"/>
              </a:lnSpc>
            </a:pPr>
            <a:endParaRPr lang="en-GB" sz="1150" dirty="0">
              <a:solidFill>
                <a:srgbClr val="000000"/>
              </a:solidFill>
              <a:cs typeface="Times New Roman" pitchFamily="18" charset="0"/>
            </a:endParaRPr>
          </a:p>
        </p:txBody>
      </p:sp>
    </p:spTree>
    <p:extLst>
      <p:ext uri="{BB962C8B-B14F-4D97-AF65-F5344CB8AC3E}">
        <p14:creationId xmlns:p14="http://schemas.microsoft.com/office/powerpoint/2010/main" val="26668019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39297" y="437864"/>
            <a:ext cx="7987510" cy="976165"/>
          </a:xfrm>
        </p:spPr>
        <p:txBody>
          <a:bodyPr/>
          <a:lstStyle/>
          <a:p>
            <a:r>
              <a:rPr lang="en-US" sz="3100" dirty="0">
                <a:solidFill>
                  <a:srgbClr val="005B99"/>
                </a:solidFill>
              </a:rPr>
              <a:t>China has taken rigorous measures to flatten the infection curve</a:t>
            </a:r>
          </a:p>
        </p:txBody>
      </p:sp>
      <p:sp>
        <p:nvSpPr>
          <p:cNvPr id="21" name="Textfeld 5">
            <a:extLst>
              <a:ext uri="{FF2B5EF4-FFF2-40B4-BE49-F238E27FC236}">
                <a16:creationId xmlns:a16="http://schemas.microsoft.com/office/drawing/2014/main" id="{90467519-CBBE-3A47-8006-84DCD5E46624}"/>
              </a:ext>
            </a:extLst>
          </p:cNvPr>
          <p:cNvSpPr txBox="1"/>
          <p:nvPr/>
        </p:nvSpPr>
        <p:spPr>
          <a:xfrm>
            <a:off x="420369" y="6448424"/>
            <a:ext cx="5307693" cy="246221"/>
          </a:xfrm>
          <a:prstGeom prst="rect">
            <a:avLst/>
          </a:prstGeom>
          <a:noFill/>
        </p:spPr>
        <p:txBody>
          <a:bodyPr wrap="square" rtlCol="0">
            <a:spAutoFit/>
          </a:bodyPr>
          <a:lstStyle/>
          <a:p>
            <a:r>
              <a:rPr lang="de-DE" sz="1000" dirty="0"/>
              <a:t>Source: </a:t>
            </a:r>
            <a:r>
              <a:rPr lang="de-DE" sz="1000" dirty="0" err="1"/>
              <a:t>NYTimes</a:t>
            </a:r>
            <a:r>
              <a:rPr lang="de-DE" sz="1000" dirty="0"/>
              <a:t>, Washington Post, BBC, SCMP, CNBC, </a:t>
            </a:r>
            <a:r>
              <a:rPr lang="de-DE" sz="1000" dirty="0" err="1"/>
              <a:t>Strait</a:t>
            </a:r>
            <a:r>
              <a:rPr lang="de-DE" sz="1000" dirty="0"/>
              <a:t> Times, Nature, </a:t>
            </a:r>
            <a:r>
              <a:rPr lang="de-DE" sz="1000" dirty="0" err="1"/>
              <a:t>Qilin</a:t>
            </a:r>
            <a:r>
              <a:rPr lang="de-DE" sz="1000" dirty="0"/>
              <a:t> Capital </a:t>
            </a:r>
            <a:r>
              <a:rPr lang="de-DE" sz="1000" dirty="0" err="1"/>
              <a:t>analysis</a:t>
            </a:r>
            <a:endParaRPr lang="de-DE" sz="1000" dirty="0"/>
          </a:p>
        </p:txBody>
      </p:sp>
      <p:grpSp>
        <p:nvGrpSpPr>
          <p:cNvPr id="3" name="Group 2">
            <a:extLst>
              <a:ext uri="{FF2B5EF4-FFF2-40B4-BE49-F238E27FC236}">
                <a16:creationId xmlns:a16="http://schemas.microsoft.com/office/drawing/2014/main" id="{3C625D1C-C774-544E-B9CA-BA3ADD18046B}"/>
              </a:ext>
            </a:extLst>
          </p:cNvPr>
          <p:cNvGrpSpPr/>
          <p:nvPr/>
        </p:nvGrpSpPr>
        <p:grpSpPr>
          <a:xfrm>
            <a:off x="394686" y="1659940"/>
            <a:ext cx="7932120" cy="4646709"/>
            <a:chOff x="362450" y="1659940"/>
            <a:chExt cx="8906558" cy="4646709"/>
          </a:xfrm>
        </p:grpSpPr>
        <p:sp>
          <p:nvSpPr>
            <p:cNvPr id="24" name="Pentagon 7">
              <a:extLst>
                <a:ext uri="{FF2B5EF4-FFF2-40B4-BE49-F238E27FC236}">
                  <a16:creationId xmlns:a16="http://schemas.microsoft.com/office/drawing/2014/main" id="{407BFA8E-6986-7845-BBB8-E484F737BCBA}"/>
                </a:ext>
              </a:extLst>
            </p:cNvPr>
            <p:cNvSpPr/>
            <p:nvPr/>
          </p:nvSpPr>
          <p:spPr>
            <a:xfrm rot="5400000">
              <a:off x="-761312" y="2845160"/>
              <a:ext cx="4378480" cy="2059037"/>
            </a:xfrm>
            <a:prstGeom prst="homePlate">
              <a:avLst>
                <a:gd name="adj" fmla="val 21505"/>
              </a:avLst>
            </a:prstGeom>
            <a:blipFill dpi="0" rotWithShape="1">
              <a:blip r:embed="rId2">
                <a:extLst>
                  <a:ext uri="{28A0092B-C50C-407E-A947-70E740481C1C}">
                    <a14:useLocalDpi xmlns:a14="http://schemas.microsoft.com/office/drawing/2010/main" val="0"/>
                  </a:ext>
                </a:extLst>
              </a:blip>
              <a:srcRect/>
              <a:stretch>
                <a:fillRect/>
              </a:stretch>
            </a:blipFill>
            <a:ln w="9525">
              <a:noFill/>
              <a:miter lim="800000"/>
              <a:headEnd/>
              <a:tailEnd/>
            </a:ln>
            <a:effectLst/>
          </p:spPr>
          <p:txBody>
            <a:bodyPr wrap="square" lIns="68635" tIns="68635" rIns="68635" bIns="68635" anchor="ctr" anchorCtr="0">
              <a:noAutofit/>
            </a:bodyPr>
            <a:lstStyle/>
            <a:p>
              <a:pPr defTabSz="853378" eaLnBrk="1" fontAlgn="auto" hangingPunct="1">
                <a:spcBef>
                  <a:spcPts val="0"/>
                </a:spcBef>
                <a:spcAft>
                  <a:spcPts val="0"/>
                </a:spcAft>
                <a:buClr>
                  <a:srgbClr val="6DB33F"/>
                </a:buClr>
              </a:pPr>
              <a:endParaRPr lang="en-US" sz="900" b="1">
                <a:solidFill>
                  <a:prstClr val="white"/>
                </a:solidFill>
                <a:latin typeface="Calibri"/>
                <a:ea typeface="PMingLiU" pitchFamily="18" charset="-120"/>
              </a:endParaRPr>
            </a:p>
          </p:txBody>
        </p:sp>
        <p:sp>
          <p:nvSpPr>
            <p:cNvPr id="25" name="Pentagon 7">
              <a:extLst>
                <a:ext uri="{FF2B5EF4-FFF2-40B4-BE49-F238E27FC236}">
                  <a16:creationId xmlns:a16="http://schemas.microsoft.com/office/drawing/2014/main" id="{89B95336-802F-EC4E-9490-0E0E1F07B297}"/>
                </a:ext>
              </a:extLst>
            </p:cNvPr>
            <p:cNvSpPr/>
            <p:nvPr/>
          </p:nvSpPr>
          <p:spPr>
            <a:xfrm rot="5400000">
              <a:off x="3589492" y="2845160"/>
              <a:ext cx="4378480" cy="2059037"/>
            </a:xfrm>
            <a:prstGeom prst="homePlate">
              <a:avLst>
                <a:gd name="adj" fmla="val 21505"/>
              </a:avLst>
            </a:prstGeom>
            <a:blipFill dpi="0" rotWithShape="1">
              <a:blip r:embed="rId2">
                <a:extLst>
                  <a:ext uri="{28A0092B-C50C-407E-A947-70E740481C1C}">
                    <a14:useLocalDpi xmlns:a14="http://schemas.microsoft.com/office/drawing/2010/main" val="0"/>
                  </a:ext>
                </a:extLst>
              </a:blip>
              <a:srcRect/>
              <a:stretch>
                <a:fillRect/>
              </a:stretch>
            </a:blipFill>
            <a:ln w="9525">
              <a:noFill/>
              <a:miter lim="800000"/>
              <a:headEnd/>
              <a:tailEnd/>
            </a:ln>
            <a:effectLst/>
          </p:spPr>
          <p:txBody>
            <a:bodyPr wrap="square" lIns="68635" tIns="68635" rIns="68635" bIns="68635" anchor="ctr" anchorCtr="0">
              <a:noAutofit/>
            </a:bodyPr>
            <a:lstStyle/>
            <a:p>
              <a:pPr defTabSz="853378" eaLnBrk="1" fontAlgn="auto" hangingPunct="1">
                <a:spcBef>
                  <a:spcPts val="0"/>
                </a:spcBef>
                <a:spcAft>
                  <a:spcPts val="0"/>
                </a:spcAft>
                <a:buClr>
                  <a:srgbClr val="6DB33F"/>
                </a:buClr>
              </a:pPr>
              <a:endParaRPr lang="en-US" sz="900" b="1">
                <a:solidFill>
                  <a:prstClr val="white"/>
                </a:solidFill>
                <a:latin typeface="Calibri"/>
                <a:ea typeface="PMingLiU" pitchFamily="18" charset="-120"/>
              </a:endParaRPr>
            </a:p>
          </p:txBody>
        </p:sp>
        <p:sp>
          <p:nvSpPr>
            <p:cNvPr id="26" name="Pentagon 7">
              <a:extLst>
                <a:ext uri="{FF2B5EF4-FFF2-40B4-BE49-F238E27FC236}">
                  <a16:creationId xmlns:a16="http://schemas.microsoft.com/office/drawing/2014/main" id="{5B0B6DD3-ACBA-5947-A809-AB43F5B59C6F}"/>
                </a:ext>
              </a:extLst>
            </p:cNvPr>
            <p:cNvSpPr/>
            <p:nvPr/>
          </p:nvSpPr>
          <p:spPr>
            <a:xfrm rot="5400000">
              <a:off x="1414091" y="2845160"/>
              <a:ext cx="4378480" cy="2059037"/>
            </a:xfrm>
            <a:prstGeom prst="homePlate">
              <a:avLst>
                <a:gd name="adj" fmla="val 21505"/>
              </a:avLst>
            </a:prstGeom>
            <a:blipFill dpi="0" rotWithShape="1">
              <a:blip r:embed="rId2">
                <a:extLst>
                  <a:ext uri="{28A0092B-C50C-407E-A947-70E740481C1C}">
                    <a14:useLocalDpi xmlns:a14="http://schemas.microsoft.com/office/drawing/2010/main" val="0"/>
                  </a:ext>
                </a:extLst>
              </a:blip>
              <a:srcRect/>
              <a:stretch>
                <a:fillRect/>
              </a:stretch>
            </a:blipFill>
            <a:ln w="9525">
              <a:noFill/>
              <a:miter lim="800000"/>
              <a:headEnd/>
              <a:tailEnd/>
            </a:ln>
            <a:effectLst/>
          </p:spPr>
          <p:txBody>
            <a:bodyPr wrap="square" lIns="68635" tIns="68635" rIns="68635" bIns="68635" anchor="ctr" anchorCtr="0">
              <a:noAutofit/>
            </a:bodyPr>
            <a:lstStyle/>
            <a:p>
              <a:pPr defTabSz="853378" eaLnBrk="1" fontAlgn="auto" hangingPunct="1">
                <a:spcBef>
                  <a:spcPts val="0"/>
                </a:spcBef>
                <a:spcAft>
                  <a:spcPts val="0"/>
                </a:spcAft>
                <a:buClr>
                  <a:srgbClr val="6DB33F"/>
                </a:buClr>
              </a:pPr>
              <a:endParaRPr lang="en-US" sz="900" b="1">
                <a:solidFill>
                  <a:prstClr val="white"/>
                </a:solidFill>
                <a:latin typeface="Calibri"/>
                <a:ea typeface="PMingLiU" pitchFamily="18" charset="-120"/>
              </a:endParaRPr>
            </a:p>
          </p:txBody>
        </p:sp>
        <p:sp>
          <p:nvSpPr>
            <p:cNvPr id="27" name="Pentagon 7">
              <a:extLst>
                <a:ext uri="{FF2B5EF4-FFF2-40B4-BE49-F238E27FC236}">
                  <a16:creationId xmlns:a16="http://schemas.microsoft.com/office/drawing/2014/main" id="{78184DD6-7B44-D44D-814D-B10E30BCCD21}"/>
                </a:ext>
              </a:extLst>
            </p:cNvPr>
            <p:cNvSpPr/>
            <p:nvPr/>
          </p:nvSpPr>
          <p:spPr>
            <a:xfrm rot="5400000">
              <a:off x="5764897" y="2845160"/>
              <a:ext cx="4378480" cy="2059037"/>
            </a:xfrm>
            <a:prstGeom prst="homePlate">
              <a:avLst>
                <a:gd name="adj" fmla="val 21505"/>
              </a:avLst>
            </a:prstGeom>
            <a:blipFill dpi="0" rotWithShape="1">
              <a:blip r:embed="rId2">
                <a:extLst>
                  <a:ext uri="{28A0092B-C50C-407E-A947-70E740481C1C}">
                    <a14:useLocalDpi xmlns:a14="http://schemas.microsoft.com/office/drawing/2010/main" val="0"/>
                  </a:ext>
                </a:extLst>
              </a:blip>
              <a:srcRect/>
              <a:stretch>
                <a:fillRect/>
              </a:stretch>
            </a:blipFill>
            <a:ln w="9525">
              <a:noFill/>
              <a:miter lim="800000"/>
              <a:headEnd/>
              <a:tailEnd/>
            </a:ln>
            <a:effectLst/>
          </p:spPr>
          <p:txBody>
            <a:bodyPr wrap="square" lIns="68635" tIns="68635" rIns="68635" bIns="68635" anchor="ctr" anchorCtr="0">
              <a:noAutofit/>
            </a:bodyPr>
            <a:lstStyle/>
            <a:p>
              <a:pPr defTabSz="853378" eaLnBrk="1" fontAlgn="auto" hangingPunct="1">
                <a:spcBef>
                  <a:spcPts val="0"/>
                </a:spcBef>
                <a:spcAft>
                  <a:spcPts val="0"/>
                </a:spcAft>
                <a:buClr>
                  <a:srgbClr val="6DB33F"/>
                </a:buClr>
              </a:pPr>
              <a:endParaRPr lang="en-US" sz="900" b="1">
                <a:solidFill>
                  <a:prstClr val="white"/>
                </a:solidFill>
                <a:latin typeface="Calibri"/>
                <a:ea typeface="PMingLiU" pitchFamily="18" charset="-120"/>
              </a:endParaRPr>
            </a:p>
          </p:txBody>
        </p:sp>
        <p:pic>
          <p:nvPicPr>
            <p:cNvPr id="5" name="Picture 4">
              <a:extLst>
                <a:ext uri="{FF2B5EF4-FFF2-40B4-BE49-F238E27FC236}">
                  <a16:creationId xmlns:a16="http://schemas.microsoft.com/office/drawing/2014/main" id="{370DC7BD-4A30-F64E-81BE-68F25A91D5BA}"/>
                </a:ext>
              </a:extLst>
            </p:cNvPr>
            <p:cNvPicPr>
              <a:picLocks noChangeAspect="1"/>
            </p:cNvPicPr>
            <p:nvPr/>
          </p:nvPicPr>
          <p:blipFill rotWithShape="1">
            <a:blip r:embed="rId3"/>
            <a:srcRect t="19019" b="16099"/>
            <a:stretch/>
          </p:blipFill>
          <p:spPr>
            <a:xfrm>
              <a:off x="615541" y="2123126"/>
              <a:ext cx="1531663" cy="993775"/>
            </a:xfrm>
            <a:prstGeom prst="rect">
              <a:avLst/>
            </a:prstGeom>
          </p:spPr>
        </p:pic>
        <p:sp>
          <p:nvSpPr>
            <p:cNvPr id="8" name="Inhaltsplatzhalter 2">
              <a:extLst>
                <a:ext uri="{FF2B5EF4-FFF2-40B4-BE49-F238E27FC236}">
                  <a16:creationId xmlns:a16="http://schemas.microsoft.com/office/drawing/2014/main" id="{5C8A39DD-99FB-114B-BAD8-C642820CAB14}"/>
                </a:ext>
              </a:extLst>
            </p:cNvPr>
            <p:cNvSpPr txBox="1">
              <a:spLocks/>
            </p:cNvSpPr>
            <p:nvPr/>
          </p:nvSpPr>
          <p:spPr bwMode="auto">
            <a:xfrm>
              <a:off x="505458" y="1659940"/>
              <a:ext cx="1899964" cy="354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lvl1pPr marL="342836" indent="-342836" algn="l" rtl="0" eaLnBrk="0" fontAlgn="base" hangingPunct="0">
                <a:lnSpc>
                  <a:spcPct val="140000"/>
                </a:lnSpc>
                <a:spcBef>
                  <a:spcPct val="0"/>
                </a:spcBef>
                <a:spcAft>
                  <a:spcPct val="0"/>
                </a:spcAft>
                <a:buClr>
                  <a:srgbClr val="7A929D"/>
                </a:buClr>
                <a:buFont typeface="Gill Sans MT Light" pitchFamily="34" charset="0"/>
                <a:buChar char="■"/>
                <a:defRPr sz="2100">
                  <a:solidFill>
                    <a:schemeClr val="tx1"/>
                  </a:solidFill>
                  <a:latin typeface="+mn-lt"/>
                  <a:ea typeface="+mn-ea"/>
                  <a:cs typeface="+mn-cs"/>
                </a:defRPr>
              </a:lvl1pPr>
              <a:lvl2pPr marL="742810" indent="-285699"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2pPr>
              <a:lvl3pPr marL="1142784"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3pPr>
              <a:lvl4pPr marL="1599898"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4pPr>
              <a:lvl5pPr marL="2057010"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5pPr>
              <a:lvl6pPr marL="2514125"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6pPr>
              <a:lvl7pPr marL="2971237"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7pPr>
              <a:lvl8pPr marL="3428352"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8pPr>
              <a:lvl9pPr marL="3885466"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9pPr>
            </a:lstStyle>
            <a:p>
              <a:pPr marL="0" indent="0">
                <a:buFont typeface="Gill Sans MT Light" pitchFamily="34" charset="0"/>
                <a:buNone/>
              </a:pPr>
              <a:r>
                <a:rPr lang="en-US" sz="1200" kern="0" dirty="0">
                  <a:latin typeface="Gill Sans MT" pitchFamily="34" charset="0"/>
                </a:rPr>
                <a:t>Public health tools</a:t>
              </a:r>
            </a:p>
          </p:txBody>
        </p:sp>
        <p:sp>
          <p:nvSpPr>
            <p:cNvPr id="10" name="Inhaltsplatzhalter 2">
              <a:extLst>
                <a:ext uri="{FF2B5EF4-FFF2-40B4-BE49-F238E27FC236}">
                  <a16:creationId xmlns:a16="http://schemas.microsoft.com/office/drawing/2014/main" id="{43A105FC-61DA-654E-A0AB-5A2E90D38FB9}"/>
                </a:ext>
              </a:extLst>
            </p:cNvPr>
            <p:cNvSpPr txBox="1">
              <a:spLocks/>
            </p:cNvSpPr>
            <p:nvPr/>
          </p:nvSpPr>
          <p:spPr bwMode="auto">
            <a:xfrm>
              <a:off x="7110390" y="1659940"/>
              <a:ext cx="1899964" cy="354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lvl1pPr marL="342836" indent="-342836" algn="l" rtl="0" eaLnBrk="0" fontAlgn="base" hangingPunct="0">
                <a:lnSpc>
                  <a:spcPct val="140000"/>
                </a:lnSpc>
                <a:spcBef>
                  <a:spcPct val="0"/>
                </a:spcBef>
                <a:spcAft>
                  <a:spcPct val="0"/>
                </a:spcAft>
                <a:buClr>
                  <a:srgbClr val="7A929D"/>
                </a:buClr>
                <a:buFont typeface="Gill Sans MT Light" pitchFamily="34" charset="0"/>
                <a:buChar char="■"/>
                <a:defRPr sz="2100">
                  <a:solidFill>
                    <a:schemeClr val="tx1"/>
                  </a:solidFill>
                  <a:latin typeface="+mn-lt"/>
                  <a:ea typeface="+mn-ea"/>
                  <a:cs typeface="+mn-cs"/>
                </a:defRPr>
              </a:lvl1pPr>
              <a:lvl2pPr marL="742810" indent="-285699"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2pPr>
              <a:lvl3pPr marL="1142784"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3pPr>
              <a:lvl4pPr marL="1599898"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4pPr>
              <a:lvl5pPr marL="2057010"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5pPr>
              <a:lvl6pPr marL="2514125"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6pPr>
              <a:lvl7pPr marL="2971237"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7pPr>
              <a:lvl8pPr marL="3428352"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8pPr>
              <a:lvl9pPr marL="3885466"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9pPr>
            </a:lstStyle>
            <a:p>
              <a:pPr marL="0" indent="0">
                <a:buFont typeface="Gill Sans MT Light" pitchFamily="34" charset="0"/>
                <a:buNone/>
              </a:pPr>
              <a:r>
                <a:rPr lang="en-US" sz="1200" kern="0">
                  <a:latin typeface="Gill Sans MT" pitchFamily="34" charset="0"/>
                </a:rPr>
                <a:t>Technology tools</a:t>
              </a:r>
            </a:p>
          </p:txBody>
        </p:sp>
        <p:sp>
          <p:nvSpPr>
            <p:cNvPr id="12" name="Inhaltsplatzhalter 2">
              <a:extLst>
                <a:ext uri="{FF2B5EF4-FFF2-40B4-BE49-F238E27FC236}">
                  <a16:creationId xmlns:a16="http://schemas.microsoft.com/office/drawing/2014/main" id="{2AF6E8E4-70D5-FE40-AB53-98F52113C2F8}"/>
                </a:ext>
              </a:extLst>
            </p:cNvPr>
            <p:cNvSpPr txBox="1">
              <a:spLocks/>
            </p:cNvSpPr>
            <p:nvPr/>
          </p:nvSpPr>
          <p:spPr bwMode="auto">
            <a:xfrm>
              <a:off x="4958942" y="1659940"/>
              <a:ext cx="2225115" cy="354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lvl1pPr marL="342836" indent="-342836" algn="l" rtl="0" eaLnBrk="0" fontAlgn="base" hangingPunct="0">
                <a:lnSpc>
                  <a:spcPct val="140000"/>
                </a:lnSpc>
                <a:spcBef>
                  <a:spcPct val="0"/>
                </a:spcBef>
                <a:spcAft>
                  <a:spcPct val="0"/>
                </a:spcAft>
                <a:buClr>
                  <a:srgbClr val="7A929D"/>
                </a:buClr>
                <a:buFont typeface="Gill Sans MT Light" pitchFamily="34" charset="0"/>
                <a:buChar char="■"/>
                <a:defRPr sz="2100">
                  <a:solidFill>
                    <a:schemeClr val="tx1"/>
                  </a:solidFill>
                  <a:latin typeface="+mn-lt"/>
                  <a:ea typeface="+mn-ea"/>
                  <a:cs typeface="+mn-cs"/>
                </a:defRPr>
              </a:lvl1pPr>
              <a:lvl2pPr marL="742810" indent="-285699"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2pPr>
              <a:lvl3pPr marL="1142784"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3pPr>
              <a:lvl4pPr marL="1599898"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4pPr>
              <a:lvl5pPr marL="2057010"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5pPr>
              <a:lvl6pPr marL="2514125"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6pPr>
              <a:lvl7pPr marL="2971237"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7pPr>
              <a:lvl8pPr marL="3428352"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8pPr>
              <a:lvl9pPr marL="3885466"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9pPr>
            </a:lstStyle>
            <a:p>
              <a:pPr marL="0" indent="0">
                <a:buFont typeface="Gill Sans MT Light" pitchFamily="34" charset="0"/>
                <a:buNone/>
              </a:pPr>
              <a:r>
                <a:rPr lang="en-US" sz="1200" kern="0">
                  <a:latin typeface="Gill Sans MT" pitchFamily="34" charset="0"/>
                </a:rPr>
                <a:t>Local enforcement</a:t>
              </a:r>
            </a:p>
          </p:txBody>
        </p:sp>
        <p:sp>
          <p:nvSpPr>
            <p:cNvPr id="13" name="Inhaltsplatzhalter 2">
              <a:extLst>
                <a:ext uri="{FF2B5EF4-FFF2-40B4-BE49-F238E27FC236}">
                  <a16:creationId xmlns:a16="http://schemas.microsoft.com/office/drawing/2014/main" id="{8E81C106-6D17-164C-B13F-BF32C43BF9B6}"/>
                </a:ext>
              </a:extLst>
            </p:cNvPr>
            <p:cNvSpPr txBox="1">
              <a:spLocks/>
            </p:cNvSpPr>
            <p:nvPr/>
          </p:nvSpPr>
          <p:spPr bwMode="auto">
            <a:xfrm>
              <a:off x="362450" y="3249599"/>
              <a:ext cx="2201135" cy="354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lvl1pPr marL="342836" indent="-342836" algn="l" rtl="0" eaLnBrk="0" fontAlgn="base" hangingPunct="0">
                <a:lnSpc>
                  <a:spcPct val="140000"/>
                </a:lnSpc>
                <a:spcBef>
                  <a:spcPct val="0"/>
                </a:spcBef>
                <a:spcAft>
                  <a:spcPct val="0"/>
                </a:spcAft>
                <a:buClr>
                  <a:srgbClr val="7A929D"/>
                </a:buClr>
                <a:buFont typeface="Gill Sans MT Light" pitchFamily="34" charset="0"/>
                <a:buChar char="■"/>
                <a:defRPr sz="2100">
                  <a:solidFill>
                    <a:schemeClr val="tx1"/>
                  </a:solidFill>
                  <a:latin typeface="+mn-lt"/>
                  <a:ea typeface="+mn-ea"/>
                  <a:cs typeface="+mn-cs"/>
                </a:defRPr>
              </a:lvl1pPr>
              <a:lvl2pPr marL="742810" indent="-285699"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2pPr>
              <a:lvl3pPr marL="1142784"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3pPr>
              <a:lvl4pPr marL="1599898"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4pPr>
              <a:lvl5pPr marL="2057010"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5pPr>
              <a:lvl6pPr marL="2514125"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6pPr>
              <a:lvl7pPr marL="2971237"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7pPr>
              <a:lvl8pPr marL="3428352"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8pPr>
              <a:lvl9pPr marL="3885466"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9pPr>
            </a:lstStyle>
            <a:p>
              <a:pPr marL="341313" indent="-341313">
                <a:lnSpc>
                  <a:spcPts val="1440"/>
                </a:lnSpc>
                <a:spcAft>
                  <a:spcPts val="500"/>
                </a:spcAft>
              </a:pPr>
              <a:r>
                <a:rPr lang="en-US" sz="1100" kern="0" dirty="0">
                  <a:latin typeface="Gill Sans MT Light" panose="020B0302020104020203" pitchFamily="34" charset="0"/>
                </a:rPr>
                <a:t>Free testing and treatment </a:t>
              </a:r>
            </a:p>
            <a:p>
              <a:pPr marL="341313" indent="-341313">
                <a:lnSpc>
                  <a:spcPts val="1440"/>
                </a:lnSpc>
                <a:spcAft>
                  <a:spcPts val="500"/>
                </a:spcAft>
              </a:pPr>
              <a:r>
                <a:rPr lang="en-US" sz="1100" kern="0" dirty="0">
                  <a:latin typeface="Gill Sans MT Light" panose="020B0302020104020203" pitchFamily="34" charset="0"/>
                </a:rPr>
                <a:t>Immediate isolation of infected (fever clinics)</a:t>
              </a:r>
            </a:p>
            <a:p>
              <a:pPr marL="341313" indent="-341313">
                <a:lnSpc>
                  <a:spcPts val="1440"/>
                </a:lnSpc>
                <a:spcAft>
                  <a:spcPts val="500"/>
                </a:spcAft>
              </a:pPr>
              <a:r>
                <a:rPr lang="en-US" sz="1100" kern="0" dirty="0">
                  <a:latin typeface="Gill Sans MT Light" panose="020B0302020104020203" pitchFamily="34" charset="0"/>
                </a:rPr>
                <a:t>Designated hospitals built in 1-2 weeks (+1000 beds)</a:t>
              </a:r>
            </a:p>
            <a:p>
              <a:pPr marL="341313" indent="-341313">
                <a:lnSpc>
                  <a:spcPts val="1440"/>
                </a:lnSpc>
                <a:spcAft>
                  <a:spcPts val="500"/>
                </a:spcAft>
              </a:pPr>
              <a:r>
                <a:rPr lang="en-US" sz="1100" kern="0" dirty="0">
                  <a:latin typeface="Gill Sans MT Light" panose="020B0302020104020203" pitchFamily="34" charset="0"/>
                </a:rPr>
                <a:t>&gt;2 months lockdown in Hubei (~60 million people)</a:t>
              </a:r>
            </a:p>
            <a:p>
              <a:pPr marL="341313" indent="-341313">
                <a:lnSpc>
                  <a:spcPts val="1440"/>
                </a:lnSpc>
                <a:spcAft>
                  <a:spcPts val="500"/>
                </a:spcAft>
              </a:pPr>
              <a:r>
                <a:rPr lang="en-US" sz="1100" kern="0" dirty="0">
                  <a:latin typeface="Gill Sans MT Light" panose="020B0302020104020203" pitchFamily="34" charset="0"/>
                </a:rPr>
                <a:t>Home quarantine (760 million people) </a:t>
              </a:r>
            </a:p>
            <a:p>
              <a:pPr marL="0" indent="0">
                <a:lnSpc>
                  <a:spcPts val="1440"/>
                </a:lnSpc>
                <a:spcAft>
                  <a:spcPts val="500"/>
                </a:spcAft>
                <a:buFont typeface="Gill Sans MT Light" pitchFamily="34" charset="0"/>
                <a:buNone/>
              </a:pPr>
              <a:r>
                <a:rPr lang="en-US" sz="1100" kern="0" dirty="0">
                  <a:latin typeface="Gill Sans MT Light" panose="020B0302020104020203" pitchFamily="34" charset="0"/>
                </a:rPr>
                <a:t> </a:t>
              </a:r>
            </a:p>
          </p:txBody>
        </p:sp>
        <p:sp>
          <p:nvSpPr>
            <p:cNvPr id="14" name="Inhaltsplatzhalter 2">
              <a:extLst>
                <a:ext uri="{FF2B5EF4-FFF2-40B4-BE49-F238E27FC236}">
                  <a16:creationId xmlns:a16="http://schemas.microsoft.com/office/drawing/2014/main" id="{E509E3C6-09FB-274A-B31E-2F32D41B15E2}"/>
                </a:ext>
              </a:extLst>
            </p:cNvPr>
            <p:cNvSpPr txBox="1">
              <a:spLocks/>
            </p:cNvSpPr>
            <p:nvPr/>
          </p:nvSpPr>
          <p:spPr bwMode="auto">
            <a:xfrm>
              <a:off x="6950775" y="3249599"/>
              <a:ext cx="1970535" cy="354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lvl1pPr marL="342836" indent="-342836" algn="l" rtl="0" eaLnBrk="0" fontAlgn="base" hangingPunct="0">
                <a:lnSpc>
                  <a:spcPct val="140000"/>
                </a:lnSpc>
                <a:spcBef>
                  <a:spcPct val="0"/>
                </a:spcBef>
                <a:spcAft>
                  <a:spcPct val="0"/>
                </a:spcAft>
                <a:buClr>
                  <a:srgbClr val="7A929D"/>
                </a:buClr>
                <a:buFont typeface="Gill Sans MT Light" pitchFamily="34" charset="0"/>
                <a:buChar char="■"/>
                <a:defRPr sz="2100">
                  <a:solidFill>
                    <a:schemeClr val="tx1"/>
                  </a:solidFill>
                  <a:latin typeface="+mn-lt"/>
                  <a:ea typeface="+mn-ea"/>
                  <a:cs typeface="+mn-cs"/>
                </a:defRPr>
              </a:lvl1pPr>
              <a:lvl2pPr marL="742810" indent="-285699"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2pPr>
              <a:lvl3pPr marL="1142784"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3pPr>
              <a:lvl4pPr marL="1599898"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4pPr>
              <a:lvl5pPr marL="2057010"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5pPr>
              <a:lvl6pPr marL="2514125"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6pPr>
              <a:lvl7pPr marL="2971237"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7pPr>
              <a:lvl8pPr marL="3428352"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8pPr>
              <a:lvl9pPr marL="3885466"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9pPr>
            </a:lstStyle>
            <a:p>
              <a:pPr>
                <a:lnSpc>
                  <a:spcPts val="1440"/>
                </a:lnSpc>
                <a:spcAft>
                  <a:spcPts val="500"/>
                </a:spcAft>
              </a:pPr>
              <a:r>
                <a:rPr lang="en-US" sz="1100" kern="0">
                  <a:latin typeface="Gill Sans MT Light" panose="020B0302020104020203" pitchFamily="34" charset="0"/>
                </a:rPr>
                <a:t>QR color-coded health ratings (red, yellow = quarantine, green = travel) </a:t>
              </a:r>
            </a:p>
            <a:p>
              <a:pPr>
                <a:lnSpc>
                  <a:spcPts val="1440"/>
                </a:lnSpc>
                <a:spcAft>
                  <a:spcPts val="500"/>
                </a:spcAft>
              </a:pPr>
              <a:r>
                <a:rPr lang="en-US" sz="1100" kern="0">
                  <a:latin typeface="Gill Sans MT Light" panose="020B0302020104020203" pitchFamily="34" charset="0"/>
                </a:rPr>
                <a:t>Contact tracing using mobile apps (big data)</a:t>
              </a:r>
            </a:p>
            <a:p>
              <a:pPr>
                <a:lnSpc>
                  <a:spcPts val="1440"/>
                </a:lnSpc>
                <a:spcAft>
                  <a:spcPts val="500"/>
                </a:spcAft>
              </a:pPr>
              <a:r>
                <a:rPr lang="en-US" sz="1100" kern="0">
                  <a:latin typeface="Gill Sans MT Light" panose="020B0302020104020203" pitchFamily="34" charset="0"/>
                </a:rPr>
                <a:t>Drones surveillance and broadcasting </a:t>
              </a:r>
            </a:p>
            <a:p>
              <a:pPr>
                <a:lnSpc>
                  <a:spcPts val="1440"/>
                </a:lnSpc>
                <a:spcAft>
                  <a:spcPts val="500"/>
                </a:spcAft>
              </a:pPr>
              <a:r>
                <a:rPr lang="en-US" sz="1100" kern="0">
                  <a:latin typeface="Gill Sans MT Light" panose="020B0302020104020203" pitchFamily="34" charset="0"/>
                </a:rPr>
                <a:t>CCTV installed outside of residences to ensure quarantine</a:t>
              </a:r>
            </a:p>
          </p:txBody>
        </p:sp>
        <p:sp>
          <p:nvSpPr>
            <p:cNvPr id="15" name="Inhaltsplatzhalter 2">
              <a:extLst>
                <a:ext uri="{FF2B5EF4-FFF2-40B4-BE49-F238E27FC236}">
                  <a16:creationId xmlns:a16="http://schemas.microsoft.com/office/drawing/2014/main" id="{1069A173-8A48-6441-BA2E-EBD2798D49A2}"/>
                </a:ext>
              </a:extLst>
            </p:cNvPr>
            <p:cNvSpPr txBox="1">
              <a:spLocks/>
            </p:cNvSpPr>
            <p:nvPr/>
          </p:nvSpPr>
          <p:spPr bwMode="auto">
            <a:xfrm>
              <a:off x="4767553" y="3249599"/>
              <a:ext cx="2059037" cy="354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lvl1pPr marL="342836" indent="-342836" algn="l" rtl="0" eaLnBrk="0" fontAlgn="base" hangingPunct="0">
                <a:lnSpc>
                  <a:spcPct val="140000"/>
                </a:lnSpc>
                <a:spcBef>
                  <a:spcPct val="0"/>
                </a:spcBef>
                <a:spcAft>
                  <a:spcPct val="0"/>
                </a:spcAft>
                <a:buClr>
                  <a:srgbClr val="7A929D"/>
                </a:buClr>
                <a:buFont typeface="Gill Sans MT Light" pitchFamily="34" charset="0"/>
                <a:buChar char="■"/>
                <a:defRPr sz="2100">
                  <a:solidFill>
                    <a:schemeClr val="tx1"/>
                  </a:solidFill>
                  <a:latin typeface="+mn-lt"/>
                  <a:ea typeface="+mn-ea"/>
                  <a:cs typeface="+mn-cs"/>
                </a:defRPr>
              </a:lvl1pPr>
              <a:lvl2pPr marL="742810" indent="-285699"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2pPr>
              <a:lvl3pPr marL="1142784"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3pPr>
              <a:lvl4pPr marL="1599898"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4pPr>
              <a:lvl5pPr marL="2057010"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5pPr>
              <a:lvl6pPr marL="2514125"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6pPr>
              <a:lvl7pPr marL="2971237"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7pPr>
              <a:lvl8pPr marL="3428352"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8pPr>
              <a:lvl9pPr marL="3885466"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9pPr>
            </a:lstStyle>
            <a:p>
              <a:pPr>
                <a:lnSpc>
                  <a:spcPts val="1440"/>
                </a:lnSpc>
                <a:spcAft>
                  <a:spcPts val="500"/>
                </a:spcAft>
              </a:pPr>
              <a:r>
                <a:rPr lang="en-US" sz="1100" kern="0" dirty="0">
                  <a:latin typeface="Gill Sans MT Light" panose="020B0302020104020203" pitchFamily="34" charset="0"/>
                </a:rPr>
                <a:t>Security guards patrol public areas</a:t>
              </a:r>
            </a:p>
            <a:p>
              <a:pPr>
                <a:lnSpc>
                  <a:spcPts val="1440"/>
                </a:lnSpc>
                <a:spcAft>
                  <a:spcPts val="500"/>
                </a:spcAft>
              </a:pPr>
              <a:r>
                <a:rPr lang="en-US" sz="1100" kern="0" dirty="0">
                  <a:latin typeface="Gill Sans MT Light" panose="020B0302020104020203" pitchFamily="34" charset="0"/>
                </a:rPr>
                <a:t>Local neighborhood committees limit movement and deliver groceries</a:t>
              </a:r>
            </a:p>
            <a:p>
              <a:pPr>
                <a:lnSpc>
                  <a:spcPts val="1440"/>
                </a:lnSpc>
                <a:spcAft>
                  <a:spcPts val="500"/>
                </a:spcAft>
              </a:pPr>
              <a:r>
                <a:rPr lang="en-US" sz="1100" kern="0" dirty="0">
                  <a:latin typeface="Gill Sans MT Light" panose="020B0302020104020203" pitchFamily="34" charset="0"/>
                </a:rPr>
                <a:t>Regular checkpoints and fever monitoring (e.g., residences, buildings, shops, and public transport)</a:t>
              </a:r>
            </a:p>
            <a:p>
              <a:pPr>
                <a:lnSpc>
                  <a:spcPts val="1440"/>
                </a:lnSpc>
                <a:spcAft>
                  <a:spcPts val="500"/>
                </a:spcAft>
              </a:pPr>
              <a:endParaRPr lang="en-US" sz="1100" kern="0" dirty="0">
                <a:latin typeface="Gill Sans MT Light" panose="020B0302020104020203" pitchFamily="34" charset="0"/>
              </a:endParaRPr>
            </a:p>
            <a:p>
              <a:pPr marL="0" indent="0">
                <a:lnSpc>
                  <a:spcPts val="1440"/>
                </a:lnSpc>
                <a:spcAft>
                  <a:spcPts val="500"/>
                </a:spcAft>
                <a:buFont typeface="Gill Sans MT Light" pitchFamily="34" charset="0"/>
                <a:buNone/>
              </a:pPr>
              <a:endParaRPr lang="en-US" sz="1100" kern="0" dirty="0">
                <a:latin typeface="Gill Sans MT Light" panose="020B0302020104020203" pitchFamily="34" charset="0"/>
              </a:endParaRPr>
            </a:p>
          </p:txBody>
        </p:sp>
        <p:pic>
          <p:nvPicPr>
            <p:cNvPr id="16" name="Picture 15">
              <a:extLst>
                <a:ext uri="{FF2B5EF4-FFF2-40B4-BE49-F238E27FC236}">
                  <a16:creationId xmlns:a16="http://schemas.microsoft.com/office/drawing/2014/main" id="{403F209F-4BF7-344C-AC91-C51F39CD1147}"/>
                </a:ext>
              </a:extLst>
            </p:cNvPr>
            <p:cNvPicPr>
              <a:picLocks noChangeAspect="1"/>
            </p:cNvPicPr>
            <p:nvPr/>
          </p:nvPicPr>
          <p:blipFill>
            <a:blip r:embed="rId4"/>
            <a:stretch>
              <a:fillRect/>
            </a:stretch>
          </p:blipFill>
          <p:spPr>
            <a:xfrm rot="21197421">
              <a:off x="1317906" y="2601899"/>
              <a:ext cx="318407" cy="318407"/>
            </a:xfrm>
            <a:prstGeom prst="rect">
              <a:avLst/>
            </a:prstGeom>
          </p:spPr>
        </p:pic>
        <p:sp>
          <p:nvSpPr>
            <p:cNvPr id="18" name="Inhaltsplatzhalter 2">
              <a:extLst>
                <a:ext uri="{FF2B5EF4-FFF2-40B4-BE49-F238E27FC236}">
                  <a16:creationId xmlns:a16="http://schemas.microsoft.com/office/drawing/2014/main" id="{9B12CCF1-0665-CC4A-9C4B-B0AD4A9B30E3}"/>
                </a:ext>
              </a:extLst>
            </p:cNvPr>
            <p:cNvSpPr txBox="1">
              <a:spLocks/>
            </p:cNvSpPr>
            <p:nvPr/>
          </p:nvSpPr>
          <p:spPr bwMode="auto">
            <a:xfrm>
              <a:off x="2588893" y="1659940"/>
              <a:ext cx="2316938" cy="354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lvl1pPr marL="342836" indent="-342836" algn="l" rtl="0" eaLnBrk="0" fontAlgn="base" hangingPunct="0">
                <a:lnSpc>
                  <a:spcPct val="140000"/>
                </a:lnSpc>
                <a:spcBef>
                  <a:spcPct val="0"/>
                </a:spcBef>
                <a:spcAft>
                  <a:spcPct val="0"/>
                </a:spcAft>
                <a:buClr>
                  <a:srgbClr val="7A929D"/>
                </a:buClr>
                <a:buFont typeface="Gill Sans MT Light" pitchFamily="34" charset="0"/>
                <a:buChar char="■"/>
                <a:defRPr sz="2100">
                  <a:solidFill>
                    <a:schemeClr val="tx1"/>
                  </a:solidFill>
                  <a:latin typeface="+mn-lt"/>
                  <a:ea typeface="+mn-ea"/>
                  <a:cs typeface="+mn-cs"/>
                </a:defRPr>
              </a:lvl1pPr>
              <a:lvl2pPr marL="742810" indent="-285699"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2pPr>
              <a:lvl3pPr marL="1142784"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3pPr>
              <a:lvl4pPr marL="1599898"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4pPr>
              <a:lvl5pPr marL="2057010"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5pPr>
              <a:lvl6pPr marL="2514125"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6pPr>
              <a:lvl7pPr marL="2971237"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7pPr>
              <a:lvl8pPr marL="3428352"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8pPr>
              <a:lvl9pPr marL="3885466"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9pPr>
            </a:lstStyle>
            <a:p>
              <a:pPr marL="0" indent="0">
                <a:buFont typeface="Gill Sans MT Light" pitchFamily="34" charset="0"/>
                <a:buNone/>
              </a:pPr>
              <a:r>
                <a:rPr lang="en-US" sz="1200" kern="0">
                  <a:latin typeface="Gill Sans MT" pitchFamily="34" charset="0"/>
                </a:rPr>
                <a:t>Government decrees</a:t>
              </a:r>
            </a:p>
          </p:txBody>
        </p:sp>
        <p:sp>
          <p:nvSpPr>
            <p:cNvPr id="19" name="Inhaltsplatzhalter 2">
              <a:extLst>
                <a:ext uri="{FF2B5EF4-FFF2-40B4-BE49-F238E27FC236}">
                  <a16:creationId xmlns:a16="http://schemas.microsoft.com/office/drawing/2014/main" id="{374D3285-D122-3D4A-824F-C28ED4F0B2AC}"/>
                </a:ext>
              </a:extLst>
            </p:cNvPr>
            <p:cNvSpPr txBox="1">
              <a:spLocks/>
            </p:cNvSpPr>
            <p:nvPr/>
          </p:nvSpPr>
          <p:spPr bwMode="auto">
            <a:xfrm>
              <a:off x="2653397" y="3215191"/>
              <a:ext cx="1979453" cy="354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lvl1pPr marL="342836" indent="-342836" algn="l" rtl="0" eaLnBrk="0" fontAlgn="base" hangingPunct="0">
                <a:lnSpc>
                  <a:spcPct val="140000"/>
                </a:lnSpc>
                <a:spcBef>
                  <a:spcPct val="0"/>
                </a:spcBef>
                <a:spcAft>
                  <a:spcPct val="0"/>
                </a:spcAft>
                <a:buClr>
                  <a:srgbClr val="7A929D"/>
                </a:buClr>
                <a:buFont typeface="Gill Sans MT Light" pitchFamily="34" charset="0"/>
                <a:buChar char="■"/>
                <a:defRPr sz="2100">
                  <a:solidFill>
                    <a:schemeClr val="tx1"/>
                  </a:solidFill>
                  <a:latin typeface="+mn-lt"/>
                  <a:ea typeface="+mn-ea"/>
                  <a:cs typeface="+mn-cs"/>
                </a:defRPr>
              </a:lvl1pPr>
              <a:lvl2pPr marL="742810" indent="-285699"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2pPr>
              <a:lvl3pPr marL="1142784"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3pPr>
              <a:lvl4pPr marL="1599898"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4pPr>
              <a:lvl5pPr marL="2057010"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5pPr>
              <a:lvl6pPr marL="2514125"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6pPr>
              <a:lvl7pPr marL="2971237"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7pPr>
              <a:lvl8pPr marL="3428352"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8pPr>
              <a:lvl9pPr marL="3885466"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9pPr>
            </a:lstStyle>
            <a:p>
              <a:pPr>
                <a:lnSpc>
                  <a:spcPts val="1440"/>
                </a:lnSpc>
                <a:spcAft>
                  <a:spcPts val="500"/>
                </a:spcAft>
              </a:pPr>
              <a:r>
                <a:rPr lang="en-US" sz="1100" kern="0" dirty="0">
                  <a:latin typeface="Gill Sans MT Light" panose="020B0302020104020203" pitchFamily="34" charset="0"/>
                </a:rPr>
                <a:t>Extended Chinese New Year holiday</a:t>
              </a:r>
            </a:p>
            <a:p>
              <a:pPr>
                <a:lnSpc>
                  <a:spcPts val="1440"/>
                </a:lnSpc>
                <a:spcAft>
                  <a:spcPts val="500"/>
                </a:spcAft>
              </a:pPr>
              <a:r>
                <a:rPr lang="en-US" sz="1100" kern="0" dirty="0">
                  <a:latin typeface="Gill Sans MT Light" panose="020B0302020104020203" pitchFamily="34" charset="0"/>
                </a:rPr>
                <a:t>Business shut-down</a:t>
              </a:r>
            </a:p>
            <a:p>
              <a:pPr>
                <a:lnSpc>
                  <a:spcPts val="1440"/>
                </a:lnSpc>
                <a:spcAft>
                  <a:spcPts val="500"/>
                </a:spcAft>
              </a:pPr>
              <a:r>
                <a:rPr lang="en-US" sz="1100" kern="0" dirty="0">
                  <a:latin typeface="Gill Sans MT Light" panose="020B0302020104020203" pitchFamily="34" charset="0"/>
                </a:rPr>
                <a:t>School closure</a:t>
              </a:r>
            </a:p>
            <a:p>
              <a:pPr>
                <a:lnSpc>
                  <a:spcPts val="1440"/>
                </a:lnSpc>
                <a:spcAft>
                  <a:spcPts val="500"/>
                </a:spcAft>
              </a:pPr>
              <a:r>
                <a:rPr lang="en-US" sz="1100" kern="0" dirty="0">
                  <a:latin typeface="Gill Sans MT Light" panose="020B0302020104020203" pitchFamily="34" charset="0"/>
                </a:rPr>
                <a:t>Entertainment/dining venue shut-down </a:t>
              </a:r>
            </a:p>
            <a:p>
              <a:pPr>
                <a:lnSpc>
                  <a:spcPts val="1440"/>
                </a:lnSpc>
                <a:spcAft>
                  <a:spcPts val="500"/>
                </a:spcAft>
              </a:pPr>
              <a:r>
                <a:rPr lang="en-US" sz="1100" kern="0" dirty="0">
                  <a:latin typeface="Gill Sans MT Light" panose="020B0302020104020203" pitchFamily="34" charset="0"/>
                </a:rPr>
                <a:t>Public transport suspension</a:t>
              </a:r>
            </a:p>
            <a:p>
              <a:pPr>
                <a:lnSpc>
                  <a:spcPts val="1440"/>
                </a:lnSpc>
                <a:spcAft>
                  <a:spcPts val="500"/>
                </a:spcAft>
              </a:pPr>
              <a:r>
                <a:rPr lang="en-US" sz="1100" kern="0" dirty="0">
                  <a:latin typeface="Gill Sans MT Light" panose="020B0302020104020203" pitchFamily="34" charset="0"/>
                </a:rPr>
                <a:t>Ban on public gatherings</a:t>
              </a:r>
            </a:p>
            <a:p>
              <a:pPr>
                <a:lnSpc>
                  <a:spcPts val="1440"/>
                </a:lnSpc>
                <a:spcAft>
                  <a:spcPts val="500"/>
                </a:spcAft>
              </a:pPr>
              <a:endParaRPr lang="en-US" sz="1100" kern="0" dirty="0">
                <a:latin typeface="Gill Sans MT Light" panose="020B0302020104020203" pitchFamily="34" charset="0"/>
              </a:endParaRPr>
            </a:p>
            <a:p>
              <a:pPr marL="0" indent="0">
                <a:lnSpc>
                  <a:spcPts val="1440"/>
                </a:lnSpc>
                <a:spcAft>
                  <a:spcPts val="500"/>
                </a:spcAft>
                <a:buFont typeface="Gill Sans MT Light" pitchFamily="34" charset="0"/>
                <a:buNone/>
              </a:pPr>
              <a:endParaRPr lang="en-US" sz="1100" kern="0" dirty="0">
                <a:latin typeface="Gill Sans MT Light" panose="020B0302020104020203" pitchFamily="34" charset="0"/>
              </a:endParaRPr>
            </a:p>
          </p:txBody>
        </p:sp>
        <p:pic>
          <p:nvPicPr>
            <p:cNvPr id="22" name="Picture 21">
              <a:extLst>
                <a:ext uri="{FF2B5EF4-FFF2-40B4-BE49-F238E27FC236}">
                  <a16:creationId xmlns:a16="http://schemas.microsoft.com/office/drawing/2014/main" id="{7C15B51C-B989-2E4B-93DB-40B4FE9DA521}"/>
                </a:ext>
              </a:extLst>
            </p:cNvPr>
            <p:cNvPicPr>
              <a:picLocks noChangeAspect="1"/>
            </p:cNvPicPr>
            <p:nvPr/>
          </p:nvPicPr>
          <p:blipFill>
            <a:blip r:embed="rId5"/>
            <a:stretch>
              <a:fillRect/>
            </a:stretch>
          </p:blipFill>
          <p:spPr>
            <a:xfrm>
              <a:off x="2968378" y="1992776"/>
              <a:ext cx="1183821" cy="1183821"/>
            </a:xfrm>
            <a:prstGeom prst="rect">
              <a:avLst/>
            </a:prstGeom>
          </p:spPr>
        </p:pic>
        <p:pic>
          <p:nvPicPr>
            <p:cNvPr id="23" name="Picture 22">
              <a:extLst>
                <a:ext uri="{FF2B5EF4-FFF2-40B4-BE49-F238E27FC236}">
                  <a16:creationId xmlns:a16="http://schemas.microsoft.com/office/drawing/2014/main" id="{A105F5C8-4927-3449-ABEC-C38C62A7EBEE}"/>
                </a:ext>
              </a:extLst>
            </p:cNvPr>
            <p:cNvPicPr>
              <a:picLocks noChangeAspect="1"/>
            </p:cNvPicPr>
            <p:nvPr/>
          </p:nvPicPr>
          <p:blipFill rotWithShape="1">
            <a:blip r:embed="rId6"/>
            <a:srcRect l="20889" t="1361" r="40000" b="14966"/>
            <a:stretch/>
          </p:blipFill>
          <p:spPr>
            <a:xfrm>
              <a:off x="5330506" y="2040418"/>
              <a:ext cx="1022527" cy="1148495"/>
            </a:xfrm>
            <a:prstGeom prst="rect">
              <a:avLst/>
            </a:prstGeom>
          </p:spPr>
        </p:pic>
        <p:pic>
          <p:nvPicPr>
            <p:cNvPr id="28" name="Picture 27">
              <a:extLst>
                <a:ext uri="{FF2B5EF4-FFF2-40B4-BE49-F238E27FC236}">
                  <a16:creationId xmlns:a16="http://schemas.microsoft.com/office/drawing/2014/main" id="{4A4B703B-D840-FD4C-89F3-269C6979B1E7}"/>
                </a:ext>
              </a:extLst>
            </p:cNvPr>
            <p:cNvPicPr>
              <a:picLocks noChangeAspect="1"/>
            </p:cNvPicPr>
            <p:nvPr/>
          </p:nvPicPr>
          <p:blipFill>
            <a:blip r:embed="rId7"/>
            <a:stretch>
              <a:fillRect/>
            </a:stretch>
          </p:blipFill>
          <p:spPr>
            <a:xfrm>
              <a:off x="7164082" y="2028302"/>
              <a:ext cx="1531131" cy="1019931"/>
            </a:xfrm>
            <a:prstGeom prst="rect">
              <a:avLst/>
            </a:prstGeom>
          </p:spPr>
        </p:pic>
        <p:sp>
          <p:nvSpPr>
            <p:cNvPr id="29" name="Inhaltsplatzhalter 2">
              <a:extLst>
                <a:ext uri="{FF2B5EF4-FFF2-40B4-BE49-F238E27FC236}">
                  <a16:creationId xmlns:a16="http://schemas.microsoft.com/office/drawing/2014/main" id="{5C6CDAC4-31A3-C94D-AEAF-AFA9BC29D1F0}"/>
                </a:ext>
              </a:extLst>
            </p:cNvPr>
            <p:cNvSpPr txBox="1">
              <a:spLocks/>
            </p:cNvSpPr>
            <p:nvPr/>
          </p:nvSpPr>
          <p:spPr bwMode="auto">
            <a:xfrm>
              <a:off x="842767" y="5951669"/>
              <a:ext cx="1304437" cy="354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lvl1pPr marL="342836" indent="-342836" algn="l" rtl="0" eaLnBrk="0" fontAlgn="base" hangingPunct="0">
                <a:lnSpc>
                  <a:spcPct val="140000"/>
                </a:lnSpc>
                <a:spcBef>
                  <a:spcPct val="0"/>
                </a:spcBef>
                <a:spcAft>
                  <a:spcPct val="0"/>
                </a:spcAft>
                <a:buClr>
                  <a:srgbClr val="7A929D"/>
                </a:buClr>
                <a:buFont typeface="Gill Sans MT Light" pitchFamily="34" charset="0"/>
                <a:buChar char="■"/>
                <a:defRPr sz="2100">
                  <a:solidFill>
                    <a:schemeClr val="tx1"/>
                  </a:solidFill>
                  <a:latin typeface="+mn-lt"/>
                  <a:ea typeface="+mn-ea"/>
                  <a:cs typeface="+mn-cs"/>
                </a:defRPr>
              </a:lvl1pPr>
              <a:lvl2pPr marL="742810" indent="-285699"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2pPr>
              <a:lvl3pPr marL="1142784"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3pPr>
              <a:lvl4pPr marL="1599898"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4pPr>
              <a:lvl5pPr marL="2057010"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5pPr>
              <a:lvl6pPr marL="2514125"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6pPr>
              <a:lvl7pPr marL="2971237"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7pPr>
              <a:lvl8pPr marL="3428352"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8pPr>
              <a:lvl9pPr marL="3885466"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9pPr>
            </a:lstStyle>
            <a:p>
              <a:pPr marL="0" indent="0">
                <a:buNone/>
              </a:pPr>
              <a:r>
                <a:rPr lang="en-US" sz="1200" kern="0" dirty="0">
                  <a:solidFill>
                    <a:srgbClr val="306386"/>
                  </a:solidFill>
                  <a:latin typeface="Gill Sans MT" pitchFamily="34" charset="0"/>
                </a:rPr>
                <a:t>Containment</a:t>
              </a:r>
            </a:p>
          </p:txBody>
        </p:sp>
        <p:sp>
          <p:nvSpPr>
            <p:cNvPr id="30" name="Inhaltsplatzhalter 2">
              <a:extLst>
                <a:ext uri="{FF2B5EF4-FFF2-40B4-BE49-F238E27FC236}">
                  <a16:creationId xmlns:a16="http://schemas.microsoft.com/office/drawing/2014/main" id="{B4F5BE7B-3CFA-D847-86E6-8E749DEDA78D}"/>
                </a:ext>
              </a:extLst>
            </p:cNvPr>
            <p:cNvSpPr txBox="1">
              <a:spLocks/>
            </p:cNvSpPr>
            <p:nvPr/>
          </p:nvSpPr>
          <p:spPr bwMode="auto">
            <a:xfrm>
              <a:off x="2868398" y="5951669"/>
              <a:ext cx="1682500" cy="354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lvl1pPr marL="342836" indent="-342836" algn="l" rtl="0" eaLnBrk="0" fontAlgn="base" hangingPunct="0">
                <a:lnSpc>
                  <a:spcPct val="140000"/>
                </a:lnSpc>
                <a:spcBef>
                  <a:spcPct val="0"/>
                </a:spcBef>
                <a:spcAft>
                  <a:spcPct val="0"/>
                </a:spcAft>
                <a:buClr>
                  <a:srgbClr val="7A929D"/>
                </a:buClr>
                <a:buFont typeface="Gill Sans MT Light" pitchFamily="34" charset="0"/>
                <a:buChar char="■"/>
                <a:defRPr sz="2100">
                  <a:solidFill>
                    <a:schemeClr val="tx1"/>
                  </a:solidFill>
                  <a:latin typeface="+mn-lt"/>
                  <a:ea typeface="+mn-ea"/>
                  <a:cs typeface="+mn-cs"/>
                </a:defRPr>
              </a:lvl1pPr>
              <a:lvl2pPr marL="742810" indent="-285699"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2pPr>
              <a:lvl3pPr marL="1142784"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3pPr>
              <a:lvl4pPr marL="1599898"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4pPr>
              <a:lvl5pPr marL="2057010"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5pPr>
              <a:lvl6pPr marL="2514125"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6pPr>
              <a:lvl7pPr marL="2971237"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7pPr>
              <a:lvl8pPr marL="3428352"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8pPr>
              <a:lvl9pPr marL="3885466"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9pPr>
            </a:lstStyle>
            <a:p>
              <a:pPr marL="0" indent="0">
                <a:buFont typeface="Gill Sans MT Light" pitchFamily="34" charset="0"/>
                <a:buNone/>
              </a:pPr>
              <a:r>
                <a:rPr lang="en-US" sz="1200" kern="0">
                  <a:solidFill>
                    <a:srgbClr val="306386"/>
                  </a:solidFill>
                  <a:latin typeface="Gill Sans MT" pitchFamily="34" charset="0"/>
                </a:rPr>
                <a:t>Social Distancing</a:t>
              </a:r>
            </a:p>
          </p:txBody>
        </p:sp>
        <p:sp>
          <p:nvSpPr>
            <p:cNvPr id="31" name="Inhaltsplatzhalter 2">
              <a:extLst>
                <a:ext uri="{FF2B5EF4-FFF2-40B4-BE49-F238E27FC236}">
                  <a16:creationId xmlns:a16="http://schemas.microsoft.com/office/drawing/2014/main" id="{7FCA2F94-2B8F-3147-943E-5ECDD3544DEC}"/>
                </a:ext>
              </a:extLst>
            </p:cNvPr>
            <p:cNvSpPr txBox="1">
              <a:spLocks/>
            </p:cNvSpPr>
            <p:nvPr/>
          </p:nvSpPr>
          <p:spPr bwMode="auto">
            <a:xfrm>
              <a:off x="5252759" y="5944635"/>
              <a:ext cx="1682500" cy="354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lvl1pPr marL="342836" indent="-342836" algn="l" rtl="0" eaLnBrk="0" fontAlgn="base" hangingPunct="0">
                <a:lnSpc>
                  <a:spcPct val="140000"/>
                </a:lnSpc>
                <a:spcBef>
                  <a:spcPct val="0"/>
                </a:spcBef>
                <a:spcAft>
                  <a:spcPct val="0"/>
                </a:spcAft>
                <a:buClr>
                  <a:srgbClr val="7A929D"/>
                </a:buClr>
                <a:buFont typeface="Gill Sans MT Light" pitchFamily="34" charset="0"/>
                <a:buChar char="■"/>
                <a:defRPr sz="2100">
                  <a:solidFill>
                    <a:schemeClr val="tx1"/>
                  </a:solidFill>
                  <a:latin typeface="+mn-lt"/>
                  <a:ea typeface="+mn-ea"/>
                  <a:cs typeface="+mn-cs"/>
                </a:defRPr>
              </a:lvl1pPr>
              <a:lvl2pPr marL="742810" indent="-285699"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2pPr>
              <a:lvl3pPr marL="1142784"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3pPr>
              <a:lvl4pPr marL="1599898"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4pPr>
              <a:lvl5pPr marL="2057010"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5pPr>
              <a:lvl6pPr marL="2514125"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6pPr>
              <a:lvl7pPr marL="2971237"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7pPr>
              <a:lvl8pPr marL="3428352"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8pPr>
              <a:lvl9pPr marL="3885466"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9pPr>
            </a:lstStyle>
            <a:p>
              <a:pPr marL="0" indent="0">
                <a:buNone/>
              </a:pPr>
              <a:r>
                <a:rPr lang="en-US" sz="1200" kern="0">
                  <a:solidFill>
                    <a:srgbClr val="306386"/>
                  </a:solidFill>
                  <a:latin typeface="Gill Sans MT" pitchFamily="34" charset="0"/>
                </a:rPr>
                <a:t>Compliance
</a:t>
              </a:r>
            </a:p>
          </p:txBody>
        </p:sp>
        <p:sp>
          <p:nvSpPr>
            <p:cNvPr id="32" name="Inhaltsplatzhalter 2">
              <a:extLst>
                <a:ext uri="{FF2B5EF4-FFF2-40B4-BE49-F238E27FC236}">
                  <a16:creationId xmlns:a16="http://schemas.microsoft.com/office/drawing/2014/main" id="{2D21C691-FF8B-1849-9809-5EF5F61D9A2C}"/>
                </a:ext>
              </a:extLst>
            </p:cNvPr>
            <p:cNvSpPr txBox="1">
              <a:spLocks/>
            </p:cNvSpPr>
            <p:nvPr/>
          </p:nvSpPr>
          <p:spPr bwMode="auto">
            <a:xfrm>
              <a:off x="7586508" y="5937601"/>
              <a:ext cx="1682500" cy="354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lvl1pPr marL="342836" indent="-342836" algn="l" rtl="0" eaLnBrk="0" fontAlgn="base" hangingPunct="0">
                <a:lnSpc>
                  <a:spcPct val="140000"/>
                </a:lnSpc>
                <a:spcBef>
                  <a:spcPct val="0"/>
                </a:spcBef>
                <a:spcAft>
                  <a:spcPct val="0"/>
                </a:spcAft>
                <a:buClr>
                  <a:srgbClr val="7A929D"/>
                </a:buClr>
                <a:buFont typeface="Gill Sans MT Light" pitchFamily="34" charset="0"/>
                <a:buChar char="■"/>
                <a:defRPr sz="2100">
                  <a:solidFill>
                    <a:schemeClr val="tx1"/>
                  </a:solidFill>
                  <a:latin typeface="+mn-lt"/>
                  <a:ea typeface="+mn-ea"/>
                  <a:cs typeface="+mn-cs"/>
                </a:defRPr>
              </a:lvl1pPr>
              <a:lvl2pPr marL="742810" indent="-285699"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2pPr>
              <a:lvl3pPr marL="1142784"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3pPr>
              <a:lvl4pPr marL="1599898"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4pPr>
              <a:lvl5pPr marL="2057010"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5pPr>
              <a:lvl6pPr marL="2514125"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6pPr>
              <a:lvl7pPr marL="2971237"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7pPr>
              <a:lvl8pPr marL="3428352"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8pPr>
              <a:lvl9pPr marL="3885466"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9pPr>
            </a:lstStyle>
            <a:p>
              <a:pPr marL="0" indent="0">
                <a:buNone/>
              </a:pPr>
              <a:r>
                <a:rPr lang="en-US" sz="1200" kern="0" dirty="0">
                  <a:solidFill>
                    <a:srgbClr val="306386"/>
                  </a:solidFill>
                  <a:latin typeface="Gill Sans MT" pitchFamily="34" charset="0"/>
                </a:rPr>
                <a:t>Tracking
</a:t>
              </a:r>
            </a:p>
          </p:txBody>
        </p:sp>
      </p:grpSp>
      <p:sp>
        <p:nvSpPr>
          <p:cNvPr id="33" name="Inhaltsplatzhalter 2">
            <a:extLst>
              <a:ext uri="{FF2B5EF4-FFF2-40B4-BE49-F238E27FC236}">
                <a16:creationId xmlns:a16="http://schemas.microsoft.com/office/drawing/2014/main" id="{27A5A59C-FF99-9042-8DEA-22178E3E3C6E}"/>
              </a:ext>
            </a:extLst>
          </p:cNvPr>
          <p:cNvSpPr txBox="1">
            <a:spLocks/>
          </p:cNvSpPr>
          <p:nvPr/>
        </p:nvSpPr>
        <p:spPr bwMode="auto">
          <a:xfrm>
            <a:off x="1528238" y="1412425"/>
            <a:ext cx="2426216" cy="3992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lvl1pPr marL="342836" indent="-342836" algn="l" rtl="0" eaLnBrk="0" fontAlgn="base" hangingPunct="0">
              <a:lnSpc>
                <a:spcPct val="140000"/>
              </a:lnSpc>
              <a:spcBef>
                <a:spcPct val="0"/>
              </a:spcBef>
              <a:spcAft>
                <a:spcPct val="0"/>
              </a:spcAft>
              <a:buClr>
                <a:srgbClr val="7A929D"/>
              </a:buClr>
              <a:buFont typeface="Gill Sans MT Light" pitchFamily="34" charset="0"/>
              <a:buChar char="■"/>
              <a:defRPr sz="2100">
                <a:solidFill>
                  <a:schemeClr val="tx1"/>
                </a:solidFill>
                <a:latin typeface="+mn-lt"/>
                <a:ea typeface="+mn-ea"/>
                <a:cs typeface="+mn-cs"/>
              </a:defRPr>
            </a:lvl1pPr>
            <a:lvl2pPr marL="742810" indent="-285699"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2pPr>
            <a:lvl3pPr marL="1142784"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3pPr>
            <a:lvl4pPr marL="1599898"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4pPr>
            <a:lvl5pPr marL="2057010"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5pPr>
            <a:lvl6pPr marL="2514125"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6pPr>
            <a:lvl7pPr marL="2971237"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7pPr>
            <a:lvl8pPr marL="3428352"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8pPr>
            <a:lvl9pPr marL="3885466"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9pPr>
          </a:lstStyle>
          <a:p>
            <a:pPr marL="0" indent="0">
              <a:lnSpc>
                <a:spcPts val="1440"/>
              </a:lnSpc>
              <a:spcAft>
                <a:spcPts val="500"/>
              </a:spcAft>
              <a:buNone/>
            </a:pPr>
            <a:r>
              <a:rPr lang="en-US" sz="1400" kern="0" dirty="0">
                <a:latin typeface="Gill Sans MT" pitchFamily="34" charset="0"/>
              </a:rPr>
              <a:t>Similar to other countries</a:t>
            </a:r>
          </a:p>
        </p:txBody>
      </p:sp>
      <p:sp>
        <p:nvSpPr>
          <p:cNvPr id="34" name="Inhaltsplatzhalter 2">
            <a:extLst>
              <a:ext uri="{FF2B5EF4-FFF2-40B4-BE49-F238E27FC236}">
                <a16:creationId xmlns:a16="http://schemas.microsoft.com/office/drawing/2014/main" id="{A09A3B75-4645-594F-BEE2-B816DD39C2BB}"/>
              </a:ext>
            </a:extLst>
          </p:cNvPr>
          <p:cNvSpPr txBox="1">
            <a:spLocks/>
          </p:cNvSpPr>
          <p:nvPr/>
        </p:nvSpPr>
        <p:spPr bwMode="auto">
          <a:xfrm>
            <a:off x="5249859" y="1420068"/>
            <a:ext cx="3202595" cy="3549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45711" rIns="91424" bIns="45711" numCol="1" anchor="t" anchorCtr="0" compatLnSpc="1">
            <a:prstTxWarp prst="textNoShape">
              <a:avLst/>
            </a:prstTxWarp>
          </a:bodyPr>
          <a:lstStyle>
            <a:lvl1pPr marL="342836" indent="-342836" algn="l" rtl="0" eaLnBrk="0" fontAlgn="base" hangingPunct="0">
              <a:lnSpc>
                <a:spcPct val="140000"/>
              </a:lnSpc>
              <a:spcBef>
                <a:spcPct val="0"/>
              </a:spcBef>
              <a:spcAft>
                <a:spcPct val="0"/>
              </a:spcAft>
              <a:buClr>
                <a:srgbClr val="7A929D"/>
              </a:buClr>
              <a:buFont typeface="Gill Sans MT Light" pitchFamily="34" charset="0"/>
              <a:buChar char="■"/>
              <a:defRPr sz="2100">
                <a:solidFill>
                  <a:schemeClr val="tx1"/>
                </a:solidFill>
                <a:latin typeface="+mn-lt"/>
                <a:ea typeface="+mn-ea"/>
                <a:cs typeface="+mn-cs"/>
              </a:defRPr>
            </a:lvl1pPr>
            <a:lvl2pPr marL="742810" indent="-285699"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2pPr>
            <a:lvl3pPr marL="1142784"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3pPr>
            <a:lvl4pPr marL="1599898"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4pPr>
            <a:lvl5pPr marL="2057010" indent="-228556" algn="l" rtl="0" eaLnBrk="0" fontAlgn="base" hangingPunct="0">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5pPr>
            <a:lvl6pPr marL="2514125"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6pPr>
            <a:lvl7pPr marL="2971237"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7pPr>
            <a:lvl8pPr marL="3428352"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8pPr>
            <a:lvl9pPr marL="3885466" indent="-228556" algn="l" rtl="0" fontAlgn="base">
              <a:lnSpc>
                <a:spcPct val="140000"/>
              </a:lnSpc>
              <a:spcBef>
                <a:spcPct val="0"/>
              </a:spcBef>
              <a:spcAft>
                <a:spcPct val="0"/>
              </a:spcAft>
              <a:buClr>
                <a:srgbClr val="7A929D"/>
              </a:buClr>
              <a:buSzPct val="70000"/>
              <a:buFont typeface="Gill Sans MT Light" pitchFamily="34" charset="0"/>
              <a:buChar char="■"/>
              <a:defRPr sz="2100">
                <a:solidFill>
                  <a:schemeClr val="tx1"/>
                </a:solidFill>
                <a:latin typeface="+mn-lt"/>
              </a:defRPr>
            </a:lvl9pPr>
          </a:lstStyle>
          <a:p>
            <a:pPr marL="0" indent="0">
              <a:lnSpc>
                <a:spcPts val="1440"/>
              </a:lnSpc>
              <a:spcAft>
                <a:spcPts val="500"/>
              </a:spcAft>
              <a:buNone/>
            </a:pPr>
            <a:r>
              <a:rPr lang="en-US" sz="1400" kern="0" dirty="0">
                <a:latin typeface="Gill Sans MT" pitchFamily="34" charset="0"/>
              </a:rPr>
              <a:t>Different from other countries</a:t>
            </a:r>
          </a:p>
        </p:txBody>
      </p:sp>
    </p:spTree>
    <p:extLst>
      <p:ext uri="{BB962C8B-B14F-4D97-AF65-F5344CB8AC3E}">
        <p14:creationId xmlns:p14="http://schemas.microsoft.com/office/powerpoint/2010/main" val="22412349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65125" y="712193"/>
            <a:ext cx="7150102" cy="976165"/>
          </a:xfrm>
        </p:spPr>
        <p:txBody>
          <a:bodyPr/>
          <a:lstStyle/>
          <a:p>
            <a:r>
              <a:rPr lang="en-GB" sz="3100" dirty="0">
                <a:solidFill>
                  <a:srgbClr val="005B99"/>
                </a:solidFill>
              </a:rPr>
              <a:t>Asia’s long-term development is second to none</a:t>
            </a:r>
          </a:p>
        </p:txBody>
      </p:sp>
      <p:sp>
        <p:nvSpPr>
          <p:cNvPr id="3" name="Inhaltsplatzhalter 2"/>
          <p:cNvSpPr>
            <a:spLocks noGrp="1"/>
          </p:cNvSpPr>
          <p:nvPr>
            <p:ph idx="1"/>
          </p:nvPr>
        </p:nvSpPr>
        <p:spPr>
          <a:xfrm>
            <a:off x="387350" y="2238374"/>
            <a:ext cx="8355570" cy="4076701"/>
          </a:xfrm>
        </p:spPr>
        <p:txBody>
          <a:bodyPr/>
          <a:lstStyle/>
          <a:p>
            <a:pPr>
              <a:lnSpc>
                <a:spcPct val="100000"/>
              </a:lnSpc>
              <a:spcAft>
                <a:spcPts val="1200"/>
              </a:spcAft>
            </a:pPr>
            <a:r>
              <a:rPr lang="en-GB" sz="1800" dirty="0"/>
              <a:t>More than 50% of the world's population lives in Asia. Asia’s share of the global GDP (purchasing power parity) has exceeded that of the rest of the world. Over 60% of global growth is generated in this region. </a:t>
            </a:r>
          </a:p>
          <a:p>
            <a:pPr>
              <a:lnSpc>
                <a:spcPct val="100000"/>
              </a:lnSpc>
              <a:spcAft>
                <a:spcPts val="1200"/>
              </a:spcAft>
            </a:pPr>
            <a:r>
              <a:rPr lang="en-GB" sz="1800" dirty="0"/>
              <a:t>China’s GDP, which has grown steadily by over 6% p.a. during the last 25 years, has catapulted the country from the tenth-largest to the second-largest economy in the world. </a:t>
            </a:r>
          </a:p>
          <a:p>
            <a:pPr>
              <a:lnSpc>
                <a:spcPct val="100000"/>
              </a:lnSpc>
              <a:spcAft>
                <a:spcPts val="1200"/>
              </a:spcAft>
            </a:pPr>
            <a:r>
              <a:rPr lang="en-GB" sz="1800" dirty="0"/>
              <a:t>China will overtake the US as the world's largest economy before 2030 - an outcome that even the escalating US-China trade conflict will not be able to prevent. </a:t>
            </a:r>
          </a:p>
          <a:p>
            <a:pPr>
              <a:lnSpc>
                <a:spcPct val="100000"/>
              </a:lnSpc>
              <a:spcAft>
                <a:spcPts val="1200"/>
              </a:spcAft>
            </a:pPr>
            <a:r>
              <a:rPr lang="en-GB" sz="1800" dirty="0"/>
              <a:t>Other than China, India and Japan will also be among the world's four largest economies.</a:t>
            </a:r>
          </a:p>
          <a:p>
            <a:pPr marL="0" indent="0">
              <a:spcAft>
                <a:spcPts val="600"/>
              </a:spcAft>
              <a:buNone/>
            </a:pPr>
            <a:br>
              <a:rPr lang="en-GB" sz="1800" dirty="0"/>
            </a:br>
            <a:endParaRPr lang="en-GB" sz="1800" dirty="0"/>
          </a:p>
        </p:txBody>
      </p:sp>
    </p:spTree>
    <p:extLst>
      <p:ext uri="{BB962C8B-B14F-4D97-AF65-F5344CB8AC3E}">
        <p14:creationId xmlns:p14="http://schemas.microsoft.com/office/powerpoint/2010/main" val="3258704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0C38A2D6-1347-FD4E-87E5-621501C91492}"/>
              </a:ext>
            </a:extLst>
          </p:cNvPr>
          <p:cNvSpPr/>
          <p:nvPr/>
        </p:nvSpPr>
        <p:spPr>
          <a:xfrm>
            <a:off x="7214718" y="5710002"/>
            <a:ext cx="472274" cy="246221"/>
          </a:xfrm>
          <a:prstGeom prst="rect">
            <a:avLst/>
          </a:prstGeom>
          <a:solidFill>
            <a:schemeClr val="bg1"/>
          </a:solidFill>
        </p:spPr>
        <p:txBody>
          <a:bodyPr wrap="square">
            <a:spAutoFit/>
          </a:bodyPr>
          <a:lstStyle/>
          <a:p>
            <a:r>
              <a:rPr lang="de-DE" altLang="zh-CN" sz="950" dirty="0"/>
              <a:t>2017</a:t>
            </a:r>
            <a:endParaRPr lang="de-DE" sz="950" dirty="0"/>
          </a:p>
        </p:txBody>
      </p:sp>
      <p:sp>
        <p:nvSpPr>
          <p:cNvPr id="2" name="Titel 1"/>
          <p:cNvSpPr>
            <a:spLocks noGrp="1"/>
          </p:cNvSpPr>
          <p:nvPr>
            <p:ph type="title"/>
          </p:nvPr>
        </p:nvSpPr>
        <p:spPr>
          <a:xfrm>
            <a:off x="340159" y="514815"/>
            <a:ext cx="7568808" cy="976165"/>
          </a:xfrm>
        </p:spPr>
        <p:txBody>
          <a:bodyPr/>
          <a:lstStyle/>
          <a:p>
            <a:r>
              <a:rPr lang="en-US" sz="3100" dirty="0">
                <a:solidFill>
                  <a:srgbClr val="005B99"/>
                </a:solidFill>
              </a:rPr>
              <a:t>China has historically been a world power in the last 2000 years and will be once again</a:t>
            </a:r>
          </a:p>
        </p:txBody>
      </p:sp>
      <p:sp>
        <p:nvSpPr>
          <p:cNvPr id="3" name="Textfeld 2"/>
          <p:cNvSpPr txBox="1"/>
          <p:nvPr/>
        </p:nvSpPr>
        <p:spPr>
          <a:xfrm>
            <a:off x="386898" y="1628155"/>
            <a:ext cx="4818490" cy="584775"/>
          </a:xfrm>
          <a:prstGeom prst="rect">
            <a:avLst/>
          </a:prstGeom>
          <a:noFill/>
        </p:spPr>
        <p:txBody>
          <a:bodyPr wrap="square" rtlCol="0">
            <a:spAutoFit/>
          </a:bodyPr>
          <a:lstStyle/>
          <a:p>
            <a:pPr lvl="0">
              <a:defRPr/>
            </a:pPr>
            <a:r>
              <a:rPr lang="en-US" sz="1600">
                <a:solidFill>
                  <a:srgbClr val="000000"/>
                </a:solidFill>
                <a:latin typeface="Gill Sans MT" panose="020B0502020104020203" pitchFamily="34" charset="0"/>
              </a:rPr>
              <a:t>Percent share of GDP of major economies
</a:t>
            </a:r>
            <a:endParaRPr kumimoji="0" lang="en-US" sz="1600" b="0" i="0" u="none" strike="noStrike" kern="1200" cap="none" spc="0" normalizeH="0" baseline="0">
              <a:ln>
                <a:noFill/>
              </a:ln>
              <a:solidFill>
                <a:srgbClr val="000000"/>
              </a:solidFill>
              <a:effectLst/>
              <a:uLnTx/>
              <a:uFillTx/>
              <a:latin typeface="Gill Sans MT" panose="020B0502020104020203" pitchFamily="34" charset="0"/>
              <a:ea typeface="+mn-ea"/>
              <a:cs typeface="+mn-cs"/>
            </a:endParaRPr>
          </a:p>
        </p:txBody>
      </p:sp>
      <p:pic>
        <p:nvPicPr>
          <p:cNvPr id="15" name="Picture 14">
            <a:extLst>
              <a:ext uri="{FF2B5EF4-FFF2-40B4-BE49-F238E27FC236}">
                <a16:creationId xmlns:a16="http://schemas.microsoft.com/office/drawing/2014/main" id="{3DD4AECE-64B6-3D45-A54D-79ED482E3D2A}"/>
              </a:ext>
            </a:extLst>
          </p:cNvPr>
          <p:cNvPicPr>
            <a:picLocks noChangeAspect="1"/>
          </p:cNvPicPr>
          <p:nvPr/>
        </p:nvPicPr>
        <p:blipFill>
          <a:blip r:embed="rId7"/>
          <a:stretch>
            <a:fillRect/>
          </a:stretch>
        </p:blipFill>
        <p:spPr>
          <a:xfrm>
            <a:off x="386898" y="2546306"/>
            <a:ext cx="7055656" cy="3519755"/>
          </a:xfrm>
          <a:prstGeom prst="rect">
            <a:avLst/>
          </a:prstGeom>
        </p:spPr>
      </p:pic>
      <p:sp>
        <p:nvSpPr>
          <p:cNvPr id="20" name="Line 52">
            <a:extLst>
              <a:ext uri="{FF2B5EF4-FFF2-40B4-BE49-F238E27FC236}">
                <a16:creationId xmlns:a16="http://schemas.microsoft.com/office/drawing/2014/main" id="{97B389F0-D49F-C44E-B517-812E4C03C8F0}"/>
              </a:ext>
            </a:extLst>
          </p:cNvPr>
          <p:cNvSpPr>
            <a:spLocks noChangeShapeType="1"/>
          </p:cNvSpPr>
          <p:nvPr>
            <p:custDataLst>
              <p:tags r:id="rId1"/>
            </p:custDataLst>
          </p:nvPr>
        </p:nvSpPr>
        <p:spPr bwMode="gray">
          <a:xfrm flipH="1">
            <a:off x="2746596" y="2370163"/>
            <a:ext cx="0" cy="3285991"/>
          </a:xfrm>
          <a:prstGeom prst="line">
            <a:avLst/>
          </a:prstGeom>
          <a:noFill/>
          <a:ln w="12700">
            <a:solidFill>
              <a:srgbClr val="96969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sz="1224"/>
          </a:p>
        </p:txBody>
      </p:sp>
      <p:sp>
        <p:nvSpPr>
          <p:cNvPr id="22" name="Line 54">
            <a:extLst>
              <a:ext uri="{FF2B5EF4-FFF2-40B4-BE49-F238E27FC236}">
                <a16:creationId xmlns:a16="http://schemas.microsoft.com/office/drawing/2014/main" id="{1950948D-A37D-1341-8EC0-A0FF204857A1}"/>
              </a:ext>
            </a:extLst>
          </p:cNvPr>
          <p:cNvSpPr>
            <a:spLocks noChangeShapeType="1"/>
          </p:cNvSpPr>
          <p:nvPr>
            <p:custDataLst>
              <p:tags r:id="rId2"/>
            </p:custDataLst>
          </p:nvPr>
        </p:nvSpPr>
        <p:spPr bwMode="gray">
          <a:xfrm flipH="1">
            <a:off x="5970826" y="2370163"/>
            <a:ext cx="0" cy="580302"/>
          </a:xfrm>
          <a:prstGeom prst="line">
            <a:avLst/>
          </a:prstGeom>
          <a:noFill/>
          <a:ln w="12700">
            <a:solidFill>
              <a:srgbClr val="96969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sz="1224"/>
          </a:p>
        </p:txBody>
      </p:sp>
      <p:sp>
        <p:nvSpPr>
          <p:cNvPr id="23" name="Rectangle 60">
            <a:extLst>
              <a:ext uri="{FF2B5EF4-FFF2-40B4-BE49-F238E27FC236}">
                <a16:creationId xmlns:a16="http://schemas.microsoft.com/office/drawing/2014/main" id="{98089224-F0B3-0842-8B0D-3C3175F8259A}"/>
              </a:ext>
            </a:extLst>
          </p:cNvPr>
          <p:cNvSpPr>
            <a:spLocks noChangeArrowheads="1"/>
          </p:cNvSpPr>
          <p:nvPr>
            <p:custDataLst>
              <p:tags r:id="rId3"/>
            </p:custDataLst>
          </p:nvPr>
        </p:nvSpPr>
        <p:spPr bwMode="gray">
          <a:xfrm>
            <a:off x="2432384" y="2073544"/>
            <a:ext cx="1571841" cy="1977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eaLnBrk="0" hangingPunct="0">
              <a:lnSpc>
                <a:spcPct val="90000"/>
              </a:lnSpc>
              <a:buClrTx/>
            </a:pPr>
            <a:r>
              <a:rPr lang="en-US" altLang="ko-KR" sz="1428" i="1" dirty="0">
                <a:ea typeface="Gulim" panose="020B0600000101010101" pitchFamily="34" charset="-127"/>
              </a:rPr>
              <a:t>Industrial Revolution </a:t>
            </a:r>
          </a:p>
        </p:txBody>
      </p:sp>
      <p:sp>
        <p:nvSpPr>
          <p:cNvPr id="25" name="Rectangle 62">
            <a:extLst>
              <a:ext uri="{FF2B5EF4-FFF2-40B4-BE49-F238E27FC236}">
                <a16:creationId xmlns:a16="http://schemas.microsoft.com/office/drawing/2014/main" id="{CF8BB878-AB0E-5C42-95E4-F8634FFFC8DA}"/>
              </a:ext>
            </a:extLst>
          </p:cNvPr>
          <p:cNvSpPr>
            <a:spLocks noChangeArrowheads="1"/>
          </p:cNvSpPr>
          <p:nvPr>
            <p:custDataLst>
              <p:tags r:id="rId4"/>
            </p:custDataLst>
          </p:nvPr>
        </p:nvSpPr>
        <p:spPr bwMode="gray">
          <a:xfrm>
            <a:off x="5608419" y="2046292"/>
            <a:ext cx="1850925" cy="1977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eaLnBrk="0" hangingPunct="0">
              <a:lnSpc>
                <a:spcPct val="90000"/>
              </a:lnSpc>
              <a:buClrTx/>
            </a:pPr>
            <a:r>
              <a:rPr lang="en-US" altLang="ko-KR" sz="1428" i="1" dirty="0">
                <a:ea typeface="Gulim" panose="020B0600000101010101" pitchFamily="34" charset="-127"/>
              </a:rPr>
              <a:t>China Market Opening</a:t>
            </a:r>
          </a:p>
        </p:txBody>
      </p:sp>
      <p:sp>
        <p:nvSpPr>
          <p:cNvPr id="30" name="Textfeld 2">
            <a:extLst>
              <a:ext uri="{FF2B5EF4-FFF2-40B4-BE49-F238E27FC236}">
                <a16:creationId xmlns:a16="http://schemas.microsoft.com/office/drawing/2014/main" id="{BB072D3D-681A-E944-A058-8A98633588B9}"/>
              </a:ext>
            </a:extLst>
          </p:cNvPr>
          <p:cNvSpPr txBox="1"/>
          <p:nvPr/>
        </p:nvSpPr>
        <p:spPr>
          <a:xfrm>
            <a:off x="7422768" y="3097274"/>
            <a:ext cx="867792" cy="2616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B83839"/>
                </a:solidFill>
                <a:effectLst/>
                <a:uLnTx/>
                <a:uFillTx/>
                <a:latin typeface="Gill Sans MT" panose="020B0502020104020203" pitchFamily="34" charset="0"/>
                <a:ea typeface="+mn-ea"/>
                <a:cs typeface="+mn-cs"/>
              </a:rPr>
              <a:t>China</a:t>
            </a:r>
          </a:p>
        </p:txBody>
      </p:sp>
      <p:sp>
        <p:nvSpPr>
          <p:cNvPr id="32" name="Textfeld 2">
            <a:extLst>
              <a:ext uri="{FF2B5EF4-FFF2-40B4-BE49-F238E27FC236}">
                <a16:creationId xmlns:a16="http://schemas.microsoft.com/office/drawing/2014/main" id="{936869AB-3ABB-734A-A6C1-2A36F3106D04}"/>
              </a:ext>
            </a:extLst>
          </p:cNvPr>
          <p:cNvSpPr txBox="1"/>
          <p:nvPr/>
        </p:nvSpPr>
        <p:spPr>
          <a:xfrm>
            <a:off x="7422768" y="2577870"/>
            <a:ext cx="1684656" cy="2616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a:ln>
                  <a:noFill/>
                </a:ln>
                <a:solidFill>
                  <a:srgbClr val="CAC077"/>
                </a:solidFill>
                <a:effectLst/>
                <a:uLnTx/>
                <a:uFillTx/>
                <a:latin typeface="Gill Sans MT" panose="020B0502020104020203" pitchFamily="34" charset="0"/>
                <a:ea typeface="+mn-ea"/>
                <a:cs typeface="+mn-cs"/>
              </a:rPr>
              <a:t>Ancient</a:t>
            </a:r>
            <a:r>
              <a:rPr kumimoji="0" lang="en-US" sz="1100" b="0" i="0" u="none" strike="noStrike" kern="1200" cap="none" spc="0" normalizeH="0" baseline="0">
                <a:ln>
                  <a:noFill/>
                </a:ln>
                <a:solidFill>
                  <a:srgbClr val="000000"/>
                </a:solidFill>
                <a:effectLst/>
                <a:uLnTx/>
                <a:uFillTx/>
                <a:latin typeface="Gill Sans MT" panose="020B0502020104020203" pitchFamily="34" charset="0"/>
                <a:ea typeface="+mn-ea"/>
                <a:cs typeface="+mn-cs"/>
              </a:rPr>
              <a:t>*</a:t>
            </a:r>
          </a:p>
        </p:txBody>
      </p:sp>
      <p:sp>
        <p:nvSpPr>
          <p:cNvPr id="33" name="Textfeld 2">
            <a:extLst>
              <a:ext uri="{FF2B5EF4-FFF2-40B4-BE49-F238E27FC236}">
                <a16:creationId xmlns:a16="http://schemas.microsoft.com/office/drawing/2014/main" id="{2555A33F-F4F2-274E-962F-EC74FFAE16FE}"/>
              </a:ext>
            </a:extLst>
          </p:cNvPr>
          <p:cNvSpPr txBox="1"/>
          <p:nvPr/>
        </p:nvSpPr>
        <p:spPr>
          <a:xfrm>
            <a:off x="7422768" y="3664577"/>
            <a:ext cx="867792" cy="2616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E7A73D"/>
                </a:solidFill>
                <a:effectLst/>
                <a:uLnTx/>
                <a:uFillTx/>
                <a:latin typeface="Gill Sans MT" panose="020B0502020104020203" pitchFamily="34" charset="0"/>
                <a:ea typeface="+mn-ea"/>
                <a:cs typeface="+mn-cs"/>
              </a:rPr>
              <a:t>Indien</a:t>
            </a:r>
          </a:p>
        </p:txBody>
      </p:sp>
      <p:sp>
        <p:nvSpPr>
          <p:cNvPr id="34" name="Textfeld 2">
            <a:extLst>
              <a:ext uri="{FF2B5EF4-FFF2-40B4-BE49-F238E27FC236}">
                <a16:creationId xmlns:a16="http://schemas.microsoft.com/office/drawing/2014/main" id="{488E74EA-773F-EC4E-879F-8EF6362FDAD8}"/>
              </a:ext>
            </a:extLst>
          </p:cNvPr>
          <p:cNvSpPr txBox="1"/>
          <p:nvPr/>
        </p:nvSpPr>
        <p:spPr>
          <a:xfrm>
            <a:off x="7422768" y="4022019"/>
            <a:ext cx="867792" cy="2616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E2563C"/>
                </a:solidFill>
                <a:effectLst/>
                <a:uLnTx/>
                <a:uFillTx/>
                <a:latin typeface="Gill Sans MT" panose="020B0502020104020203" pitchFamily="34" charset="0"/>
                <a:ea typeface="+mn-ea"/>
                <a:cs typeface="+mn-cs"/>
              </a:rPr>
              <a:t>Japan</a:t>
            </a:r>
          </a:p>
        </p:txBody>
      </p:sp>
      <p:sp>
        <p:nvSpPr>
          <p:cNvPr id="35" name="Textfeld 2">
            <a:extLst>
              <a:ext uri="{FF2B5EF4-FFF2-40B4-BE49-F238E27FC236}">
                <a16:creationId xmlns:a16="http://schemas.microsoft.com/office/drawing/2014/main" id="{0B77EFD2-0AB2-7C4D-9BCC-481E23891C17}"/>
              </a:ext>
            </a:extLst>
          </p:cNvPr>
          <p:cNvSpPr txBox="1"/>
          <p:nvPr/>
        </p:nvSpPr>
        <p:spPr>
          <a:xfrm>
            <a:off x="7422768" y="4293991"/>
            <a:ext cx="867792" cy="2616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92CDB9"/>
                </a:solidFill>
                <a:effectLst/>
                <a:uLnTx/>
                <a:uFillTx/>
                <a:latin typeface="Gill Sans MT" panose="020B0502020104020203" pitchFamily="34" charset="0"/>
                <a:ea typeface="+mn-ea"/>
                <a:cs typeface="+mn-cs"/>
              </a:rPr>
              <a:t>Russland</a:t>
            </a:r>
          </a:p>
        </p:txBody>
      </p:sp>
      <p:sp>
        <p:nvSpPr>
          <p:cNvPr id="36" name="Textfeld 2">
            <a:extLst>
              <a:ext uri="{FF2B5EF4-FFF2-40B4-BE49-F238E27FC236}">
                <a16:creationId xmlns:a16="http://schemas.microsoft.com/office/drawing/2014/main" id="{C1CEC950-A32E-0E49-AC79-8B7EBD1D4CE4}"/>
              </a:ext>
            </a:extLst>
          </p:cNvPr>
          <p:cNvSpPr txBox="1"/>
          <p:nvPr/>
        </p:nvSpPr>
        <p:spPr>
          <a:xfrm>
            <a:off x="7422767" y="4480619"/>
            <a:ext cx="953127" cy="2616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rPr>
              <a:t>Deutschland</a:t>
            </a:r>
          </a:p>
        </p:txBody>
      </p:sp>
      <p:sp>
        <p:nvSpPr>
          <p:cNvPr id="37" name="Textfeld 2">
            <a:extLst>
              <a:ext uri="{FF2B5EF4-FFF2-40B4-BE49-F238E27FC236}">
                <a16:creationId xmlns:a16="http://schemas.microsoft.com/office/drawing/2014/main" id="{3D963F9D-86A2-EC4D-9E83-D7517BAB333C}"/>
              </a:ext>
            </a:extLst>
          </p:cNvPr>
          <p:cNvSpPr txBox="1"/>
          <p:nvPr/>
        </p:nvSpPr>
        <p:spPr>
          <a:xfrm>
            <a:off x="7422768" y="4594095"/>
            <a:ext cx="867792" cy="2616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3A8E4A"/>
                </a:solidFill>
                <a:effectLst/>
                <a:uLnTx/>
                <a:uFillTx/>
                <a:latin typeface="Gill Sans MT" panose="020B0502020104020203" pitchFamily="34" charset="0"/>
                <a:ea typeface="+mn-ea"/>
                <a:cs typeface="+mn-cs"/>
              </a:rPr>
              <a:t>Italien</a:t>
            </a:r>
          </a:p>
        </p:txBody>
      </p:sp>
      <p:sp>
        <p:nvSpPr>
          <p:cNvPr id="38" name="Textfeld 2">
            <a:extLst>
              <a:ext uri="{FF2B5EF4-FFF2-40B4-BE49-F238E27FC236}">
                <a16:creationId xmlns:a16="http://schemas.microsoft.com/office/drawing/2014/main" id="{7971BC54-78B6-D547-86AF-79D9B8CB13A4}"/>
              </a:ext>
            </a:extLst>
          </p:cNvPr>
          <p:cNvSpPr txBox="1"/>
          <p:nvPr/>
        </p:nvSpPr>
        <p:spPr>
          <a:xfrm>
            <a:off x="7422768" y="4707571"/>
            <a:ext cx="867792" cy="2616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EFCB19"/>
                </a:solidFill>
                <a:effectLst/>
                <a:uLnTx/>
                <a:uFillTx/>
                <a:latin typeface="Gill Sans MT" panose="020B0502020104020203" pitchFamily="34" charset="0"/>
                <a:ea typeface="+mn-ea"/>
                <a:cs typeface="+mn-cs"/>
              </a:rPr>
              <a:t>Spanien </a:t>
            </a:r>
          </a:p>
        </p:txBody>
      </p:sp>
      <p:sp>
        <p:nvSpPr>
          <p:cNvPr id="39" name="Textfeld 2">
            <a:extLst>
              <a:ext uri="{FF2B5EF4-FFF2-40B4-BE49-F238E27FC236}">
                <a16:creationId xmlns:a16="http://schemas.microsoft.com/office/drawing/2014/main" id="{5CF59D1E-4509-A644-882C-9F81825C34BD}"/>
              </a:ext>
            </a:extLst>
          </p:cNvPr>
          <p:cNvSpPr txBox="1"/>
          <p:nvPr/>
        </p:nvSpPr>
        <p:spPr>
          <a:xfrm>
            <a:off x="7422768" y="4821047"/>
            <a:ext cx="1625664" cy="2616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2E2F6F"/>
                </a:solidFill>
                <a:effectLst/>
                <a:uLnTx/>
                <a:uFillTx/>
                <a:latin typeface="Gill Sans MT" panose="020B0502020104020203" pitchFamily="34" charset="0"/>
                <a:ea typeface="+mn-ea"/>
                <a:cs typeface="+mn-cs"/>
              </a:rPr>
              <a:t>Großbritannien</a:t>
            </a:r>
          </a:p>
        </p:txBody>
      </p:sp>
      <p:sp>
        <p:nvSpPr>
          <p:cNvPr id="40" name="Textfeld 2">
            <a:extLst>
              <a:ext uri="{FF2B5EF4-FFF2-40B4-BE49-F238E27FC236}">
                <a16:creationId xmlns:a16="http://schemas.microsoft.com/office/drawing/2014/main" id="{7E5A5EA2-7718-2548-9FC9-28804F3B11CB}"/>
              </a:ext>
            </a:extLst>
          </p:cNvPr>
          <p:cNvSpPr txBox="1"/>
          <p:nvPr/>
        </p:nvSpPr>
        <p:spPr>
          <a:xfrm>
            <a:off x="7422768" y="4922331"/>
            <a:ext cx="1625664" cy="2616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87396A"/>
                </a:solidFill>
                <a:effectLst/>
                <a:uLnTx/>
                <a:uFillTx/>
                <a:latin typeface="Gill Sans MT" panose="020B0502020104020203" pitchFamily="34" charset="0"/>
                <a:ea typeface="+mn-ea"/>
                <a:cs typeface="+mn-cs"/>
              </a:rPr>
              <a:t>Frankreich</a:t>
            </a:r>
            <a:r>
              <a:rPr kumimoji="0" lang="de-DE" sz="1100" b="0" i="0" u="none" strike="noStrike" kern="1200" cap="none" spc="0" normalizeH="0" baseline="0" noProof="0" dirty="0">
                <a:ln>
                  <a:noFill/>
                </a:ln>
                <a:solidFill>
                  <a:srgbClr val="000000"/>
                </a:solidFill>
                <a:effectLst/>
                <a:uLnTx/>
                <a:uFillTx/>
                <a:latin typeface="Gill Sans MT" panose="020B0502020104020203" pitchFamily="34" charset="0"/>
                <a:ea typeface="+mn-ea"/>
                <a:cs typeface="+mn-cs"/>
              </a:rPr>
              <a:t> </a:t>
            </a:r>
          </a:p>
        </p:txBody>
      </p:sp>
      <p:sp>
        <p:nvSpPr>
          <p:cNvPr id="41" name="Textfeld 2">
            <a:extLst>
              <a:ext uri="{FF2B5EF4-FFF2-40B4-BE49-F238E27FC236}">
                <a16:creationId xmlns:a16="http://schemas.microsoft.com/office/drawing/2014/main" id="{C8D55198-B455-C442-B353-3E2751228944}"/>
              </a:ext>
            </a:extLst>
          </p:cNvPr>
          <p:cNvSpPr txBox="1"/>
          <p:nvPr/>
        </p:nvSpPr>
        <p:spPr>
          <a:xfrm>
            <a:off x="7422768" y="5145535"/>
            <a:ext cx="1625664" cy="2616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1100" b="0" i="0" u="none" strike="noStrike" kern="1200" cap="none" spc="0" normalizeH="0" baseline="0" noProof="0" dirty="0">
                <a:ln>
                  <a:noFill/>
                </a:ln>
                <a:solidFill>
                  <a:srgbClr val="2F4775"/>
                </a:solidFill>
                <a:effectLst/>
                <a:uLnTx/>
                <a:uFillTx/>
                <a:latin typeface="Gill Sans MT" panose="020B0502020104020203" pitchFamily="34" charset="0"/>
                <a:ea typeface="+mn-ea"/>
                <a:cs typeface="+mn-cs"/>
              </a:rPr>
              <a:t>USA</a:t>
            </a:r>
          </a:p>
        </p:txBody>
      </p:sp>
      <p:sp>
        <p:nvSpPr>
          <p:cNvPr id="42" name="McK 5. Source">
            <a:extLst>
              <a:ext uri="{FF2B5EF4-FFF2-40B4-BE49-F238E27FC236}">
                <a16:creationId xmlns:a16="http://schemas.microsoft.com/office/drawing/2014/main" id="{E466889B-9F0B-B347-B12D-B235E1D2748B}"/>
              </a:ext>
            </a:extLst>
          </p:cNvPr>
          <p:cNvSpPr>
            <a:spLocks noChangeArrowheads="1"/>
          </p:cNvSpPr>
          <p:nvPr>
            <p:custDataLst>
              <p:tags r:id="rId5"/>
            </p:custDataLst>
          </p:nvPr>
        </p:nvSpPr>
        <p:spPr bwMode="auto">
          <a:xfrm>
            <a:off x="340158" y="6258397"/>
            <a:ext cx="6334857" cy="28405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562687" indent="-562687" defTabSz="826446">
              <a:tabLst>
                <a:tab pos="565617" algn="l"/>
              </a:tabLst>
            </a:pPr>
            <a:r>
              <a:rPr lang="en-US" altLang="zh-CN" sz="923" dirty="0"/>
              <a:t>* Greece, Egypt, Iran, Turkey</a:t>
            </a:r>
          </a:p>
          <a:p>
            <a:pPr marL="562687" indent="-562687" defTabSz="826446">
              <a:tabLst>
                <a:tab pos="565617" algn="l"/>
              </a:tabLst>
            </a:pPr>
            <a:r>
              <a:rPr lang="en-US" altLang="zh-CN" sz="923" dirty="0"/>
              <a:t>Quelle: </a:t>
            </a:r>
            <a:r>
              <a:rPr lang="en-US" sz="923" dirty="0"/>
              <a:t>Visual Capitalist, </a:t>
            </a:r>
            <a:r>
              <a:rPr lang="en-US" sz="923" dirty="0" err="1"/>
              <a:t>Qilin</a:t>
            </a:r>
            <a:r>
              <a:rPr lang="en-US" sz="923" dirty="0"/>
              <a:t> Capital </a:t>
            </a:r>
            <a:r>
              <a:rPr lang="en-US" sz="923" dirty="0" err="1"/>
              <a:t>Analyse</a:t>
            </a:r>
            <a:endParaRPr lang="en-US" sz="923" dirty="0"/>
          </a:p>
        </p:txBody>
      </p:sp>
    </p:spTree>
    <p:extLst>
      <p:ext uri="{BB962C8B-B14F-4D97-AF65-F5344CB8AC3E}">
        <p14:creationId xmlns:p14="http://schemas.microsoft.com/office/powerpoint/2010/main" val="32064761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1">
            <a:extLst>
              <a:ext uri="{FF2B5EF4-FFF2-40B4-BE49-F238E27FC236}">
                <a16:creationId xmlns:a16="http://schemas.microsoft.com/office/drawing/2014/main" id="{48426197-D19A-584C-BEB1-A4DF748159FF}"/>
              </a:ext>
            </a:extLst>
          </p:cNvPr>
          <p:cNvSpPr txBox="1">
            <a:spLocks/>
          </p:cNvSpPr>
          <p:nvPr/>
        </p:nvSpPr>
        <p:spPr bwMode="auto">
          <a:xfrm>
            <a:off x="371516" y="467265"/>
            <a:ext cx="7618819" cy="14770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24" tIns="0" rIns="91424" bIns="0" numCol="1" anchor="t" anchorCtr="0" compatLnSpc="1">
            <a:prstTxWarp prst="textNoShape">
              <a:avLst/>
            </a:prstTxWarp>
            <a:spAutoFit/>
          </a:bodyPr>
          <a:lstStyle>
            <a:lvl1pPr algn="l" rtl="0" eaLnBrk="1" fontAlgn="base" hangingPunct="1">
              <a:lnSpc>
                <a:spcPct val="105000"/>
              </a:lnSpc>
              <a:spcBef>
                <a:spcPct val="0"/>
              </a:spcBef>
              <a:spcAft>
                <a:spcPct val="0"/>
              </a:spcAft>
              <a:defRPr sz="3200">
                <a:solidFill>
                  <a:srgbClr val="2A547E"/>
                </a:solidFill>
                <a:latin typeface="+mj-lt"/>
                <a:ea typeface="+mj-ea"/>
                <a:cs typeface="+mj-cs"/>
              </a:defRPr>
            </a:lvl1pPr>
            <a:lvl2pPr algn="l" rtl="0" eaLnBrk="1" fontAlgn="base" hangingPunct="1">
              <a:lnSpc>
                <a:spcPct val="105000"/>
              </a:lnSpc>
              <a:spcBef>
                <a:spcPct val="0"/>
              </a:spcBef>
              <a:spcAft>
                <a:spcPct val="0"/>
              </a:spcAft>
              <a:defRPr sz="3200">
                <a:solidFill>
                  <a:srgbClr val="2A547E"/>
                </a:solidFill>
                <a:latin typeface="Gill Sans MT Light" pitchFamily="34" charset="0"/>
              </a:defRPr>
            </a:lvl2pPr>
            <a:lvl3pPr algn="l" rtl="0" eaLnBrk="1" fontAlgn="base" hangingPunct="1">
              <a:lnSpc>
                <a:spcPct val="105000"/>
              </a:lnSpc>
              <a:spcBef>
                <a:spcPct val="0"/>
              </a:spcBef>
              <a:spcAft>
                <a:spcPct val="0"/>
              </a:spcAft>
              <a:defRPr sz="3200">
                <a:solidFill>
                  <a:srgbClr val="2A547E"/>
                </a:solidFill>
                <a:latin typeface="Gill Sans MT Light" pitchFamily="34" charset="0"/>
              </a:defRPr>
            </a:lvl3pPr>
            <a:lvl4pPr algn="l" rtl="0" eaLnBrk="1" fontAlgn="base" hangingPunct="1">
              <a:lnSpc>
                <a:spcPct val="105000"/>
              </a:lnSpc>
              <a:spcBef>
                <a:spcPct val="0"/>
              </a:spcBef>
              <a:spcAft>
                <a:spcPct val="0"/>
              </a:spcAft>
              <a:defRPr sz="3200">
                <a:solidFill>
                  <a:srgbClr val="2A547E"/>
                </a:solidFill>
                <a:latin typeface="Gill Sans MT Light" pitchFamily="34" charset="0"/>
              </a:defRPr>
            </a:lvl4pPr>
            <a:lvl5pPr algn="l" rtl="0" eaLnBrk="1" fontAlgn="base" hangingPunct="1">
              <a:lnSpc>
                <a:spcPct val="105000"/>
              </a:lnSpc>
              <a:spcBef>
                <a:spcPct val="0"/>
              </a:spcBef>
              <a:spcAft>
                <a:spcPct val="0"/>
              </a:spcAft>
              <a:defRPr sz="3200">
                <a:solidFill>
                  <a:srgbClr val="2A547E"/>
                </a:solidFill>
                <a:latin typeface="Gill Sans MT Light" pitchFamily="34" charset="0"/>
              </a:defRPr>
            </a:lvl5pPr>
            <a:lvl6pPr marL="457115" algn="l" rtl="0" eaLnBrk="1" fontAlgn="base" hangingPunct="1">
              <a:lnSpc>
                <a:spcPct val="105000"/>
              </a:lnSpc>
              <a:spcBef>
                <a:spcPct val="0"/>
              </a:spcBef>
              <a:spcAft>
                <a:spcPct val="0"/>
              </a:spcAft>
              <a:defRPr sz="3200">
                <a:solidFill>
                  <a:srgbClr val="2A547E"/>
                </a:solidFill>
                <a:latin typeface="Gill Sans MT Light" pitchFamily="34" charset="0"/>
              </a:defRPr>
            </a:lvl6pPr>
            <a:lvl7pPr marL="914226" algn="l" rtl="0" eaLnBrk="1" fontAlgn="base" hangingPunct="1">
              <a:lnSpc>
                <a:spcPct val="105000"/>
              </a:lnSpc>
              <a:spcBef>
                <a:spcPct val="0"/>
              </a:spcBef>
              <a:spcAft>
                <a:spcPct val="0"/>
              </a:spcAft>
              <a:defRPr sz="3200">
                <a:solidFill>
                  <a:srgbClr val="2A547E"/>
                </a:solidFill>
                <a:latin typeface="Gill Sans MT Light" pitchFamily="34" charset="0"/>
              </a:defRPr>
            </a:lvl7pPr>
            <a:lvl8pPr marL="1371341" algn="l" rtl="0" eaLnBrk="1" fontAlgn="base" hangingPunct="1">
              <a:lnSpc>
                <a:spcPct val="105000"/>
              </a:lnSpc>
              <a:spcBef>
                <a:spcPct val="0"/>
              </a:spcBef>
              <a:spcAft>
                <a:spcPct val="0"/>
              </a:spcAft>
              <a:defRPr sz="3200">
                <a:solidFill>
                  <a:srgbClr val="2A547E"/>
                </a:solidFill>
                <a:latin typeface="Gill Sans MT Light" pitchFamily="34" charset="0"/>
              </a:defRPr>
            </a:lvl8pPr>
            <a:lvl9pPr marL="1828454" algn="l" rtl="0" eaLnBrk="1" fontAlgn="base" hangingPunct="1">
              <a:lnSpc>
                <a:spcPct val="105000"/>
              </a:lnSpc>
              <a:spcBef>
                <a:spcPct val="0"/>
              </a:spcBef>
              <a:spcAft>
                <a:spcPct val="0"/>
              </a:spcAft>
              <a:defRPr sz="3200">
                <a:solidFill>
                  <a:srgbClr val="2A547E"/>
                </a:solidFill>
                <a:latin typeface="Gill Sans MT Light" pitchFamily="34" charset="0"/>
              </a:defRPr>
            </a:lvl9pPr>
          </a:lstStyle>
          <a:p>
            <a:r>
              <a:rPr lang="en-GB" altLang="zh-CN" sz="3100" dirty="0">
                <a:solidFill>
                  <a:srgbClr val="005B99"/>
                </a:solidFill>
              </a:rPr>
              <a:t>Asia’s share of global GDP has already exceeded that of North America, Europe and Japan</a:t>
            </a:r>
            <a:endParaRPr lang="en-US" sz="3100" dirty="0">
              <a:solidFill>
                <a:srgbClr val="005B99"/>
              </a:solidFill>
            </a:endParaRPr>
          </a:p>
        </p:txBody>
      </p:sp>
      <p:pic>
        <p:nvPicPr>
          <p:cNvPr id="2" name="Picture 1">
            <a:extLst>
              <a:ext uri="{FF2B5EF4-FFF2-40B4-BE49-F238E27FC236}">
                <a16:creationId xmlns:a16="http://schemas.microsoft.com/office/drawing/2014/main" id="{4AE3C9EA-C63E-E147-8173-43F1510A493D}"/>
              </a:ext>
            </a:extLst>
          </p:cNvPr>
          <p:cNvPicPr>
            <a:picLocks noChangeAspect="1"/>
          </p:cNvPicPr>
          <p:nvPr/>
        </p:nvPicPr>
        <p:blipFill rotWithShape="1">
          <a:blip r:embed="rId3"/>
          <a:srcRect b="11622"/>
          <a:stretch/>
        </p:blipFill>
        <p:spPr>
          <a:xfrm>
            <a:off x="418465" y="2385863"/>
            <a:ext cx="7571870" cy="3513220"/>
          </a:xfrm>
          <a:prstGeom prst="rect">
            <a:avLst/>
          </a:prstGeom>
        </p:spPr>
      </p:pic>
      <p:sp>
        <p:nvSpPr>
          <p:cNvPr id="5" name="Textfeld 4">
            <a:extLst>
              <a:ext uri="{FF2B5EF4-FFF2-40B4-BE49-F238E27FC236}">
                <a16:creationId xmlns:a16="http://schemas.microsoft.com/office/drawing/2014/main" id="{6B48C27D-D7D3-BD4C-90CA-E4F88E53412C}"/>
              </a:ext>
            </a:extLst>
          </p:cNvPr>
          <p:cNvSpPr txBox="1"/>
          <p:nvPr/>
        </p:nvSpPr>
        <p:spPr>
          <a:xfrm>
            <a:off x="418465" y="6390735"/>
            <a:ext cx="6401932" cy="400110"/>
          </a:xfrm>
          <a:prstGeom prst="rect">
            <a:avLst/>
          </a:prstGeom>
          <a:noFill/>
        </p:spPr>
        <p:txBody>
          <a:bodyPr wrap="square" rtlCol="0">
            <a:spAutoFit/>
          </a:bodyPr>
          <a:lstStyle/>
          <a:p>
            <a:pPr lvl="0">
              <a:defRPr/>
            </a:pPr>
            <a:r>
              <a:rPr lang="de-DE" sz="1000" dirty="0">
                <a:solidFill>
                  <a:srgbClr val="000000"/>
                </a:solidFill>
                <a:latin typeface="Gill Sans MT Light"/>
              </a:rPr>
              <a:t>* Share </a:t>
            </a:r>
            <a:r>
              <a:rPr lang="de-DE" sz="1000" dirty="0" err="1">
                <a:solidFill>
                  <a:srgbClr val="000000"/>
                </a:solidFill>
                <a:latin typeface="Gill Sans MT Light"/>
              </a:rPr>
              <a:t>of</a:t>
            </a:r>
            <a:r>
              <a:rPr lang="de-DE" sz="1000" dirty="0">
                <a:solidFill>
                  <a:srgbClr val="000000"/>
                </a:solidFill>
                <a:latin typeface="Gill Sans MT Light"/>
              </a:rPr>
              <a:t> global GDP </a:t>
            </a:r>
            <a:r>
              <a:rPr lang="de-DE" sz="1000" dirty="0" err="1">
                <a:solidFill>
                  <a:srgbClr val="000000"/>
                </a:solidFill>
                <a:latin typeface="Gill Sans MT Light"/>
              </a:rPr>
              <a:t>is</a:t>
            </a:r>
            <a:r>
              <a:rPr lang="de-DE" sz="1000" dirty="0">
                <a:solidFill>
                  <a:srgbClr val="000000"/>
                </a:solidFill>
                <a:latin typeface="Gill Sans MT Light"/>
              </a:rPr>
              <a:t> </a:t>
            </a:r>
            <a:r>
              <a:rPr lang="de-DE" sz="1000" dirty="0" err="1">
                <a:solidFill>
                  <a:srgbClr val="000000"/>
                </a:solidFill>
                <a:latin typeface="Gill Sans MT Light"/>
              </a:rPr>
              <a:t>based</a:t>
            </a:r>
            <a:r>
              <a:rPr lang="de-DE" sz="1000" dirty="0">
                <a:solidFill>
                  <a:srgbClr val="000000"/>
                </a:solidFill>
                <a:latin typeface="Gill Sans MT Light"/>
              </a:rPr>
              <a:t> on </a:t>
            </a:r>
            <a:r>
              <a:rPr lang="de-DE" sz="1000" dirty="0" err="1">
                <a:solidFill>
                  <a:srgbClr val="000000"/>
                </a:solidFill>
                <a:latin typeface="Gill Sans MT Light"/>
              </a:rPr>
              <a:t>purchasing</a:t>
            </a:r>
            <a:r>
              <a:rPr lang="de-DE" sz="1000" dirty="0">
                <a:solidFill>
                  <a:srgbClr val="000000"/>
                </a:solidFill>
                <a:latin typeface="Gill Sans MT Light"/>
              </a:rPr>
              <a:t> power </a:t>
            </a:r>
            <a:r>
              <a:rPr lang="de-DE" sz="1000" dirty="0" err="1">
                <a:solidFill>
                  <a:srgbClr val="000000"/>
                </a:solidFill>
                <a:latin typeface="Gill Sans MT Light"/>
              </a:rPr>
              <a:t>parity</a:t>
            </a:r>
            <a:r>
              <a:rPr lang="de-DE" sz="1000" dirty="0">
                <a:solidFill>
                  <a:srgbClr val="000000"/>
                </a:solidFill>
                <a:latin typeface="Gill Sans MT Light"/>
              </a:rPr>
              <a:t> (PPP) </a:t>
            </a:r>
            <a:r>
              <a:rPr lang="de-DE" sz="1000" dirty="0" err="1">
                <a:solidFill>
                  <a:srgbClr val="000000"/>
                </a:solidFill>
                <a:latin typeface="Gill Sans MT Light"/>
              </a:rPr>
              <a:t>basis</a:t>
            </a:r>
            <a:r>
              <a:rPr lang="de-DE" sz="1000" dirty="0">
                <a:solidFill>
                  <a:srgbClr val="000000"/>
                </a:solidFill>
                <a:latin typeface="Gill Sans MT Light"/>
              </a:rPr>
              <a:t>.</a:t>
            </a:r>
          </a:p>
          <a:p>
            <a:pPr lvl="0">
              <a:defRPr/>
            </a:pPr>
            <a:r>
              <a:rPr kumimoji="0" lang="de-DE" sz="1000" b="0" i="0" u="none" strike="noStrike" kern="1200" cap="none" spc="0" normalizeH="0" baseline="0" noProof="0" dirty="0">
                <a:ln>
                  <a:noFill/>
                </a:ln>
                <a:solidFill>
                  <a:srgbClr val="000000"/>
                </a:solidFill>
                <a:effectLst/>
                <a:uLnTx/>
                <a:uFillTx/>
                <a:latin typeface="Gill Sans MT Light"/>
              </a:rPr>
              <a:t>Source: IMF, </a:t>
            </a:r>
            <a:r>
              <a:rPr kumimoji="0" lang="de-DE" sz="1000" b="0" i="0" u="none" strike="noStrike" kern="1200" cap="none" spc="0" normalizeH="0" baseline="0" noProof="0" dirty="0" err="1">
                <a:ln>
                  <a:noFill/>
                </a:ln>
                <a:solidFill>
                  <a:srgbClr val="000000"/>
                </a:solidFill>
                <a:effectLst/>
                <a:uLnTx/>
                <a:uFillTx/>
                <a:latin typeface="Gill Sans MT Light"/>
              </a:rPr>
              <a:t>BlackRock</a:t>
            </a:r>
            <a:r>
              <a:rPr kumimoji="0" lang="de-DE" sz="1000" b="0" i="0" u="none" strike="noStrike" kern="1200" cap="none" spc="0" normalizeH="0" baseline="0" noProof="0" dirty="0">
                <a:ln>
                  <a:noFill/>
                </a:ln>
                <a:solidFill>
                  <a:srgbClr val="000000"/>
                </a:solidFill>
                <a:effectLst/>
                <a:uLnTx/>
                <a:uFillTx/>
                <a:latin typeface="Gill Sans MT Light"/>
              </a:rPr>
              <a:t> Investment Institute</a:t>
            </a:r>
          </a:p>
        </p:txBody>
      </p:sp>
    </p:spTree>
    <p:extLst>
      <p:ext uri="{BB962C8B-B14F-4D97-AF65-F5344CB8AC3E}">
        <p14:creationId xmlns:p14="http://schemas.microsoft.com/office/powerpoint/2010/main" val="19608147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8" name="Grafik 1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199" y="2760184"/>
            <a:ext cx="6778192" cy="3675584"/>
          </a:xfrm>
          <a:prstGeom prst="rect">
            <a:avLst/>
          </a:prstGeom>
        </p:spPr>
      </p:pic>
      <p:sp>
        <p:nvSpPr>
          <p:cNvPr id="2" name="Titel 1"/>
          <p:cNvSpPr>
            <a:spLocks noGrp="1"/>
          </p:cNvSpPr>
          <p:nvPr>
            <p:ph type="title"/>
          </p:nvPr>
        </p:nvSpPr>
        <p:spPr>
          <a:xfrm>
            <a:off x="355604" y="434979"/>
            <a:ext cx="7578721" cy="1477071"/>
          </a:xfrm>
        </p:spPr>
        <p:txBody>
          <a:bodyPr/>
          <a:lstStyle/>
          <a:p>
            <a:r>
              <a:rPr lang="en-GB" sz="3100" kern="1200" dirty="0">
                <a:solidFill>
                  <a:srgbClr val="005B99"/>
                </a:solidFill>
              </a:rPr>
              <a:t>China, India and Japan are on their way to becoming the world's largest economies by 2030 </a:t>
            </a:r>
          </a:p>
        </p:txBody>
      </p:sp>
      <p:sp>
        <p:nvSpPr>
          <p:cNvPr id="3" name="Textfeld 2"/>
          <p:cNvSpPr txBox="1"/>
          <p:nvPr/>
        </p:nvSpPr>
        <p:spPr>
          <a:xfrm>
            <a:off x="365124" y="2238375"/>
            <a:ext cx="6441193" cy="461665"/>
          </a:xfrm>
          <a:prstGeom prst="rect">
            <a:avLst/>
          </a:prstGeom>
          <a:noFill/>
        </p:spPr>
        <p:txBody>
          <a:bodyPr wrap="square" rtlCol="0">
            <a:spAutoFit/>
          </a:bodyPr>
          <a:lstStyle/>
          <a:p>
            <a:r>
              <a:rPr lang="en-GB" dirty="0">
                <a:latin typeface="Gill Sans MT" panose="020B0502020104020203" pitchFamily="34" charset="0"/>
              </a:rPr>
              <a:t>The gross domestic product (GDP) of China, Japan and India compared other global players</a:t>
            </a:r>
          </a:p>
          <a:p>
            <a:r>
              <a:rPr lang="en-GB" dirty="0">
                <a:latin typeface="Gill Sans MT" panose="020B0502020104020203" pitchFamily="34" charset="0"/>
              </a:rPr>
              <a:t>(in USD billion, nominal)</a:t>
            </a:r>
          </a:p>
        </p:txBody>
      </p:sp>
      <p:sp>
        <p:nvSpPr>
          <p:cNvPr id="4" name="McK 5. Source"/>
          <p:cNvSpPr>
            <a:spLocks noChangeArrowheads="1"/>
          </p:cNvSpPr>
          <p:nvPr>
            <p:custDataLst>
              <p:tags r:id="rId1"/>
            </p:custDataLst>
          </p:nvPr>
        </p:nvSpPr>
        <p:spPr bwMode="auto">
          <a:xfrm>
            <a:off x="365125" y="6492297"/>
            <a:ext cx="6152295" cy="302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564202" indent="-564202" defTabSz="828671">
              <a:tabLst>
                <a:tab pos="567141" algn="l"/>
              </a:tabLst>
            </a:pPr>
            <a:r>
              <a:rPr lang="en-GB" sz="1000" dirty="0">
                <a:ea typeface="宋体" pitchFamily="2" charset="-122"/>
                <a:cs typeface="Arial" pitchFamily="34" charset="0"/>
              </a:rPr>
              <a:t>1) Data normalized in USD of the year 2000</a:t>
            </a:r>
          </a:p>
          <a:p>
            <a:pPr marL="564202" indent="-564202" defTabSz="828671">
              <a:tabLst>
                <a:tab pos="567141" algn="l"/>
              </a:tabLst>
            </a:pPr>
            <a:r>
              <a:rPr lang="en-GB" sz="900" dirty="0"/>
              <a:t>Source: </a:t>
            </a:r>
            <a:r>
              <a:rPr lang="en-GB" sz="900" dirty="0">
                <a:solidFill>
                  <a:srgbClr val="000000"/>
                </a:solidFill>
                <a:ea typeface="宋体" pitchFamily="2" charset="-122"/>
                <a:cs typeface="Arial" pitchFamily="34" charset="0"/>
              </a:rPr>
              <a:t>World Bank, The Economist , McKinsey Analysis</a:t>
            </a:r>
          </a:p>
        </p:txBody>
      </p:sp>
      <p:sp>
        <p:nvSpPr>
          <p:cNvPr id="113" name="Textfeld 112"/>
          <p:cNvSpPr txBox="1"/>
          <p:nvPr/>
        </p:nvSpPr>
        <p:spPr>
          <a:xfrm>
            <a:off x="5848351" y="3113953"/>
            <a:ext cx="552450" cy="285750"/>
          </a:xfrm>
          <a:prstGeom prst="rect">
            <a:avLst/>
          </a:prstGeom>
          <a:solidFill>
            <a:schemeClr val="accent6"/>
          </a:solidFill>
        </p:spPr>
        <p:txBody>
          <a:bodyPr wrap="square" rtlCol="0">
            <a:spAutoFit/>
          </a:bodyPr>
          <a:lstStyle/>
          <a:p>
            <a:r>
              <a:rPr lang="en-GB" dirty="0">
                <a:solidFill>
                  <a:schemeClr val="bg1"/>
                </a:solidFill>
              </a:rPr>
              <a:t>China</a:t>
            </a:r>
          </a:p>
        </p:txBody>
      </p:sp>
      <p:sp>
        <p:nvSpPr>
          <p:cNvPr id="114" name="Textfeld 113"/>
          <p:cNvSpPr txBox="1"/>
          <p:nvPr/>
        </p:nvSpPr>
        <p:spPr>
          <a:xfrm>
            <a:off x="5848351" y="4002685"/>
            <a:ext cx="552450" cy="276999"/>
          </a:xfrm>
          <a:prstGeom prst="rect">
            <a:avLst/>
          </a:prstGeom>
          <a:solidFill>
            <a:schemeClr val="accent6"/>
          </a:solidFill>
        </p:spPr>
        <p:txBody>
          <a:bodyPr wrap="square" rtlCol="0">
            <a:spAutoFit/>
          </a:bodyPr>
          <a:lstStyle/>
          <a:p>
            <a:r>
              <a:rPr lang="en-GB" dirty="0">
                <a:solidFill>
                  <a:schemeClr val="bg1"/>
                </a:solidFill>
              </a:rPr>
              <a:t>India</a:t>
            </a:r>
          </a:p>
        </p:txBody>
      </p:sp>
      <p:sp>
        <p:nvSpPr>
          <p:cNvPr id="115" name="Ellipse 114"/>
          <p:cNvSpPr/>
          <p:nvPr/>
        </p:nvSpPr>
        <p:spPr bwMode="auto">
          <a:xfrm>
            <a:off x="5543550" y="3199704"/>
            <a:ext cx="219075" cy="223852"/>
          </a:xfrm>
          <a:prstGeom prst="ellipse">
            <a:avLst/>
          </a:prstGeom>
          <a:solidFill>
            <a:schemeClr val="accent6"/>
          </a:solid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Gill Sans MT Light" pitchFamily="34" charset="0"/>
            </a:endParaRPr>
          </a:p>
        </p:txBody>
      </p:sp>
      <p:sp>
        <p:nvSpPr>
          <p:cNvPr id="116" name="Textfeld 115"/>
          <p:cNvSpPr txBox="1"/>
          <p:nvPr/>
        </p:nvSpPr>
        <p:spPr>
          <a:xfrm>
            <a:off x="5524502" y="3170756"/>
            <a:ext cx="228600" cy="276999"/>
          </a:xfrm>
          <a:prstGeom prst="rect">
            <a:avLst/>
          </a:prstGeom>
          <a:noFill/>
        </p:spPr>
        <p:txBody>
          <a:bodyPr wrap="square" rtlCol="0">
            <a:spAutoFit/>
          </a:bodyPr>
          <a:lstStyle/>
          <a:p>
            <a:r>
              <a:rPr lang="en-GB" dirty="0">
                <a:solidFill>
                  <a:schemeClr val="bg1"/>
                </a:solidFill>
              </a:rPr>
              <a:t>1</a:t>
            </a:r>
          </a:p>
        </p:txBody>
      </p:sp>
      <p:sp>
        <p:nvSpPr>
          <p:cNvPr id="119" name="Ellipse 118"/>
          <p:cNvSpPr/>
          <p:nvPr/>
        </p:nvSpPr>
        <p:spPr bwMode="auto">
          <a:xfrm>
            <a:off x="5534027" y="4024109"/>
            <a:ext cx="219075" cy="223852"/>
          </a:xfrm>
          <a:prstGeom prst="ellipse">
            <a:avLst/>
          </a:prstGeom>
          <a:solidFill>
            <a:schemeClr val="accent6"/>
          </a:solid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Gill Sans MT Light" pitchFamily="34" charset="0"/>
            </a:endParaRPr>
          </a:p>
        </p:txBody>
      </p:sp>
      <p:sp>
        <p:nvSpPr>
          <p:cNvPr id="120" name="Ellipse 119"/>
          <p:cNvSpPr/>
          <p:nvPr/>
        </p:nvSpPr>
        <p:spPr bwMode="auto">
          <a:xfrm>
            <a:off x="5534026" y="4486050"/>
            <a:ext cx="219075" cy="223852"/>
          </a:xfrm>
          <a:prstGeom prst="ellipse">
            <a:avLst/>
          </a:prstGeom>
          <a:solidFill>
            <a:schemeClr val="accent6"/>
          </a:solid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Gill Sans MT Light" pitchFamily="34" charset="0"/>
            </a:endParaRPr>
          </a:p>
        </p:txBody>
      </p:sp>
      <p:sp>
        <p:nvSpPr>
          <p:cNvPr id="121" name="Ellipse 120"/>
          <p:cNvSpPr/>
          <p:nvPr/>
        </p:nvSpPr>
        <p:spPr bwMode="auto">
          <a:xfrm>
            <a:off x="2133599" y="5334514"/>
            <a:ext cx="219075" cy="223852"/>
          </a:xfrm>
          <a:prstGeom prst="ellipse">
            <a:avLst/>
          </a:prstGeom>
          <a:solidFill>
            <a:schemeClr val="accent6"/>
          </a:solid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Gill Sans MT Light" pitchFamily="34" charset="0"/>
            </a:endParaRPr>
          </a:p>
        </p:txBody>
      </p:sp>
      <p:sp>
        <p:nvSpPr>
          <p:cNvPr id="122" name="Ellipse 121"/>
          <p:cNvSpPr/>
          <p:nvPr/>
        </p:nvSpPr>
        <p:spPr bwMode="auto">
          <a:xfrm>
            <a:off x="478054" y="3610816"/>
            <a:ext cx="219075" cy="223852"/>
          </a:xfrm>
          <a:prstGeom prst="ellipse">
            <a:avLst/>
          </a:prstGeom>
          <a:solidFill>
            <a:schemeClr val="accent6"/>
          </a:solid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Gill Sans MT Light" pitchFamily="34" charset="0"/>
            </a:endParaRPr>
          </a:p>
        </p:txBody>
      </p:sp>
      <p:sp>
        <p:nvSpPr>
          <p:cNvPr id="123" name="Ellipse 122"/>
          <p:cNvSpPr/>
          <p:nvPr/>
        </p:nvSpPr>
        <p:spPr bwMode="auto">
          <a:xfrm>
            <a:off x="2114550" y="3606905"/>
            <a:ext cx="219075" cy="223852"/>
          </a:xfrm>
          <a:prstGeom prst="ellipse">
            <a:avLst/>
          </a:prstGeom>
          <a:solidFill>
            <a:schemeClr val="accent6"/>
          </a:solid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Gill Sans MT Light" pitchFamily="34" charset="0"/>
            </a:endParaRPr>
          </a:p>
        </p:txBody>
      </p:sp>
      <p:sp>
        <p:nvSpPr>
          <p:cNvPr id="124" name="Ellipse 123"/>
          <p:cNvSpPr/>
          <p:nvPr/>
        </p:nvSpPr>
        <p:spPr bwMode="auto">
          <a:xfrm>
            <a:off x="473291" y="6152454"/>
            <a:ext cx="219075" cy="223852"/>
          </a:xfrm>
          <a:prstGeom prst="ellipse">
            <a:avLst/>
          </a:prstGeom>
          <a:solidFill>
            <a:schemeClr val="accent6"/>
          </a:solid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Gill Sans MT Light" pitchFamily="34" charset="0"/>
            </a:endParaRPr>
          </a:p>
        </p:txBody>
      </p:sp>
      <p:sp>
        <p:nvSpPr>
          <p:cNvPr id="125" name="Ellipse 124"/>
          <p:cNvSpPr/>
          <p:nvPr/>
        </p:nvSpPr>
        <p:spPr bwMode="auto">
          <a:xfrm>
            <a:off x="3819526" y="4036784"/>
            <a:ext cx="219075" cy="223852"/>
          </a:xfrm>
          <a:prstGeom prst="ellipse">
            <a:avLst/>
          </a:prstGeom>
          <a:blipFill dpi="0" rotWithShape="1">
            <a:blip r:embed="rId4" cstate="print">
              <a:extLst>
                <a:ext uri="{28A0092B-C50C-407E-A947-70E740481C1C}">
                  <a14:useLocalDpi xmlns:a14="http://schemas.microsoft.com/office/drawing/2010/main" val="0"/>
                </a:ext>
              </a:extLst>
            </a:blip>
            <a:srcRect/>
            <a:stretch>
              <a:fillRect/>
            </a:stretch>
          </a:blip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Gill Sans MT Light" pitchFamily="34" charset="0"/>
            </a:endParaRPr>
          </a:p>
        </p:txBody>
      </p:sp>
      <p:sp>
        <p:nvSpPr>
          <p:cNvPr id="126" name="Ellipse 125"/>
          <p:cNvSpPr/>
          <p:nvPr/>
        </p:nvSpPr>
        <p:spPr bwMode="auto">
          <a:xfrm>
            <a:off x="3819525" y="3610521"/>
            <a:ext cx="219075" cy="223852"/>
          </a:xfrm>
          <a:prstGeom prst="ellipse">
            <a:avLst/>
          </a:prstGeom>
          <a:solidFill>
            <a:schemeClr val="accent6"/>
          </a:solid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Gill Sans MT Light" pitchFamily="34" charset="0"/>
            </a:endParaRPr>
          </a:p>
        </p:txBody>
      </p:sp>
      <p:sp>
        <p:nvSpPr>
          <p:cNvPr id="128" name="Textfeld 127"/>
          <p:cNvSpPr txBox="1"/>
          <p:nvPr/>
        </p:nvSpPr>
        <p:spPr>
          <a:xfrm>
            <a:off x="3800475" y="3589246"/>
            <a:ext cx="228600" cy="276999"/>
          </a:xfrm>
          <a:prstGeom prst="rect">
            <a:avLst/>
          </a:prstGeom>
          <a:noFill/>
        </p:spPr>
        <p:txBody>
          <a:bodyPr wrap="square" rtlCol="0">
            <a:spAutoFit/>
          </a:bodyPr>
          <a:lstStyle/>
          <a:p>
            <a:r>
              <a:rPr lang="en-GB" dirty="0">
                <a:solidFill>
                  <a:schemeClr val="bg1"/>
                </a:solidFill>
              </a:rPr>
              <a:t>2</a:t>
            </a:r>
          </a:p>
        </p:txBody>
      </p:sp>
      <p:sp>
        <p:nvSpPr>
          <p:cNvPr id="129" name="Textfeld 128"/>
          <p:cNvSpPr txBox="1"/>
          <p:nvPr/>
        </p:nvSpPr>
        <p:spPr>
          <a:xfrm>
            <a:off x="2095499" y="3587188"/>
            <a:ext cx="228600" cy="276999"/>
          </a:xfrm>
          <a:prstGeom prst="rect">
            <a:avLst/>
          </a:prstGeom>
          <a:noFill/>
        </p:spPr>
        <p:txBody>
          <a:bodyPr wrap="square" rtlCol="0">
            <a:spAutoFit/>
          </a:bodyPr>
          <a:lstStyle/>
          <a:p>
            <a:r>
              <a:rPr lang="en-GB" dirty="0">
                <a:solidFill>
                  <a:schemeClr val="bg1"/>
                </a:solidFill>
              </a:rPr>
              <a:t>2</a:t>
            </a:r>
          </a:p>
        </p:txBody>
      </p:sp>
      <p:sp>
        <p:nvSpPr>
          <p:cNvPr id="130" name="Textfeld 129"/>
          <p:cNvSpPr txBox="1"/>
          <p:nvPr/>
        </p:nvSpPr>
        <p:spPr>
          <a:xfrm>
            <a:off x="2114549" y="5315464"/>
            <a:ext cx="228600" cy="276999"/>
          </a:xfrm>
          <a:prstGeom prst="rect">
            <a:avLst/>
          </a:prstGeom>
          <a:noFill/>
        </p:spPr>
        <p:txBody>
          <a:bodyPr wrap="square" rtlCol="0">
            <a:spAutoFit/>
          </a:bodyPr>
          <a:lstStyle/>
          <a:p>
            <a:r>
              <a:rPr lang="en-GB" dirty="0">
                <a:solidFill>
                  <a:schemeClr val="bg1"/>
                </a:solidFill>
              </a:rPr>
              <a:t>6</a:t>
            </a:r>
          </a:p>
        </p:txBody>
      </p:sp>
      <p:sp>
        <p:nvSpPr>
          <p:cNvPr id="131" name="Textfeld 130"/>
          <p:cNvSpPr txBox="1"/>
          <p:nvPr/>
        </p:nvSpPr>
        <p:spPr>
          <a:xfrm>
            <a:off x="463766" y="6138292"/>
            <a:ext cx="228600" cy="276999"/>
          </a:xfrm>
          <a:prstGeom prst="rect">
            <a:avLst/>
          </a:prstGeom>
          <a:noFill/>
        </p:spPr>
        <p:txBody>
          <a:bodyPr wrap="square" rtlCol="0">
            <a:spAutoFit/>
          </a:bodyPr>
          <a:lstStyle/>
          <a:p>
            <a:r>
              <a:rPr lang="en-GB" dirty="0">
                <a:solidFill>
                  <a:schemeClr val="bg1"/>
                </a:solidFill>
              </a:rPr>
              <a:t>9</a:t>
            </a:r>
          </a:p>
        </p:txBody>
      </p:sp>
      <p:sp>
        <p:nvSpPr>
          <p:cNvPr id="132" name="Textfeld 131"/>
          <p:cNvSpPr txBox="1"/>
          <p:nvPr/>
        </p:nvSpPr>
        <p:spPr>
          <a:xfrm>
            <a:off x="457199" y="3584358"/>
            <a:ext cx="228600" cy="276999"/>
          </a:xfrm>
          <a:prstGeom prst="rect">
            <a:avLst/>
          </a:prstGeom>
          <a:noFill/>
        </p:spPr>
        <p:txBody>
          <a:bodyPr wrap="square" rtlCol="0">
            <a:spAutoFit/>
          </a:bodyPr>
          <a:lstStyle/>
          <a:p>
            <a:r>
              <a:rPr lang="en-GB" dirty="0">
                <a:solidFill>
                  <a:schemeClr val="bg1"/>
                </a:solidFill>
              </a:rPr>
              <a:t>2</a:t>
            </a:r>
          </a:p>
        </p:txBody>
      </p:sp>
      <p:sp>
        <p:nvSpPr>
          <p:cNvPr id="133" name="Textfeld 132"/>
          <p:cNvSpPr txBox="1"/>
          <p:nvPr/>
        </p:nvSpPr>
        <p:spPr>
          <a:xfrm>
            <a:off x="5514975" y="3988525"/>
            <a:ext cx="228600" cy="276999"/>
          </a:xfrm>
          <a:prstGeom prst="rect">
            <a:avLst/>
          </a:prstGeom>
          <a:noFill/>
        </p:spPr>
        <p:txBody>
          <a:bodyPr wrap="square" rtlCol="0">
            <a:spAutoFit/>
          </a:bodyPr>
          <a:lstStyle/>
          <a:p>
            <a:r>
              <a:rPr lang="en-GB" dirty="0">
                <a:solidFill>
                  <a:schemeClr val="bg1"/>
                </a:solidFill>
              </a:rPr>
              <a:t>3</a:t>
            </a:r>
          </a:p>
        </p:txBody>
      </p:sp>
      <p:sp>
        <p:nvSpPr>
          <p:cNvPr id="117" name="Textfeld 116"/>
          <p:cNvSpPr txBox="1"/>
          <p:nvPr/>
        </p:nvSpPr>
        <p:spPr>
          <a:xfrm>
            <a:off x="5522697" y="4460153"/>
            <a:ext cx="228600" cy="276999"/>
          </a:xfrm>
          <a:prstGeom prst="rect">
            <a:avLst/>
          </a:prstGeom>
          <a:noFill/>
        </p:spPr>
        <p:txBody>
          <a:bodyPr wrap="square" rtlCol="0">
            <a:spAutoFit/>
          </a:bodyPr>
          <a:lstStyle/>
          <a:p>
            <a:r>
              <a:rPr lang="en-GB" dirty="0">
                <a:solidFill>
                  <a:schemeClr val="bg1"/>
                </a:solidFill>
              </a:rPr>
              <a:t>4</a:t>
            </a:r>
          </a:p>
        </p:txBody>
      </p:sp>
      <p:sp>
        <p:nvSpPr>
          <p:cNvPr id="134" name="Textfeld 133"/>
          <p:cNvSpPr txBox="1"/>
          <p:nvPr/>
        </p:nvSpPr>
        <p:spPr>
          <a:xfrm>
            <a:off x="2400298" y="3584906"/>
            <a:ext cx="605229" cy="276999"/>
          </a:xfrm>
          <a:prstGeom prst="rect">
            <a:avLst/>
          </a:prstGeom>
          <a:blipFill dpi="0" rotWithShape="1">
            <a:blip r:embed="rId5" cstate="print">
              <a:extLst>
                <a:ext uri="{28A0092B-C50C-407E-A947-70E740481C1C}">
                  <a14:useLocalDpi xmlns:a14="http://schemas.microsoft.com/office/drawing/2010/main" val="0"/>
                </a:ext>
              </a:extLst>
            </a:blip>
            <a:srcRect/>
            <a:stretch>
              <a:fillRect/>
            </a:stretch>
          </a:blipFill>
        </p:spPr>
        <p:txBody>
          <a:bodyPr wrap="square" rtlCol="0">
            <a:spAutoFit/>
          </a:bodyPr>
          <a:lstStyle/>
          <a:p>
            <a:r>
              <a:rPr lang="en-GB" dirty="0"/>
              <a:t>Japan</a:t>
            </a:r>
          </a:p>
        </p:txBody>
      </p:sp>
      <p:sp>
        <p:nvSpPr>
          <p:cNvPr id="135" name="Textfeld 134"/>
          <p:cNvSpPr txBox="1"/>
          <p:nvPr/>
        </p:nvSpPr>
        <p:spPr>
          <a:xfrm>
            <a:off x="755704" y="3553951"/>
            <a:ext cx="615895" cy="276999"/>
          </a:xfrm>
          <a:prstGeom prst="rect">
            <a:avLst/>
          </a:prstGeom>
          <a:blipFill dpi="0" rotWithShape="1">
            <a:blip r:embed="rId6" cstate="print">
              <a:extLst>
                <a:ext uri="{28A0092B-C50C-407E-A947-70E740481C1C}">
                  <a14:useLocalDpi xmlns:a14="http://schemas.microsoft.com/office/drawing/2010/main" val="0"/>
                </a:ext>
              </a:extLst>
            </a:blip>
            <a:srcRect/>
            <a:stretch>
              <a:fillRect/>
            </a:stretch>
          </a:blipFill>
        </p:spPr>
        <p:txBody>
          <a:bodyPr wrap="square" rtlCol="0">
            <a:spAutoFit/>
          </a:bodyPr>
          <a:lstStyle/>
          <a:p>
            <a:r>
              <a:rPr lang="en-GB" dirty="0"/>
              <a:t>Japan</a:t>
            </a:r>
          </a:p>
        </p:txBody>
      </p:sp>
      <p:sp>
        <p:nvSpPr>
          <p:cNvPr id="136" name="Textfeld 135"/>
          <p:cNvSpPr txBox="1"/>
          <p:nvPr/>
        </p:nvSpPr>
        <p:spPr>
          <a:xfrm>
            <a:off x="4119109" y="4010210"/>
            <a:ext cx="610288" cy="276999"/>
          </a:xfrm>
          <a:prstGeom prst="rect">
            <a:avLst/>
          </a:prstGeom>
          <a:blipFill dpi="0" rotWithShape="1">
            <a:blip r:embed="rId7" cstate="print">
              <a:extLst>
                <a:ext uri="{28A0092B-C50C-407E-A947-70E740481C1C}">
                  <a14:useLocalDpi xmlns:a14="http://schemas.microsoft.com/office/drawing/2010/main" val="0"/>
                </a:ext>
              </a:extLst>
            </a:blip>
            <a:srcRect/>
            <a:stretch>
              <a:fillRect/>
            </a:stretch>
          </a:blipFill>
        </p:spPr>
        <p:txBody>
          <a:bodyPr wrap="square" rtlCol="0">
            <a:spAutoFit/>
          </a:bodyPr>
          <a:lstStyle/>
          <a:p>
            <a:r>
              <a:rPr lang="en-GB" dirty="0"/>
              <a:t>Japan</a:t>
            </a:r>
          </a:p>
        </p:txBody>
      </p:sp>
      <p:sp>
        <p:nvSpPr>
          <p:cNvPr id="137" name="Textfeld 136"/>
          <p:cNvSpPr txBox="1"/>
          <p:nvPr/>
        </p:nvSpPr>
        <p:spPr>
          <a:xfrm>
            <a:off x="5848351" y="3998595"/>
            <a:ext cx="552450" cy="276999"/>
          </a:xfrm>
          <a:prstGeom prst="rect">
            <a:avLst/>
          </a:prstGeom>
          <a:blipFill dpi="0" rotWithShape="1">
            <a:blip r:embed="rId8" cstate="print">
              <a:extLst>
                <a:ext uri="{28A0092B-C50C-407E-A947-70E740481C1C}">
                  <a14:useLocalDpi xmlns:a14="http://schemas.microsoft.com/office/drawing/2010/main" val="0"/>
                </a:ext>
              </a:extLst>
            </a:blip>
            <a:srcRect/>
            <a:stretch>
              <a:fillRect/>
            </a:stretch>
          </a:blipFill>
        </p:spPr>
        <p:txBody>
          <a:bodyPr wrap="square" rtlCol="0">
            <a:spAutoFit/>
          </a:bodyPr>
          <a:lstStyle/>
          <a:p>
            <a:r>
              <a:rPr lang="en-GB" dirty="0"/>
              <a:t>India</a:t>
            </a:r>
          </a:p>
        </p:txBody>
      </p:sp>
      <p:sp>
        <p:nvSpPr>
          <p:cNvPr id="138" name="Textfeld 137"/>
          <p:cNvSpPr txBox="1"/>
          <p:nvPr/>
        </p:nvSpPr>
        <p:spPr>
          <a:xfrm>
            <a:off x="5762624" y="4431486"/>
            <a:ext cx="604447" cy="276999"/>
          </a:xfrm>
          <a:prstGeom prst="rect">
            <a:avLst/>
          </a:prstGeom>
          <a:blipFill dpi="0" rotWithShape="1">
            <a:blip r:embed="rId5" cstate="print">
              <a:extLst>
                <a:ext uri="{28A0092B-C50C-407E-A947-70E740481C1C}">
                  <a14:useLocalDpi xmlns:a14="http://schemas.microsoft.com/office/drawing/2010/main" val="0"/>
                </a:ext>
              </a:extLst>
            </a:blip>
            <a:srcRect/>
            <a:stretch>
              <a:fillRect/>
            </a:stretch>
          </a:blipFill>
        </p:spPr>
        <p:txBody>
          <a:bodyPr wrap="square" rtlCol="0">
            <a:spAutoFit/>
          </a:bodyPr>
          <a:lstStyle/>
          <a:p>
            <a:r>
              <a:rPr lang="en-GB" dirty="0"/>
              <a:t>Japan</a:t>
            </a:r>
          </a:p>
        </p:txBody>
      </p:sp>
      <p:sp>
        <p:nvSpPr>
          <p:cNvPr id="139" name="Ellipse 138"/>
          <p:cNvSpPr/>
          <p:nvPr/>
        </p:nvSpPr>
        <p:spPr bwMode="auto">
          <a:xfrm>
            <a:off x="5538933" y="4013433"/>
            <a:ext cx="219075" cy="223852"/>
          </a:xfrm>
          <a:prstGeom prst="ellipse">
            <a:avLst/>
          </a:prstGeom>
          <a:blipFill dpi="0" rotWithShape="1">
            <a:blip r:embed="rId4" cstate="print">
              <a:extLst>
                <a:ext uri="{28A0092B-C50C-407E-A947-70E740481C1C}">
                  <a14:useLocalDpi xmlns:a14="http://schemas.microsoft.com/office/drawing/2010/main" val="0"/>
                </a:ext>
              </a:extLst>
            </a:blip>
            <a:srcRect/>
            <a:stretch>
              <a:fillRect/>
            </a:stretch>
          </a:blip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Gill Sans MT Light" pitchFamily="34" charset="0"/>
            </a:endParaRPr>
          </a:p>
        </p:txBody>
      </p:sp>
      <p:sp>
        <p:nvSpPr>
          <p:cNvPr id="140" name="Ellipse 139"/>
          <p:cNvSpPr/>
          <p:nvPr/>
        </p:nvSpPr>
        <p:spPr bwMode="auto">
          <a:xfrm>
            <a:off x="5546779" y="4484104"/>
            <a:ext cx="219075" cy="223852"/>
          </a:xfrm>
          <a:prstGeom prst="ellipse">
            <a:avLst/>
          </a:prstGeom>
          <a:blipFill dpi="0" rotWithShape="1">
            <a:blip r:embed="rId4" cstate="print">
              <a:extLst>
                <a:ext uri="{28A0092B-C50C-407E-A947-70E740481C1C}">
                  <a14:useLocalDpi xmlns:a14="http://schemas.microsoft.com/office/drawing/2010/main" val="0"/>
                </a:ext>
              </a:extLst>
            </a:blip>
            <a:srcRect/>
            <a:stretch>
              <a:fillRect/>
            </a:stretch>
          </a:blip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Gill Sans MT Light" pitchFamily="34" charset="0"/>
            </a:endParaRPr>
          </a:p>
        </p:txBody>
      </p:sp>
      <p:sp>
        <p:nvSpPr>
          <p:cNvPr id="141" name="Ellipse 140"/>
          <p:cNvSpPr/>
          <p:nvPr/>
        </p:nvSpPr>
        <p:spPr bwMode="auto">
          <a:xfrm>
            <a:off x="489003" y="3598653"/>
            <a:ext cx="219075" cy="223852"/>
          </a:xfrm>
          <a:prstGeom prst="ellipse">
            <a:avLst/>
          </a:prstGeom>
          <a:blipFill dpi="0" rotWithShape="1">
            <a:blip r:embed="rId4" cstate="print">
              <a:extLst>
                <a:ext uri="{28A0092B-C50C-407E-A947-70E740481C1C}">
                  <a14:useLocalDpi xmlns:a14="http://schemas.microsoft.com/office/drawing/2010/main" val="0"/>
                </a:ext>
              </a:extLst>
            </a:blip>
            <a:srcRect/>
            <a:stretch>
              <a:fillRect/>
            </a:stretch>
          </a:blip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Gill Sans MT Light" pitchFamily="34" charset="0"/>
            </a:endParaRPr>
          </a:p>
        </p:txBody>
      </p:sp>
      <p:sp>
        <p:nvSpPr>
          <p:cNvPr id="142" name="Ellipse 141"/>
          <p:cNvSpPr/>
          <p:nvPr/>
        </p:nvSpPr>
        <p:spPr bwMode="auto">
          <a:xfrm>
            <a:off x="2100841" y="3597197"/>
            <a:ext cx="219075" cy="223852"/>
          </a:xfrm>
          <a:prstGeom prst="ellipse">
            <a:avLst/>
          </a:prstGeom>
          <a:blipFill dpi="0" rotWithShape="1">
            <a:blip r:embed="rId4" cstate="print">
              <a:extLst>
                <a:ext uri="{28A0092B-C50C-407E-A947-70E740481C1C}">
                  <a14:useLocalDpi xmlns:a14="http://schemas.microsoft.com/office/drawing/2010/main" val="0"/>
                </a:ext>
              </a:extLst>
            </a:blip>
            <a:srcRect/>
            <a:stretch>
              <a:fillRect/>
            </a:stretch>
          </a:blipFill>
          <a:ln w="2857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200" b="0" i="0" u="none" strike="noStrike" cap="none" normalizeH="0" baseline="0" dirty="0">
              <a:ln>
                <a:noFill/>
              </a:ln>
              <a:solidFill>
                <a:schemeClr val="tx1"/>
              </a:solidFill>
              <a:effectLst/>
              <a:latin typeface="Gill Sans MT Light" pitchFamily="34" charset="0"/>
            </a:endParaRPr>
          </a:p>
        </p:txBody>
      </p:sp>
      <p:sp>
        <p:nvSpPr>
          <p:cNvPr id="143" name="Textfeld 142"/>
          <p:cNvSpPr txBox="1"/>
          <p:nvPr/>
        </p:nvSpPr>
        <p:spPr>
          <a:xfrm>
            <a:off x="5530877" y="4452202"/>
            <a:ext cx="228600" cy="276999"/>
          </a:xfrm>
          <a:prstGeom prst="rect">
            <a:avLst/>
          </a:prstGeom>
          <a:noFill/>
        </p:spPr>
        <p:txBody>
          <a:bodyPr wrap="square" rtlCol="0">
            <a:spAutoFit/>
          </a:bodyPr>
          <a:lstStyle/>
          <a:p>
            <a:r>
              <a:rPr lang="en-GB" dirty="0"/>
              <a:t>4</a:t>
            </a:r>
          </a:p>
        </p:txBody>
      </p:sp>
      <p:sp>
        <p:nvSpPr>
          <p:cNvPr id="144" name="Textfeld 143"/>
          <p:cNvSpPr txBox="1"/>
          <p:nvPr/>
        </p:nvSpPr>
        <p:spPr>
          <a:xfrm>
            <a:off x="3794099" y="3997754"/>
            <a:ext cx="228600" cy="276999"/>
          </a:xfrm>
          <a:prstGeom prst="rect">
            <a:avLst/>
          </a:prstGeom>
          <a:noFill/>
        </p:spPr>
        <p:txBody>
          <a:bodyPr wrap="square" rtlCol="0">
            <a:spAutoFit/>
          </a:bodyPr>
          <a:lstStyle/>
          <a:p>
            <a:r>
              <a:rPr lang="en-GB" dirty="0"/>
              <a:t>3</a:t>
            </a:r>
          </a:p>
        </p:txBody>
      </p:sp>
      <p:sp>
        <p:nvSpPr>
          <p:cNvPr id="145" name="Textfeld 144"/>
          <p:cNvSpPr txBox="1"/>
          <p:nvPr/>
        </p:nvSpPr>
        <p:spPr>
          <a:xfrm>
            <a:off x="2086225" y="3570143"/>
            <a:ext cx="228600" cy="276999"/>
          </a:xfrm>
          <a:prstGeom prst="rect">
            <a:avLst/>
          </a:prstGeom>
          <a:noFill/>
        </p:spPr>
        <p:txBody>
          <a:bodyPr wrap="square" rtlCol="0">
            <a:spAutoFit/>
          </a:bodyPr>
          <a:lstStyle/>
          <a:p>
            <a:r>
              <a:rPr lang="en-GB" dirty="0"/>
              <a:t>2</a:t>
            </a:r>
          </a:p>
        </p:txBody>
      </p:sp>
      <p:sp>
        <p:nvSpPr>
          <p:cNvPr id="148" name="Textfeld 147"/>
          <p:cNvSpPr txBox="1"/>
          <p:nvPr/>
        </p:nvSpPr>
        <p:spPr>
          <a:xfrm>
            <a:off x="470103" y="3580030"/>
            <a:ext cx="228600" cy="276999"/>
          </a:xfrm>
          <a:prstGeom prst="rect">
            <a:avLst/>
          </a:prstGeom>
          <a:noFill/>
        </p:spPr>
        <p:txBody>
          <a:bodyPr wrap="square" rtlCol="0">
            <a:spAutoFit/>
          </a:bodyPr>
          <a:lstStyle/>
          <a:p>
            <a:r>
              <a:rPr lang="en-GB" dirty="0"/>
              <a:t>2</a:t>
            </a:r>
          </a:p>
        </p:txBody>
      </p:sp>
      <p:sp>
        <p:nvSpPr>
          <p:cNvPr id="127" name="Textfeld 126"/>
          <p:cNvSpPr txBox="1"/>
          <p:nvPr/>
        </p:nvSpPr>
        <p:spPr>
          <a:xfrm>
            <a:off x="5520462" y="3991544"/>
            <a:ext cx="228600" cy="276999"/>
          </a:xfrm>
          <a:prstGeom prst="rect">
            <a:avLst/>
          </a:prstGeom>
          <a:noFill/>
        </p:spPr>
        <p:txBody>
          <a:bodyPr wrap="square" rtlCol="0">
            <a:spAutoFit/>
          </a:bodyPr>
          <a:lstStyle/>
          <a:p>
            <a:r>
              <a:rPr lang="en-GB" dirty="0"/>
              <a:t>3</a:t>
            </a:r>
          </a:p>
        </p:txBody>
      </p:sp>
    </p:spTree>
    <p:extLst>
      <p:ext uri="{BB962C8B-B14F-4D97-AF65-F5344CB8AC3E}">
        <p14:creationId xmlns:p14="http://schemas.microsoft.com/office/powerpoint/2010/main" val="14844755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4cZavlTx0SHAxLRzs3HG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ayE7XHHqkG8SSDJxNgT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QpOufJx6UeQvei8MM1h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3zZMT8SZKkOLsWgG7CPqI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kahBOJtO0mpC97DCCKHl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p3wpTuS9k6zXH2zmkPAc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DpsVe95rUCd7nOXvt70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97u0F2dBzU6IZ3sK.IjRg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WRmR7e1sEqA0ASmRnoKl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09xyIzMVk2E17Zr1m6MD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ixlMrjyXkmAL00Ih5a1_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4qShYDpB0SmiF0IBfIO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5Tntfvt6rkivNo5ch4Eo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YuvX7LNY0uaeas.BzmFw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KPoEuQhSUKcagBDMztT8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ad9jGWaJEOhAdI0CzDQa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OdmE3V9xEupV5JiG0fN7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Fph9Txccku1w.8CSMH.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kXnHCZ.TEW643HBCGxt3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9eYRbtCH0eG5gSzKPUw3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nhUrIjr6kqbdkRoCa2n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v.5df4221UWAurKvXJ4O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XiF_fTiVEmFj8MWFZTBjA"/>
</p:tagLst>
</file>

<file path=ppt/tags/tag30.xml><?xml version="1.0" encoding="utf-8"?>
<p:tagLst xmlns:a="http://schemas.openxmlformats.org/drawingml/2006/main" xmlns:r="http://schemas.openxmlformats.org/officeDocument/2006/relationships" xmlns:p="http://schemas.openxmlformats.org/presentationml/2006/main">
  <p:tag name="RESIZE" val="Yes"/>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h5IGcp1bUu0V3lW2CQwSg"/>
</p:tagLst>
</file>

<file path=ppt/tags/tag32.xml><?xml version="1.0" encoding="utf-8"?>
<p:tagLst xmlns:a="http://schemas.openxmlformats.org/drawingml/2006/main" xmlns:r="http://schemas.openxmlformats.org/officeDocument/2006/relationships" xmlns:p="http://schemas.openxmlformats.org/presentationml/2006/main">
  <p:tag name="MTTABLE" val="Cell"/>
  <p:tag name="MTNUMBER" val="0.27504091443263"/>
  <p:tag name="LEFT" val="238.9167"/>
  <p:tag name="WIDTH" val="219.5417"/>
  <p:tag name="HEIGHT" val="19.38748"/>
  <p:tag name="TOP" val="80"/>
</p:tagLst>
</file>

<file path=ppt/tags/tag33.xml><?xml version="1.0" encoding="utf-8"?>
<p:tagLst xmlns:a="http://schemas.openxmlformats.org/drawingml/2006/main" xmlns:r="http://schemas.openxmlformats.org/officeDocument/2006/relationships" xmlns:p="http://schemas.openxmlformats.org/presentationml/2006/main">
  <p:tag name="MTTABLE" val="Cell"/>
  <p:tag name="MTNUMBER" val="0.27504091443263"/>
  <p:tag name="LEFT" val="238.9167"/>
  <p:tag name="WIDTH" val="219.5417"/>
  <p:tag name="HEIGHT" val="19.38748"/>
  <p:tag name="TOP" val="80"/>
</p:tagLst>
</file>

<file path=ppt/tags/tag34.xml><?xml version="1.0" encoding="utf-8"?>
<p:tagLst xmlns:a="http://schemas.openxmlformats.org/drawingml/2006/main" xmlns:r="http://schemas.openxmlformats.org/officeDocument/2006/relationships" xmlns:p="http://schemas.openxmlformats.org/presentationml/2006/main">
  <p:tag name="MTTABLE" val="Cell"/>
  <p:tag name="MTNUMBER" val="0.27504091443263"/>
  <p:tag name="LEFT" val="238.9167"/>
  <p:tag name="WIDTH" val="219.5417"/>
  <p:tag name="HEIGHT" val="19.38748"/>
  <p:tag name="TOP" val="80"/>
</p:tagLst>
</file>

<file path=ppt/tags/tag35.xml><?xml version="1.0" encoding="utf-8"?>
<p:tagLst xmlns:a="http://schemas.openxmlformats.org/drawingml/2006/main" xmlns:r="http://schemas.openxmlformats.org/officeDocument/2006/relationships" xmlns:p="http://schemas.openxmlformats.org/presentationml/2006/main">
  <p:tag name="RESIZE" val="Yes"/>
</p:tagLst>
</file>

<file path=ppt/tags/tag36.xml><?xml version="1.0" encoding="utf-8"?>
<p:tagLst xmlns:a="http://schemas.openxmlformats.org/drawingml/2006/main" xmlns:r="http://schemas.openxmlformats.org/officeDocument/2006/relationships" xmlns:p="http://schemas.openxmlformats.org/presentationml/2006/main">
  <p:tag name="MTTABLE" val="Cell"/>
  <p:tag name="MTNUMBER" val="0.27504091443263"/>
  <p:tag name="LEFT" val="238.9167"/>
  <p:tag name="WIDTH" val="219.5417"/>
  <p:tag name="HEIGHT" val="19.38748"/>
  <p:tag name="TOP" val="80"/>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xCo88peo0qZJEiHWSKOdw"/>
</p:tagLst>
</file>

<file path=ppt/tags/tag38.xml><?xml version="1.0" encoding="utf-8"?>
<p:tagLst xmlns:a="http://schemas.openxmlformats.org/drawingml/2006/main" xmlns:r="http://schemas.openxmlformats.org/officeDocument/2006/relationships" xmlns:p="http://schemas.openxmlformats.org/presentationml/2006/main">
  <p:tag name="RESIZE" val="Yes"/>
</p:tagLst>
</file>

<file path=ppt/tags/tag39.xml><?xml version="1.0" encoding="utf-8"?>
<p:tagLst xmlns:a="http://schemas.openxmlformats.org/drawingml/2006/main" xmlns:r="http://schemas.openxmlformats.org/officeDocument/2006/relationships" xmlns:p="http://schemas.openxmlformats.org/presentationml/2006/main">
  <p:tag name="MTTABLE" val="Cell"/>
  <p:tag name="MTNUMBER" val="0.27504091443263"/>
  <p:tag name="LEFT" val="9.375039"/>
  <p:tag name="WIDTH" val="219.5417"/>
  <p:tag name="HEIGHT" val="19.38748"/>
  <p:tag name="TOP" val="8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9t3oLt9NUi.O6vKjKZLqA"/>
</p:tagLst>
</file>

<file path=ppt/tags/tag40.xml><?xml version="1.0" encoding="utf-8"?>
<p:tagLst xmlns:a="http://schemas.openxmlformats.org/drawingml/2006/main" xmlns:r="http://schemas.openxmlformats.org/officeDocument/2006/relationships" xmlns:p="http://schemas.openxmlformats.org/presentationml/2006/main">
  <p:tag name="MTTABLE" val="Cell"/>
  <p:tag name="MTNUMBER" val="0.27504091443263"/>
  <p:tag name="LEFT" val="238.9167"/>
  <p:tag name="WIDTH" val="219.5417"/>
  <p:tag name="HEIGHT" val="19.38748"/>
  <p:tag name="TOP" val="80"/>
</p:tagLst>
</file>

<file path=ppt/tags/tag41.xml><?xml version="1.0" encoding="utf-8"?>
<p:tagLst xmlns:a="http://schemas.openxmlformats.org/drawingml/2006/main" xmlns:r="http://schemas.openxmlformats.org/officeDocument/2006/relationships" xmlns:p="http://schemas.openxmlformats.org/presentationml/2006/main">
  <p:tag name="MTTABLE" val="Cell"/>
  <p:tag name="MTNUMBER" val="0.27504091443263"/>
  <p:tag name="LEFT" val="238.9167"/>
  <p:tag name="WIDTH" val="219.5417"/>
  <p:tag name="HEIGHT" val="19.38748"/>
  <p:tag name="TOP" val="80"/>
</p:tagLst>
</file>

<file path=ppt/tags/tag42.xml><?xml version="1.0" encoding="utf-8"?>
<p:tagLst xmlns:a="http://schemas.openxmlformats.org/drawingml/2006/main" xmlns:r="http://schemas.openxmlformats.org/officeDocument/2006/relationships" xmlns:p="http://schemas.openxmlformats.org/presentationml/2006/main">
  <p:tag name="MTTABLE" val="Cell"/>
  <p:tag name="MTNUMBER" val="0.27504091443263"/>
  <p:tag name="LEFT" val="238.9167"/>
  <p:tag name="WIDTH" val="219.5417"/>
  <p:tag name="HEIGHT" val="19.38748"/>
  <p:tag name="TOP" val="80"/>
</p:tagLst>
</file>

<file path=ppt/tags/tag43.xml><?xml version="1.0" encoding="utf-8"?>
<p:tagLst xmlns:a="http://schemas.openxmlformats.org/drawingml/2006/main" xmlns:r="http://schemas.openxmlformats.org/officeDocument/2006/relationships" xmlns:p="http://schemas.openxmlformats.org/presentationml/2006/main">
  <p:tag name="RESIZE" val="Yes"/>
  <p:tag name="THINKCELLSHAPEDONOTDELETE" val="pD3pZ2ACnFkSBfBaPbjyxow"/>
</p:tagLst>
</file>

<file path=ppt/tags/tag44.xml><?xml version="1.0" encoding="utf-8"?>
<p:tagLst xmlns:a="http://schemas.openxmlformats.org/drawingml/2006/main" xmlns:r="http://schemas.openxmlformats.org/officeDocument/2006/relationships" xmlns:p="http://schemas.openxmlformats.org/presentationml/2006/main">
  <p:tag name="RESIZE" val="Yes"/>
  <p:tag name="THINKCELLSHAPEDONOTDELETE" val="pD3pZ2ACnFkSBfBaPbjyxow"/>
</p:tagLst>
</file>

<file path=ppt/tags/tag45.xml><?xml version="1.0" encoding="utf-8"?>
<p:tagLst xmlns:a="http://schemas.openxmlformats.org/drawingml/2006/main" xmlns:r="http://schemas.openxmlformats.org/officeDocument/2006/relationships" xmlns:p="http://schemas.openxmlformats.org/presentationml/2006/main">
  <p:tag name="RESIZE" val="Yes"/>
</p:tagLst>
</file>

<file path=ppt/tags/tag46.xml><?xml version="1.0" encoding="utf-8"?>
<p:tagLst xmlns:a="http://schemas.openxmlformats.org/drawingml/2006/main" xmlns:r="http://schemas.openxmlformats.org/officeDocument/2006/relationships" xmlns:p="http://schemas.openxmlformats.org/presentationml/2006/main">
  <p:tag name="NAME" val="SingleBoatText"/>
</p:tagLst>
</file>

<file path=ppt/tags/tag5.xml><?xml version="1.0" encoding="utf-8"?>
<p:tagLst xmlns:a="http://schemas.openxmlformats.org/drawingml/2006/main" xmlns:r="http://schemas.openxmlformats.org/officeDocument/2006/relationships" xmlns:p="http://schemas.openxmlformats.org/presentationml/2006/main">
  <p:tag name="RESIZE" val="Yes"/>
</p:tagLst>
</file>

<file path=ppt/tags/tag6.xml><?xml version="1.0" encoding="utf-8"?>
<p:tagLst xmlns:a="http://schemas.openxmlformats.org/drawingml/2006/main" xmlns:r="http://schemas.openxmlformats.org/officeDocument/2006/relationships" xmlns:p="http://schemas.openxmlformats.org/presentationml/2006/main">
  <p:tag name="RESIZE" val="Ye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X.K6sXqL0CYeEhZMmvQ4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wUMzbxibU26D4MzuKWuq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UKKTT_MNkuiOJHwJ3LMAQ"/>
</p:tagLst>
</file>

<file path=ppt/theme/theme1.xml><?xml version="1.0" encoding="utf-8"?>
<a:theme xmlns:a="http://schemas.openxmlformats.org/drawingml/2006/main" name="_1_Referenzpräsentation_deutsch_2013">
  <a:themeElements>
    <a:clrScheme name="Acatis_Präsentationsvorlage 15">
      <a:dk1>
        <a:srgbClr val="000000"/>
      </a:dk1>
      <a:lt1>
        <a:srgbClr val="FFFFFF"/>
      </a:lt1>
      <a:dk2>
        <a:srgbClr val="000000"/>
      </a:dk2>
      <a:lt2>
        <a:srgbClr val="808080"/>
      </a:lt2>
      <a:accent1>
        <a:srgbClr val="EDEFF4"/>
      </a:accent1>
      <a:accent2>
        <a:srgbClr val="7A929D"/>
      </a:accent2>
      <a:accent3>
        <a:srgbClr val="FFFFFF"/>
      </a:accent3>
      <a:accent4>
        <a:srgbClr val="000000"/>
      </a:accent4>
      <a:accent5>
        <a:srgbClr val="F4F6F8"/>
      </a:accent5>
      <a:accent6>
        <a:srgbClr val="6E848E"/>
      </a:accent6>
      <a:hlink>
        <a:srgbClr val="009999"/>
      </a:hlink>
      <a:folHlink>
        <a:srgbClr val="99CC00"/>
      </a:folHlink>
    </a:clrScheme>
    <a:fontScheme name="Acatis_Präsentationsvorlage">
      <a:majorFont>
        <a:latin typeface="Gill Sans MT Light"/>
        <a:ea typeface=""/>
        <a:cs typeface=""/>
      </a:majorFont>
      <a:minorFont>
        <a:latin typeface="Gill Sans MT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Gill Sans MT Light"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Gill Sans MT Light" pitchFamily="34" charset="0"/>
          </a:defRPr>
        </a:defPPr>
      </a:lstStyle>
    </a:lnDef>
  </a:objectDefaults>
  <a:extraClrSchemeLst>
    <a:extraClrScheme>
      <a:clrScheme name="Acatis_Präsentationsvorlag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catis_Präsentationsvorlag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Acatis_Präsentationsvorlag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Acatis_Präsentationsvorlag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Acatis_Präsentationsvorlag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Acatis_Präsentationsvorlag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Acatis_Präsentationsvorlag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Acatis_Präsentationsvorlag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Acatis_Präsentationsvorlag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Acatis_Präsentationsvorlag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Acatis_Präsentationsvorlag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Acatis_Präsentationsvorlag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Acatis_Präsentationsvorlage 13">
        <a:dk1>
          <a:srgbClr val="000000"/>
        </a:dk1>
        <a:lt1>
          <a:srgbClr val="FFFFFF"/>
        </a:lt1>
        <a:dk2>
          <a:srgbClr val="000000"/>
        </a:dk2>
        <a:lt2>
          <a:srgbClr val="808080"/>
        </a:lt2>
        <a:accent1>
          <a:srgbClr val="CCECFF"/>
        </a:accent1>
        <a:accent2>
          <a:srgbClr val="333399"/>
        </a:accent2>
        <a:accent3>
          <a:srgbClr val="FFFFFF"/>
        </a:accent3>
        <a:accent4>
          <a:srgbClr val="000000"/>
        </a:accent4>
        <a:accent5>
          <a:srgbClr val="E2F4F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catis_Präsentationsvorlage 14">
        <a:dk1>
          <a:srgbClr val="000000"/>
        </a:dk1>
        <a:lt1>
          <a:srgbClr val="FFFFFF"/>
        </a:lt1>
        <a:dk2>
          <a:srgbClr val="000000"/>
        </a:dk2>
        <a:lt2>
          <a:srgbClr val="808080"/>
        </a:lt2>
        <a:accent1>
          <a:srgbClr val="CCECFF"/>
        </a:accent1>
        <a:accent2>
          <a:srgbClr val="99CCFF"/>
        </a:accent2>
        <a:accent3>
          <a:srgbClr val="FFFFFF"/>
        </a:accent3>
        <a:accent4>
          <a:srgbClr val="000000"/>
        </a:accent4>
        <a:accent5>
          <a:srgbClr val="E2F4FF"/>
        </a:accent5>
        <a:accent6>
          <a:srgbClr val="8AB9E7"/>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catis_Präsentationsvorlage 15">
        <a:dk1>
          <a:srgbClr val="000000"/>
        </a:dk1>
        <a:lt1>
          <a:srgbClr val="FFFFFF"/>
        </a:lt1>
        <a:dk2>
          <a:srgbClr val="000000"/>
        </a:dk2>
        <a:lt2>
          <a:srgbClr val="808080"/>
        </a:lt2>
        <a:accent1>
          <a:srgbClr val="EDEFF4"/>
        </a:accent1>
        <a:accent2>
          <a:srgbClr val="7A929D"/>
        </a:accent2>
        <a:accent3>
          <a:srgbClr val="FFFFFF"/>
        </a:accent3>
        <a:accent4>
          <a:srgbClr val="000000"/>
        </a:accent4>
        <a:accent5>
          <a:srgbClr val="F4F6F8"/>
        </a:accent5>
        <a:accent6>
          <a:srgbClr val="6E848E"/>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4_Acatis_Präsentationsvorlage">
  <a:themeElements>
    <a:clrScheme name="Acatis_Präsentationsvorlage 15">
      <a:dk1>
        <a:srgbClr val="000000"/>
      </a:dk1>
      <a:lt1>
        <a:srgbClr val="FFFFFF"/>
      </a:lt1>
      <a:dk2>
        <a:srgbClr val="000000"/>
      </a:dk2>
      <a:lt2>
        <a:srgbClr val="808080"/>
      </a:lt2>
      <a:accent1>
        <a:srgbClr val="EDEFF4"/>
      </a:accent1>
      <a:accent2>
        <a:srgbClr val="7A929D"/>
      </a:accent2>
      <a:accent3>
        <a:srgbClr val="FFFFFF"/>
      </a:accent3>
      <a:accent4>
        <a:srgbClr val="000000"/>
      </a:accent4>
      <a:accent5>
        <a:srgbClr val="F4F6F8"/>
      </a:accent5>
      <a:accent6>
        <a:srgbClr val="6E848E"/>
      </a:accent6>
      <a:hlink>
        <a:srgbClr val="009999"/>
      </a:hlink>
      <a:folHlink>
        <a:srgbClr val="99CC00"/>
      </a:folHlink>
    </a:clrScheme>
    <a:fontScheme name="Acatis_Präsentationsvorlage">
      <a:majorFont>
        <a:latin typeface="Gill Sans MT Light"/>
        <a:ea typeface=""/>
        <a:cs typeface=""/>
      </a:majorFont>
      <a:minorFont>
        <a:latin typeface="Gill Sans MT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Gill Sans MT Light"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Gill Sans MT Light" pitchFamily="34" charset="0"/>
          </a:defRPr>
        </a:defPPr>
      </a:lstStyle>
    </a:lnDef>
  </a:objectDefaults>
  <a:extraClrSchemeLst>
    <a:extraClrScheme>
      <a:clrScheme name="Acatis_Präsentationsvorlag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catis_Präsentationsvorlag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Acatis_Präsentationsvorlag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Acatis_Präsentationsvorlag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Acatis_Präsentationsvorlag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Acatis_Präsentationsvorlag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Acatis_Präsentationsvorlag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Acatis_Präsentationsvorlag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Acatis_Präsentationsvorlag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Acatis_Präsentationsvorlag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Acatis_Präsentationsvorlag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Acatis_Präsentationsvorlag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Acatis_Präsentationsvorlage 13">
        <a:dk1>
          <a:srgbClr val="000000"/>
        </a:dk1>
        <a:lt1>
          <a:srgbClr val="FFFFFF"/>
        </a:lt1>
        <a:dk2>
          <a:srgbClr val="000000"/>
        </a:dk2>
        <a:lt2>
          <a:srgbClr val="808080"/>
        </a:lt2>
        <a:accent1>
          <a:srgbClr val="CCECFF"/>
        </a:accent1>
        <a:accent2>
          <a:srgbClr val="333399"/>
        </a:accent2>
        <a:accent3>
          <a:srgbClr val="FFFFFF"/>
        </a:accent3>
        <a:accent4>
          <a:srgbClr val="000000"/>
        </a:accent4>
        <a:accent5>
          <a:srgbClr val="E2F4F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catis_Präsentationsvorlage 14">
        <a:dk1>
          <a:srgbClr val="000000"/>
        </a:dk1>
        <a:lt1>
          <a:srgbClr val="FFFFFF"/>
        </a:lt1>
        <a:dk2>
          <a:srgbClr val="000000"/>
        </a:dk2>
        <a:lt2>
          <a:srgbClr val="808080"/>
        </a:lt2>
        <a:accent1>
          <a:srgbClr val="CCECFF"/>
        </a:accent1>
        <a:accent2>
          <a:srgbClr val="99CCFF"/>
        </a:accent2>
        <a:accent3>
          <a:srgbClr val="FFFFFF"/>
        </a:accent3>
        <a:accent4>
          <a:srgbClr val="000000"/>
        </a:accent4>
        <a:accent5>
          <a:srgbClr val="E2F4FF"/>
        </a:accent5>
        <a:accent6>
          <a:srgbClr val="8AB9E7"/>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catis_Präsentationsvorlage 15">
        <a:dk1>
          <a:srgbClr val="000000"/>
        </a:dk1>
        <a:lt1>
          <a:srgbClr val="FFFFFF"/>
        </a:lt1>
        <a:dk2>
          <a:srgbClr val="000000"/>
        </a:dk2>
        <a:lt2>
          <a:srgbClr val="808080"/>
        </a:lt2>
        <a:accent1>
          <a:srgbClr val="EDEFF4"/>
        </a:accent1>
        <a:accent2>
          <a:srgbClr val="7A929D"/>
        </a:accent2>
        <a:accent3>
          <a:srgbClr val="FFFFFF"/>
        </a:accent3>
        <a:accent4>
          <a:srgbClr val="000000"/>
        </a:accent4>
        <a:accent5>
          <a:srgbClr val="F4F6F8"/>
        </a:accent5>
        <a:accent6>
          <a:srgbClr val="6E848E"/>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Lariss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a:themeElements>
    <a:clrScheme name="">
      <a:dk1>
        <a:srgbClr val="000000"/>
      </a:dk1>
      <a:lt1>
        <a:srgbClr val="FFFFFF"/>
      </a:lt1>
      <a:dk2>
        <a:srgbClr val="000000"/>
      </a:dk2>
      <a:lt2>
        <a:srgbClr val="808080"/>
      </a:lt2>
      <a:accent1>
        <a:srgbClr val="EDEFF4"/>
      </a:accent1>
      <a:accent2>
        <a:srgbClr val="7A929D"/>
      </a:accent2>
      <a:accent3>
        <a:srgbClr val="FFFFFF"/>
      </a:accent3>
      <a:accent4>
        <a:srgbClr val="000000"/>
      </a:accent4>
      <a:accent5>
        <a:srgbClr val="F4F6F8"/>
      </a:accent5>
      <a:accent6>
        <a:srgbClr val="6E848E"/>
      </a:accent6>
      <a:hlink>
        <a:srgbClr val="009999"/>
      </a:hlink>
      <a:folHlink>
        <a:srgbClr val="99CC00"/>
      </a:folHlink>
    </a:clrScheme>
    <a:fontScheme name="blank">
      <a:majorFont>
        <a:latin typeface="Gill Sans MT Light"/>
        <a:ea typeface=""/>
        <a:cs typeface=""/>
      </a:majorFont>
      <a:minorFont>
        <a:latin typeface="Gill Sans MT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Gill Sans MT Light"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Gill Sans MT Light" pitchFamily="34" charset="0"/>
          </a:defRPr>
        </a:defPPr>
      </a:lstStyle>
    </a:lnDef>
  </a:objectDefaults>
  <a:extraClrSchemeLst>
    <a:extraClrScheme>
      <a:clrScheme name="blank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Acatis_Präsentationsvorlage">
  <a:themeElements>
    <a:clrScheme name="Acatis_Präsentationsvorlage 15">
      <a:dk1>
        <a:srgbClr val="000000"/>
      </a:dk1>
      <a:lt1>
        <a:srgbClr val="FFFFFF"/>
      </a:lt1>
      <a:dk2>
        <a:srgbClr val="000000"/>
      </a:dk2>
      <a:lt2>
        <a:srgbClr val="808080"/>
      </a:lt2>
      <a:accent1>
        <a:srgbClr val="EDEFF4"/>
      </a:accent1>
      <a:accent2>
        <a:srgbClr val="7A929D"/>
      </a:accent2>
      <a:accent3>
        <a:srgbClr val="FFFFFF"/>
      </a:accent3>
      <a:accent4>
        <a:srgbClr val="000000"/>
      </a:accent4>
      <a:accent5>
        <a:srgbClr val="F4F6F8"/>
      </a:accent5>
      <a:accent6>
        <a:srgbClr val="6E848E"/>
      </a:accent6>
      <a:hlink>
        <a:srgbClr val="009999"/>
      </a:hlink>
      <a:folHlink>
        <a:srgbClr val="99CC00"/>
      </a:folHlink>
    </a:clrScheme>
    <a:fontScheme name="Acatis_Präsentationsvorlage">
      <a:majorFont>
        <a:latin typeface="Gill Sans MT Light"/>
        <a:ea typeface=""/>
        <a:cs typeface=""/>
      </a:majorFont>
      <a:minorFont>
        <a:latin typeface="Gill Sans MT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Gill Sans MT Light"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Gill Sans MT Light" pitchFamily="34" charset="0"/>
          </a:defRPr>
        </a:defPPr>
      </a:lstStyle>
    </a:lnDef>
  </a:objectDefaults>
  <a:extraClrSchemeLst>
    <a:extraClrScheme>
      <a:clrScheme name="Acatis_Präsentationsvorlag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catis_Präsentationsvorlag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Acatis_Präsentationsvorlag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Acatis_Präsentationsvorlag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Acatis_Präsentationsvorlag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Acatis_Präsentationsvorlag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Acatis_Präsentationsvorlag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Acatis_Präsentationsvorlag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Acatis_Präsentationsvorlag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Acatis_Präsentationsvorlag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Acatis_Präsentationsvorlag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Acatis_Präsentationsvorlag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Acatis_Präsentationsvorlage 13">
        <a:dk1>
          <a:srgbClr val="000000"/>
        </a:dk1>
        <a:lt1>
          <a:srgbClr val="FFFFFF"/>
        </a:lt1>
        <a:dk2>
          <a:srgbClr val="000000"/>
        </a:dk2>
        <a:lt2>
          <a:srgbClr val="808080"/>
        </a:lt2>
        <a:accent1>
          <a:srgbClr val="CCECFF"/>
        </a:accent1>
        <a:accent2>
          <a:srgbClr val="333399"/>
        </a:accent2>
        <a:accent3>
          <a:srgbClr val="FFFFFF"/>
        </a:accent3>
        <a:accent4>
          <a:srgbClr val="000000"/>
        </a:accent4>
        <a:accent5>
          <a:srgbClr val="E2F4F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catis_Präsentationsvorlage 14">
        <a:dk1>
          <a:srgbClr val="000000"/>
        </a:dk1>
        <a:lt1>
          <a:srgbClr val="FFFFFF"/>
        </a:lt1>
        <a:dk2>
          <a:srgbClr val="000000"/>
        </a:dk2>
        <a:lt2>
          <a:srgbClr val="808080"/>
        </a:lt2>
        <a:accent1>
          <a:srgbClr val="CCECFF"/>
        </a:accent1>
        <a:accent2>
          <a:srgbClr val="99CCFF"/>
        </a:accent2>
        <a:accent3>
          <a:srgbClr val="FFFFFF"/>
        </a:accent3>
        <a:accent4>
          <a:srgbClr val="000000"/>
        </a:accent4>
        <a:accent5>
          <a:srgbClr val="E2F4FF"/>
        </a:accent5>
        <a:accent6>
          <a:srgbClr val="8AB9E7"/>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catis_Präsentationsvorlage 15">
        <a:dk1>
          <a:srgbClr val="000000"/>
        </a:dk1>
        <a:lt1>
          <a:srgbClr val="FFFFFF"/>
        </a:lt1>
        <a:dk2>
          <a:srgbClr val="000000"/>
        </a:dk2>
        <a:lt2>
          <a:srgbClr val="808080"/>
        </a:lt2>
        <a:accent1>
          <a:srgbClr val="EDEFF4"/>
        </a:accent1>
        <a:accent2>
          <a:srgbClr val="7A929D"/>
        </a:accent2>
        <a:accent3>
          <a:srgbClr val="FFFFFF"/>
        </a:accent3>
        <a:accent4>
          <a:srgbClr val="000000"/>
        </a:accent4>
        <a:accent5>
          <a:srgbClr val="F4F6F8"/>
        </a:accent5>
        <a:accent6>
          <a:srgbClr val="6E848E"/>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Acatis_Präsentationsvorlage">
  <a:themeElements>
    <a:clrScheme name="Acatis_Präsentationsvorlage 15">
      <a:dk1>
        <a:srgbClr val="000000"/>
      </a:dk1>
      <a:lt1>
        <a:srgbClr val="FFFFFF"/>
      </a:lt1>
      <a:dk2>
        <a:srgbClr val="000000"/>
      </a:dk2>
      <a:lt2>
        <a:srgbClr val="808080"/>
      </a:lt2>
      <a:accent1>
        <a:srgbClr val="EDEFF4"/>
      </a:accent1>
      <a:accent2>
        <a:srgbClr val="7A929D"/>
      </a:accent2>
      <a:accent3>
        <a:srgbClr val="FFFFFF"/>
      </a:accent3>
      <a:accent4>
        <a:srgbClr val="000000"/>
      </a:accent4>
      <a:accent5>
        <a:srgbClr val="F4F6F8"/>
      </a:accent5>
      <a:accent6>
        <a:srgbClr val="6E848E"/>
      </a:accent6>
      <a:hlink>
        <a:srgbClr val="009999"/>
      </a:hlink>
      <a:folHlink>
        <a:srgbClr val="99CC00"/>
      </a:folHlink>
    </a:clrScheme>
    <a:fontScheme name="Acatis_Präsentationsvorlage">
      <a:majorFont>
        <a:latin typeface="Gill Sans MT Light"/>
        <a:ea typeface=""/>
        <a:cs typeface=""/>
      </a:majorFont>
      <a:minorFont>
        <a:latin typeface="Gill Sans MT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Gill Sans MT Light"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Gill Sans MT Light" pitchFamily="34" charset="0"/>
          </a:defRPr>
        </a:defPPr>
      </a:lstStyle>
    </a:lnDef>
  </a:objectDefaults>
  <a:extraClrSchemeLst>
    <a:extraClrScheme>
      <a:clrScheme name="Acatis_Präsentationsvorlag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catis_Präsentationsvorlag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Acatis_Präsentationsvorlag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Acatis_Präsentationsvorlag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Acatis_Präsentationsvorlag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Acatis_Präsentationsvorlag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Acatis_Präsentationsvorlag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Acatis_Präsentationsvorlag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Acatis_Präsentationsvorlag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Acatis_Präsentationsvorlag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Acatis_Präsentationsvorlag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Acatis_Präsentationsvorlag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Acatis_Präsentationsvorlage 13">
        <a:dk1>
          <a:srgbClr val="000000"/>
        </a:dk1>
        <a:lt1>
          <a:srgbClr val="FFFFFF"/>
        </a:lt1>
        <a:dk2>
          <a:srgbClr val="000000"/>
        </a:dk2>
        <a:lt2>
          <a:srgbClr val="808080"/>
        </a:lt2>
        <a:accent1>
          <a:srgbClr val="CCECFF"/>
        </a:accent1>
        <a:accent2>
          <a:srgbClr val="333399"/>
        </a:accent2>
        <a:accent3>
          <a:srgbClr val="FFFFFF"/>
        </a:accent3>
        <a:accent4>
          <a:srgbClr val="000000"/>
        </a:accent4>
        <a:accent5>
          <a:srgbClr val="E2F4F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catis_Präsentationsvorlage 14">
        <a:dk1>
          <a:srgbClr val="000000"/>
        </a:dk1>
        <a:lt1>
          <a:srgbClr val="FFFFFF"/>
        </a:lt1>
        <a:dk2>
          <a:srgbClr val="000000"/>
        </a:dk2>
        <a:lt2>
          <a:srgbClr val="808080"/>
        </a:lt2>
        <a:accent1>
          <a:srgbClr val="CCECFF"/>
        </a:accent1>
        <a:accent2>
          <a:srgbClr val="99CCFF"/>
        </a:accent2>
        <a:accent3>
          <a:srgbClr val="FFFFFF"/>
        </a:accent3>
        <a:accent4>
          <a:srgbClr val="000000"/>
        </a:accent4>
        <a:accent5>
          <a:srgbClr val="E2F4FF"/>
        </a:accent5>
        <a:accent6>
          <a:srgbClr val="8AB9E7"/>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catis_Präsentationsvorlage 15">
        <a:dk1>
          <a:srgbClr val="000000"/>
        </a:dk1>
        <a:lt1>
          <a:srgbClr val="FFFFFF"/>
        </a:lt1>
        <a:dk2>
          <a:srgbClr val="000000"/>
        </a:dk2>
        <a:lt2>
          <a:srgbClr val="808080"/>
        </a:lt2>
        <a:accent1>
          <a:srgbClr val="EDEFF4"/>
        </a:accent1>
        <a:accent2>
          <a:srgbClr val="7A929D"/>
        </a:accent2>
        <a:accent3>
          <a:srgbClr val="FFFFFF"/>
        </a:accent3>
        <a:accent4>
          <a:srgbClr val="000000"/>
        </a:accent4>
        <a:accent5>
          <a:srgbClr val="F4F6F8"/>
        </a:accent5>
        <a:accent6>
          <a:srgbClr val="6E848E"/>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_1_Referenzpräsentation_deutsch_2013">
  <a:themeElements>
    <a:clrScheme name="Acatis_Präsentationsvorlage 15">
      <a:dk1>
        <a:srgbClr val="000000"/>
      </a:dk1>
      <a:lt1>
        <a:srgbClr val="FFFFFF"/>
      </a:lt1>
      <a:dk2>
        <a:srgbClr val="000000"/>
      </a:dk2>
      <a:lt2>
        <a:srgbClr val="808080"/>
      </a:lt2>
      <a:accent1>
        <a:srgbClr val="EDEFF4"/>
      </a:accent1>
      <a:accent2>
        <a:srgbClr val="7A929D"/>
      </a:accent2>
      <a:accent3>
        <a:srgbClr val="FFFFFF"/>
      </a:accent3>
      <a:accent4>
        <a:srgbClr val="000000"/>
      </a:accent4>
      <a:accent5>
        <a:srgbClr val="F4F6F8"/>
      </a:accent5>
      <a:accent6>
        <a:srgbClr val="6E848E"/>
      </a:accent6>
      <a:hlink>
        <a:srgbClr val="009999"/>
      </a:hlink>
      <a:folHlink>
        <a:srgbClr val="99CC00"/>
      </a:folHlink>
    </a:clrScheme>
    <a:fontScheme name="Acatis_Präsentationsvorlage">
      <a:majorFont>
        <a:latin typeface="Gill Sans MT Light"/>
        <a:ea typeface=""/>
        <a:cs typeface=""/>
      </a:majorFont>
      <a:minorFont>
        <a:latin typeface="Gill Sans MT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Gill Sans MT Light"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Gill Sans MT Light" pitchFamily="34" charset="0"/>
          </a:defRPr>
        </a:defPPr>
      </a:lstStyle>
    </a:lnDef>
  </a:objectDefaults>
  <a:extraClrSchemeLst>
    <a:extraClrScheme>
      <a:clrScheme name="Acatis_Präsentationsvorlag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catis_Präsentationsvorlag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Acatis_Präsentationsvorlag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Acatis_Präsentationsvorlag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Acatis_Präsentationsvorlag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Acatis_Präsentationsvorlag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Acatis_Präsentationsvorlag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Acatis_Präsentationsvorlag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Acatis_Präsentationsvorlag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Acatis_Präsentationsvorlag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Acatis_Präsentationsvorlag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Acatis_Präsentationsvorlag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Acatis_Präsentationsvorlage 13">
        <a:dk1>
          <a:srgbClr val="000000"/>
        </a:dk1>
        <a:lt1>
          <a:srgbClr val="FFFFFF"/>
        </a:lt1>
        <a:dk2>
          <a:srgbClr val="000000"/>
        </a:dk2>
        <a:lt2>
          <a:srgbClr val="808080"/>
        </a:lt2>
        <a:accent1>
          <a:srgbClr val="CCECFF"/>
        </a:accent1>
        <a:accent2>
          <a:srgbClr val="333399"/>
        </a:accent2>
        <a:accent3>
          <a:srgbClr val="FFFFFF"/>
        </a:accent3>
        <a:accent4>
          <a:srgbClr val="000000"/>
        </a:accent4>
        <a:accent5>
          <a:srgbClr val="E2F4F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catis_Präsentationsvorlage 14">
        <a:dk1>
          <a:srgbClr val="000000"/>
        </a:dk1>
        <a:lt1>
          <a:srgbClr val="FFFFFF"/>
        </a:lt1>
        <a:dk2>
          <a:srgbClr val="000000"/>
        </a:dk2>
        <a:lt2>
          <a:srgbClr val="808080"/>
        </a:lt2>
        <a:accent1>
          <a:srgbClr val="CCECFF"/>
        </a:accent1>
        <a:accent2>
          <a:srgbClr val="99CCFF"/>
        </a:accent2>
        <a:accent3>
          <a:srgbClr val="FFFFFF"/>
        </a:accent3>
        <a:accent4>
          <a:srgbClr val="000000"/>
        </a:accent4>
        <a:accent5>
          <a:srgbClr val="E2F4FF"/>
        </a:accent5>
        <a:accent6>
          <a:srgbClr val="8AB9E7"/>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catis_Präsentationsvorlage 15">
        <a:dk1>
          <a:srgbClr val="000000"/>
        </a:dk1>
        <a:lt1>
          <a:srgbClr val="FFFFFF"/>
        </a:lt1>
        <a:dk2>
          <a:srgbClr val="000000"/>
        </a:dk2>
        <a:lt2>
          <a:srgbClr val="808080"/>
        </a:lt2>
        <a:accent1>
          <a:srgbClr val="EDEFF4"/>
        </a:accent1>
        <a:accent2>
          <a:srgbClr val="7A929D"/>
        </a:accent2>
        <a:accent3>
          <a:srgbClr val="FFFFFF"/>
        </a:accent3>
        <a:accent4>
          <a:srgbClr val="000000"/>
        </a:accent4>
        <a:accent5>
          <a:srgbClr val="F4F6F8"/>
        </a:accent5>
        <a:accent6>
          <a:srgbClr val="6E848E"/>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blank">
  <a:themeElements>
    <a:clrScheme name="ACATIS">
      <a:dk1>
        <a:srgbClr val="000000"/>
      </a:dk1>
      <a:lt1>
        <a:srgbClr val="FFFFFF"/>
      </a:lt1>
      <a:dk2>
        <a:srgbClr val="000000"/>
      </a:dk2>
      <a:lt2>
        <a:srgbClr val="808080"/>
      </a:lt2>
      <a:accent1>
        <a:srgbClr val="005C99"/>
      </a:accent1>
      <a:accent2>
        <a:srgbClr val="4084B3"/>
      </a:accent2>
      <a:accent3>
        <a:srgbClr val="7FAECC"/>
      </a:accent3>
      <a:accent4>
        <a:srgbClr val="000000"/>
      </a:accent4>
      <a:accent5>
        <a:srgbClr val="AAE2CA"/>
      </a:accent5>
      <a:accent6>
        <a:srgbClr val="2D2DB9"/>
      </a:accent6>
      <a:hlink>
        <a:srgbClr val="CCCCFF"/>
      </a:hlink>
      <a:folHlink>
        <a:srgbClr val="B2B2B2"/>
      </a:folHlink>
    </a:clrScheme>
    <a:fontScheme name="blank">
      <a:majorFont>
        <a:latin typeface="Gill Sans MT Light"/>
        <a:ea typeface=""/>
        <a:cs typeface=""/>
      </a:majorFont>
      <a:minorFont>
        <a:latin typeface="Gill Sans MT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Präsentation Template">
  <a:themeElements>
    <a:clrScheme name="Acatis_Präsentationsvorlag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Acatis_Präsentationsvorlage">
      <a:majorFont>
        <a:latin typeface="Gill Sans MT Light"/>
        <a:ea typeface=""/>
        <a:cs typeface=""/>
      </a:majorFont>
      <a:minorFont>
        <a:latin typeface="Gill Sans MT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Arial" charset="0"/>
          </a:defRPr>
        </a:defPPr>
      </a:lstStyle>
    </a:lnDef>
  </a:objectDefaults>
  <a:extraClrSchemeLst>
    <a:extraClrScheme>
      <a:clrScheme name="Acatis_Präsentationsvorlag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catis_Präsentationsvorlag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Acatis_Präsentationsvorlag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Acatis_Präsentationsvorlag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Acatis_Präsentationsvorlag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Acatis_Präsentationsvorlag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Acatis_Präsentationsvorlag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Acatis_Präsentationsvorlag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Acatis_Präsentationsvorlag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Acatis_Präsentationsvorlag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Acatis_Präsentationsvorlag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Acatis_Präsentationsvorlag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_Acatis_Präsentationsvorlage">
  <a:themeElements>
    <a:clrScheme name="Acatis_Präsentationsvorlage 15">
      <a:dk1>
        <a:srgbClr val="000000"/>
      </a:dk1>
      <a:lt1>
        <a:srgbClr val="FFFFFF"/>
      </a:lt1>
      <a:dk2>
        <a:srgbClr val="000000"/>
      </a:dk2>
      <a:lt2>
        <a:srgbClr val="808080"/>
      </a:lt2>
      <a:accent1>
        <a:srgbClr val="EDEFF4"/>
      </a:accent1>
      <a:accent2>
        <a:srgbClr val="7A929D"/>
      </a:accent2>
      <a:accent3>
        <a:srgbClr val="FFFFFF"/>
      </a:accent3>
      <a:accent4>
        <a:srgbClr val="000000"/>
      </a:accent4>
      <a:accent5>
        <a:srgbClr val="F4F6F8"/>
      </a:accent5>
      <a:accent6>
        <a:srgbClr val="6E848E"/>
      </a:accent6>
      <a:hlink>
        <a:srgbClr val="009999"/>
      </a:hlink>
      <a:folHlink>
        <a:srgbClr val="99CC00"/>
      </a:folHlink>
    </a:clrScheme>
    <a:fontScheme name="Acatis_Präsentationsvorlage">
      <a:majorFont>
        <a:latin typeface="Gill Sans MT Light"/>
        <a:ea typeface=""/>
        <a:cs typeface=""/>
      </a:majorFont>
      <a:minorFont>
        <a:latin typeface="Gill Sans MT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Gill Sans MT Light"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Gill Sans MT Light" pitchFamily="34" charset="0"/>
          </a:defRPr>
        </a:defPPr>
      </a:lstStyle>
    </a:lnDef>
  </a:objectDefaults>
  <a:extraClrSchemeLst>
    <a:extraClrScheme>
      <a:clrScheme name="Acatis_Präsentationsvorlag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catis_Präsentationsvorlag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Acatis_Präsentationsvorlag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Acatis_Präsentationsvorlag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Acatis_Präsentationsvorlag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Acatis_Präsentationsvorlag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Acatis_Präsentationsvorlag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Acatis_Präsentationsvorlag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Acatis_Präsentationsvorlag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Acatis_Präsentationsvorlag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Acatis_Präsentationsvorlag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Acatis_Präsentationsvorlag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Acatis_Präsentationsvorlage 13">
        <a:dk1>
          <a:srgbClr val="000000"/>
        </a:dk1>
        <a:lt1>
          <a:srgbClr val="FFFFFF"/>
        </a:lt1>
        <a:dk2>
          <a:srgbClr val="000000"/>
        </a:dk2>
        <a:lt2>
          <a:srgbClr val="808080"/>
        </a:lt2>
        <a:accent1>
          <a:srgbClr val="CCECFF"/>
        </a:accent1>
        <a:accent2>
          <a:srgbClr val="333399"/>
        </a:accent2>
        <a:accent3>
          <a:srgbClr val="FFFFFF"/>
        </a:accent3>
        <a:accent4>
          <a:srgbClr val="000000"/>
        </a:accent4>
        <a:accent5>
          <a:srgbClr val="E2F4F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catis_Präsentationsvorlage 14">
        <a:dk1>
          <a:srgbClr val="000000"/>
        </a:dk1>
        <a:lt1>
          <a:srgbClr val="FFFFFF"/>
        </a:lt1>
        <a:dk2>
          <a:srgbClr val="000000"/>
        </a:dk2>
        <a:lt2>
          <a:srgbClr val="808080"/>
        </a:lt2>
        <a:accent1>
          <a:srgbClr val="CCECFF"/>
        </a:accent1>
        <a:accent2>
          <a:srgbClr val="99CCFF"/>
        </a:accent2>
        <a:accent3>
          <a:srgbClr val="FFFFFF"/>
        </a:accent3>
        <a:accent4>
          <a:srgbClr val="000000"/>
        </a:accent4>
        <a:accent5>
          <a:srgbClr val="E2F4FF"/>
        </a:accent5>
        <a:accent6>
          <a:srgbClr val="8AB9E7"/>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catis_Präsentationsvorlage 15">
        <a:dk1>
          <a:srgbClr val="000000"/>
        </a:dk1>
        <a:lt1>
          <a:srgbClr val="FFFFFF"/>
        </a:lt1>
        <a:dk2>
          <a:srgbClr val="000000"/>
        </a:dk2>
        <a:lt2>
          <a:srgbClr val="808080"/>
        </a:lt2>
        <a:accent1>
          <a:srgbClr val="EDEFF4"/>
        </a:accent1>
        <a:accent2>
          <a:srgbClr val="7A929D"/>
        </a:accent2>
        <a:accent3>
          <a:srgbClr val="FFFFFF"/>
        </a:accent3>
        <a:accent4>
          <a:srgbClr val="000000"/>
        </a:accent4>
        <a:accent5>
          <a:srgbClr val="F4F6F8"/>
        </a:accent5>
        <a:accent6>
          <a:srgbClr val="6E848E"/>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3_Acatis_Präsentationsvorlage">
  <a:themeElements>
    <a:clrScheme name="Acatis_Präsentationsvorlage 15">
      <a:dk1>
        <a:srgbClr val="000000"/>
      </a:dk1>
      <a:lt1>
        <a:srgbClr val="FFFFFF"/>
      </a:lt1>
      <a:dk2>
        <a:srgbClr val="000000"/>
      </a:dk2>
      <a:lt2>
        <a:srgbClr val="808080"/>
      </a:lt2>
      <a:accent1>
        <a:srgbClr val="EDEFF4"/>
      </a:accent1>
      <a:accent2>
        <a:srgbClr val="7A929D"/>
      </a:accent2>
      <a:accent3>
        <a:srgbClr val="FFFFFF"/>
      </a:accent3>
      <a:accent4>
        <a:srgbClr val="000000"/>
      </a:accent4>
      <a:accent5>
        <a:srgbClr val="F4F6F8"/>
      </a:accent5>
      <a:accent6>
        <a:srgbClr val="6E848E"/>
      </a:accent6>
      <a:hlink>
        <a:srgbClr val="009999"/>
      </a:hlink>
      <a:folHlink>
        <a:srgbClr val="99CC00"/>
      </a:folHlink>
    </a:clrScheme>
    <a:fontScheme name="Acatis_Präsentationsvorlage">
      <a:majorFont>
        <a:latin typeface="Gill Sans MT Light"/>
        <a:ea typeface=""/>
        <a:cs typeface=""/>
      </a:majorFont>
      <a:minorFont>
        <a:latin typeface="Gill Sans MT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Gill Sans MT Light"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200" b="0" i="0" u="none" strike="noStrike" cap="none" normalizeH="0" baseline="0" smtClean="0">
            <a:ln>
              <a:noFill/>
            </a:ln>
            <a:solidFill>
              <a:schemeClr val="tx1"/>
            </a:solidFill>
            <a:effectLst/>
            <a:latin typeface="Gill Sans MT Light" pitchFamily="34" charset="0"/>
          </a:defRPr>
        </a:defPPr>
      </a:lstStyle>
    </a:lnDef>
  </a:objectDefaults>
  <a:extraClrSchemeLst>
    <a:extraClrScheme>
      <a:clrScheme name="Acatis_Präsentationsvorlag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catis_Präsentationsvorlag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Acatis_Präsentationsvorlag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Acatis_Präsentationsvorlag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Acatis_Präsentationsvorlag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Acatis_Präsentationsvorlag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Acatis_Präsentationsvorlag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Acatis_Präsentationsvorlag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Acatis_Präsentationsvorlag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Acatis_Präsentationsvorlag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Acatis_Präsentationsvorlag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Acatis_Präsentationsvorlag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Acatis_Präsentationsvorlage 13">
        <a:dk1>
          <a:srgbClr val="000000"/>
        </a:dk1>
        <a:lt1>
          <a:srgbClr val="FFFFFF"/>
        </a:lt1>
        <a:dk2>
          <a:srgbClr val="000000"/>
        </a:dk2>
        <a:lt2>
          <a:srgbClr val="808080"/>
        </a:lt2>
        <a:accent1>
          <a:srgbClr val="CCECFF"/>
        </a:accent1>
        <a:accent2>
          <a:srgbClr val="333399"/>
        </a:accent2>
        <a:accent3>
          <a:srgbClr val="FFFFFF"/>
        </a:accent3>
        <a:accent4>
          <a:srgbClr val="000000"/>
        </a:accent4>
        <a:accent5>
          <a:srgbClr val="E2F4F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catis_Präsentationsvorlage 14">
        <a:dk1>
          <a:srgbClr val="000000"/>
        </a:dk1>
        <a:lt1>
          <a:srgbClr val="FFFFFF"/>
        </a:lt1>
        <a:dk2>
          <a:srgbClr val="000000"/>
        </a:dk2>
        <a:lt2>
          <a:srgbClr val="808080"/>
        </a:lt2>
        <a:accent1>
          <a:srgbClr val="CCECFF"/>
        </a:accent1>
        <a:accent2>
          <a:srgbClr val="99CCFF"/>
        </a:accent2>
        <a:accent3>
          <a:srgbClr val="FFFFFF"/>
        </a:accent3>
        <a:accent4>
          <a:srgbClr val="000000"/>
        </a:accent4>
        <a:accent5>
          <a:srgbClr val="E2F4FF"/>
        </a:accent5>
        <a:accent6>
          <a:srgbClr val="8AB9E7"/>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catis_Präsentationsvorlage 15">
        <a:dk1>
          <a:srgbClr val="000000"/>
        </a:dk1>
        <a:lt1>
          <a:srgbClr val="FFFFFF"/>
        </a:lt1>
        <a:dk2>
          <a:srgbClr val="000000"/>
        </a:dk2>
        <a:lt2>
          <a:srgbClr val="808080"/>
        </a:lt2>
        <a:accent1>
          <a:srgbClr val="EDEFF4"/>
        </a:accent1>
        <a:accent2>
          <a:srgbClr val="7A929D"/>
        </a:accent2>
        <a:accent3>
          <a:srgbClr val="FFFFFF"/>
        </a:accent3>
        <a:accent4>
          <a:srgbClr val="000000"/>
        </a:accent4>
        <a:accent5>
          <a:srgbClr val="F4F6F8"/>
        </a:accent5>
        <a:accent6>
          <a:srgbClr val="6E848E"/>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_1_Referenzpräsentation_deutsch_2013</Template>
  <TotalTime>0</TotalTime>
  <Words>3227</Words>
  <Application>Microsoft Office PowerPoint</Application>
  <PresentationFormat>Bildschirmpräsentation (4:3)</PresentationFormat>
  <Paragraphs>535</Paragraphs>
  <Slides>40</Slides>
  <Notes>21</Notes>
  <HiddenSlides>0</HiddenSlides>
  <MMClips>0</MMClips>
  <ScaleCrop>false</ScaleCrop>
  <HeadingPairs>
    <vt:vector size="8" baseType="variant">
      <vt:variant>
        <vt:lpstr>Verwendete Schriftarten</vt:lpstr>
      </vt:variant>
      <vt:variant>
        <vt:i4>7</vt:i4>
      </vt:variant>
      <vt:variant>
        <vt:lpstr>Design</vt:lpstr>
      </vt:variant>
      <vt:variant>
        <vt:i4>10</vt:i4>
      </vt:variant>
      <vt:variant>
        <vt:lpstr>Links</vt:lpstr>
      </vt:variant>
      <vt:variant>
        <vt:i4>4</vt:i4>
      </vt:variant>
      <vt:variant>
        <vt:lpstr>Folientitel</vt:lpstr>
      </vt:variant>
      <vt:variant>
        <vt:i4>40</vt:i4>
      </vt:variant>
    </vt:vector>
  </HeadingPairs>
  <TitlesOfParts>
    <vt:vector size="61" baseType="lpstr">
      <vt:lpstr>Verdana</vt:lpstr>
      <vt:lpstr>Arial</vt:lpstr>
      <vt:lpstr>Wingdings</vt:lpstr>
      <vt:lpstr>Times New Roman</vt:lpstr>
      <vt:lpstr>Gill Sans MT</vt:lpstr>
      <vt:lpstr>Gill Sans MT Light</vt:lpstr>
      <vt:lpstr>Calibri</vt:lpstr>
      <vt:lpstr>_1_Referenzpräsentation_deutsch_2013</vt:lpstr>
      <vt:lpstr>blank</vt:lpstr>
      <vt:lpstr>1_Acatis_Präsentationsvorlage</vt:lpstr>
      <vt:lpstr>Acatis_Präsentationsvorlage</vt:lpstr>
      <vt:lpstr>1__1_Referenzpräsentation_deutsch_2013</vt:lpstr>
      <vt:lpstr>3_blank</vt:lpstr>
      <vt:lpstr>2_Präsentation Template</vt:lpstr>
      <vt:lpstr>2_Acatis_Präsentationsvorlage</vt:lpstr>
      <vt:lpstr>3_Acatis_Präsentationsvorlage</vt:lpstr>
      <vt:lpstr>4_Acatis_Präsentationsvorlage</vt:lpstr>
      <vt:lpstr>file:///\\SRV-ACATIS01\Acatis$\2%20Kommunikation%20und%20Marketing\3-Präsentationen\5%20Werkzeugkasten%20Marketing\1%20Vorlagen\QPolo%20Performance.xlsx!Tabelle1!%5bQPolo%20Performance.xlsx%5dTabelle1%20Diagramm%201</vt:lpstr>
      <vt:lpstr>file:///\\SRV-ACATIS01\Acatis$\2%20Kommunikation%20und%20Marketing\3-Präsentationen\5%20Werkzeugkasten%20Marketing\1%20Vorlagen\QPolo%20Market%20Cap,%20Länderallokation%20und%20Branchenallokation.xlsx!en!%5bQPolo%20Market%20Cap,%20Länderallokation%20und%20Branchenallokation.xlsx%5den%20Diagramm%202</vt:lpstr>
      <vt:lpstr>file:///\\SRV-ACATIS01\Acatis$\2%20Kommunikation%20und%20Marketing\3-Präsentationen\5%20Werkzeugkasten%20Marketing\1%20Vorlagen\QPolo%20Market%20Cap,%20Länderallokation%20und%20Branchenallokation.xlsx!en!%5bQPolo%20Market%20Cap,%20Länderallokation%20und%20Branchenallokation.xlsx%5den%20Diagramm%201</vt:lpstr>
      <vt:lpstr>file:///\\SRV-ACATIS01\Acatis$\2%20Kommunikation%20und%20Marketing\3-Präsentationen\5%20Werkzeugkasten%20Marketing\1%20Vorlagen\QPolo%20Performance.xlsx!Tabelle1!%5bQPolo%20Performance.xlsx%5dTabelle1%20Diagramm%201</vt:lpstr>
      <vt:lpstr>PowerPoint-Präsentation</vt:lpstr>
      <vt:lpstr>Contents</vt:lpstr>
      <vt:lpstr>Significant Outperformance of the ACATIS QILIN Marco Polo Asien Fund</vt:lpstr>
      <vt:lpstr>Macroeconomic Environment and the “Next New Normal”</vt:lpstr>
      <vt:lpstr>China has taken rigorous measures to flatten the infection curve</vt:lpstr>
      <vt:lpstr>Asia’s long-term development is second to none</vt:lpstr>
      <vt:lpstr>China has historically been a world power in the last 2000 years and will be once again</vt:lpstr>
      <vt:lpstr>PowerPoint-Präsentation</vt:lpstr>
      <vt:lpstr>China, India and Japan are on their way to becoming the world's largest economies by 2030 </vt:lpstr>
      <vt:lpstr>Chinese companies have continually expanded their presence in the Fortune Global 500</vt:lpstr>
      <vt:lpstr>What‘s ahead in China?</vt:lpstr>
      <vt:lpstr>China leapfrogs traditional business models to become an industry "shaper" </vt:lpstr>
      <vt:lpstr>China's middle class is growing rapidly</vt:lpstr>
      <vt:lpstr>China's economy is embarking on a V shaped transformation</vt:lpstr>
      <vt:lpstr>PowerPoint-Präsentation</vt:lpstr>
      <vt:lpstr>PowerPoint-Präsentation</vt:lpstr>
      <vt:lpstr>Private companies show a significant outperformance against the SOE*-dominated index
</vt:lpstr>
      <vt:lpstr>Market capitalization of Chinese stock exchanges is growing rapidly while those of North American and European companies are shrinking significantly 
</vt:lpstr>
      <vt:lpstr>Why invest in Chinese equities?</vt:lpstr>
      <vt:lpstr>Investment Process</vt:lpstr>
      <vt:lpstr>DETEC’ fundamental company analysis uses a rigorous, analytical and data-driven approach</vt:lpstr>
      <vt:lpstr>Investment Examples</vt:lpstr>
      <vt:lpstr>Features of the ACATIS QILIN Marco Polo Asien Fonds</vt:lpstr>
      <vt:lpstr>ACATIS QILIN Marco Polo Asien Portfolio (selected sample companies)</vt:lpstr>
      <vt:lpstr>Market capitalisation and country allocation</vt:lpstr>
      <vt:lpstr>Conclusion</vt:lpstr>
      <vt:lpstr>With the ACATIS QILIN Marco Polo Asien Fonds, you gain exposure to the old and new global power that is China and Asia </vt:lpstr>
      <vt:lpstr>With the ACATIS QILIN Marco Polo Asien Fonds, you gain exposure to the country that will dominate ten key industries by 2025</vt:lpstr>
      <vt:lpstr>With the ACATIS QILIN Marco Polo Asien Fonds, you gain exposure to a fund with local research expertise and long-standing relationships with China’s industry and policy-makers  </vt:lpstr>
      <vt:lpstr>Significant Outperformance of the ACATIS QILIN Marco Polo Asien Fund</vt:lpstr>
      <vt:lpstr>Capital Investment Company and Research Team</vt:lpstr>
      <vt:lpstr>PowerPoint-Präsentation</vt:lpstr>
      <vt:lpstr>The Qilin Capital core team combines excellent Asia and China research expertise</vt:lpstr>
      <vt:lpstr>How others evaluate us – ACATIS awards*</vt:lpstr>
      <vt:lpstr>Basic Data and Communication</vt:lpstr>
      <vt:lpstr>Fund data</vt:lpstr>
      <vt:lpstr>ACATIS und QILIN places great value on investor communication</vt:lpstr>
      <vt:lpstr>PowerPoint-Präsentation</vt:lpstr>
      <vt:lpstr>PowerPoint-Präsentation</vt:lpstr>
      <vt:lpstr>Disclaim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7-23T07:03:12Z</dcterms:created>
  <dcterms:modified xsi:type="dcterms:W3CDTF">2021-02-02T14:58:23Z</dcterms:modified>
</cp:coreProperties>
</file>